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6"/>
  </p:notesMasterIdLst>
  <p:sldIdLst>
    <p:sldId id="256" r:id="rId2"/>
    <p:sldId id="262" r:id="rId3"/>
    <p:sldId id="265" r:id="rId4"/>
    <p:sldId id="266" r:id="rId5"/>
    <p:sldId id="257" r:id="rId6"/>
    <p:sldId id="259" r:id="rId7"/>
    <p:sldId id="263" r:id="rId8"/>
    <p:sldId id="260" r:id="rId9"/>
    <p:sldId id="267" r:id="rId10"/>
    <p:sldId id="264" r:id="rId11"/>
    <p:sldId id="269" r:id="rId12"/>
    <p:sldId id="268" r:id="rId13"/>
    <p:sldId id="270" r:id="rId14"/>
    <p:sldId id="261" r:id="rId1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autoAdjust="0"/>
    <p:restoredTop sz="62442" autoAdjust="0"/>
  </p:normalViewPr>
  <p:slideViewPr>
    <p:cSldViewPr snapToGrid="0">
      <p:cViewPr varScale="1">
        <p:scale>
          <a:sx n="72" d="100"/>
          <a:sy n="72" d="100"/>
        </p:scale>
        <p:origin x="2070"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3F4A7B-F711-4D42-AFC0-7CEB3D520D17}" type="datetimeFigureOut">
              <a:rPr lang="en-US" smtClean="0"/>
              <a:t>4/8/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36E54C-6721-4547-B317-2CC8CF8FDEE6}" type="slidenum">
              <a:rPr lang="en-US" smtClean="0"/>
              <a:t>‹#›</a:t>
            </a:fld>
            <a:endParaRPr lang="en-US"/>
          </a:p>
        </p:txBody>
      </p:sp>
    </p:spTree>
    <p:extLst>
      <p:ext uri="{BB962C8B-B14F-4D97-AF65-F5344CB8AC3E}">
        <p14:creationId xmlns:p14="http://schemas.microsoft.com/office/powerpoint/2010/main" val="37517592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A36E54C-6721-4547-B317-2CC8CF8FDEE6}" type="slidenum">
              <a:rPr lang="en-US" smtClean="0"/>
              <a:t>1</a:t>
            </a:fld>
            <a:endParaRPr lang="en-US"/>
          </a:p>
        </p:txBody>
      </p:sp>
    </p:spTree>
    <p:extLst>
      <p:ext uri="{BB962C8B-B14F-4D97-AF65-F5344CB8AC3E}">
        <p14:creationId xmlns:p14="http://schemas.microsoft.com/office/powerpoint/2010/main" val="1869227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3736D8-67EA-4B1D-A5B9-910CE2CB3E56}"/>
              </a:ext>
            </a:extLst>
          </p:cNvPr>
          <p:cNvSpPr>
            <a:spLocks noGrp="1" noRot="1" noChangeAspect="1"/>
          </p:cNvSpPr>
          <p:nvPr>
            <p:ph type="sldImg"/>
          </p:nvPr>
        </p:nvSpPr>
        <p:spPr>
          <a:ln w="12701">
            <a:solidFill>
              <a:srgbClr val="000000"/>
            </a:solidFill>
            <a:prstDash val="solid"/>
            <a:miter/>
          </a:ln>
        </p:spPr>
      </p:sp>
      <p:sp>
        <p:nvSpPr>
          <p:cNvPr id="3" name="Notes Placeholder 2">
            <a:extLst>
              <a:ext uri="{FF2B5EF4-FFF2-40B4-BE49-F238E27FC236}">
                <a16:creationId xmlns:a16="http://schemas.microsoft.com/office/drawing/2014/main" id="{EB487955-3F2B-42D7-BEBD-D96F304E0B98}"/>
              </a:ext>
            </a:extLst>
          </p:cNvPr>
          <p:cNvSpPr txBox="1">
            <a:spLocks noGrp="1"/>
          </p:cNvSpPr>
          <p:nvPr>
            <p:ph type="body" sz="quarter" idx="1"/>
          </p:nvPr>
        </p:nvSpPr>
        <p:spPr/>
        <p:txBody>
          <a:bodyPr/>
          <a:lstStyle/>
          <a:p>
            <a:pPr lvl="0"/>
            <a:r>
              <a:rPr lang="en-US" dirty="0"/>
              <a:t>Let’s have a look at the cellular IoT market today and tomorrow.</a:t>
            </a:r>
          </a:p>
          <a:p>
            <a:pPr lvl="0"/>
            <a:r>
              <a:rPr lang="en-US" dirty="0"/>
              <a:t>There has been about 400 million cellular IoT connections by end of 2016 and by 2022, it will reach 1,5 billion, due to the new use cases enabled by new cellular IoT technologies such as NB-IoT and Cat-M1.</a:t>
            </a:r>
          </a:p>
          <a:p>
            <a:pPr lvl="0"/>
            <a:endParaRPr lang="en-US" dirty="0"/>
          </a:p>
          <a:p>
            <a:pPr lvl="0"/>
            <a:r>
              <a:rPr lang="en-US" dirty="0"/>
              <a:t>The revenue from IoT solutions enabled by mobile operators will exceed USD 200 billion in 2025, up from USD12 billion in 2016,. This mainly thanks to the new business models by many mobile operators, moving from connectivity only provider to a IoT service provider including connectivity, platform and service provision.</a:t>
            </a:r>
          </a:p>
          <a:p>
            <a:pPr lvl="0"/>
            <a:endParaRPr lang="en-US" dirty="0"/>
          </a:p>
        </p:txBody>
      </p:sp>
      <p:sp>
        <p:nvSpPr>
          <p:cNvPr id="4" name="Date Placeholder 3">
            <a:extLst>
              <a:ext uri="{FF2B5EF4-FFF2-40B4-BE49-F238E27FC236}">
                <a16:creationId xmlns:a16="http://schemas.microsoft.com/office/drawing/2014/main" id="{2B8B04C5-2955-4590-AA57-CAA0F7044223}"/>
              </a:ext>
            </a:extLst>
          </p:cNvPr>
          <p:cNvSpPr txBox="1"/>
          <p:nvPr/>
        </p:nvSpPr>
        <p:spPr>
          <a:xfrm>
            <a:off x="3900492" y="0"/>
            <a:ext cx="2982909" cy="501648"/>
          </a:xfrm>
          <a:prstGeom prst="rect">
            <a:avLst/>
          </a:prstGeom>
          <a:noFill/>
          <a:ln cap="flat">
            <a:noFill/>
          </a:ln>
        </p:spPr>
        <p:txBody>
          <a:bodyPr vert="horz" wrap="square" lIns="91440" tIns="45720" rIns="91440" bIns="45720" anchor="t" anchorCtr="0" compatLnSpc="1">
            <a:noAutofit/>
          </a:bodyPr>
          <a:lstStyle/>
          <a:p>
            <a:pPr marL="0" marR="0" lvl="0" indent="0" algn="r" defTabSz="914400" rtl="0" fontAlgn="auto" hangingPunct="1">
              <a:lnSpc>
                <a:spcPct val="100000"/>
              </a:lnSpc>
              <a:spcBef>
                <a:spcPts val="70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000000"/>
                </a:solidFill>
                <a:uFillTx/>
                <a:latin typeface="Arial"/>
                <a:ea typeface="ＭＳ Ｐゴシック"/>
              </a:rPr>
              <a:t>2015-02-27 </a:t>
            </a:r>
          </a:p>
        </p:txBody>
      </p:sp>
      <p:sp>
        <p:nvSpPr>
          <p:cNvPr id="5" name="Slide Number Placeholder 4">
            <a:extLst>
              <a:ext uri="{FF2B5EF4-FFF2-40B4-BE49-F238E27FC236}">
                <a16:creationId xmlns:a16="http://schemas.microsoft.com/office/drawing/2014/main" id="{20D4F505-1F50-4D28-9C0E-FACCBEE67551}"/>
              </a:ext>
            </a:extLst>
          </p:cNvPr>
          <p:cNvSpPr txBox="1"/>
          <p:nvPr/>
        </p:nvSpPr>
        <p:spPr>
          <a:xfrm>
            <a:off x="3900492" y="9515475"/>
            <a:ext cx="2982909" cy="501648"/>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700"/>
              </a:spcBef>
              <a:spcAft>
                <a:spcPts val="0"/>
              </a:spcAft>
              <a:buNone/>
              <a:tabLst/>
              <a:defRPr sz="1800" b="0" i="0" u="none" strike="noStrike" kern="0" cap="none" spc="0" baseline="0">
                <a:solidFill>
                  <a:srgbClr val="000000"/>
                </a:solidFill>
                <a:uFillTx/>
              </a:defRPr>
            </a:pPr>
            <a:fld id="{D5C41E7E-38B8-41A1-9DA9-52994A41975E}" type="slidenum">
              <a:t>3</a:t>
            </a:fld>
            <a:endParaRPr lang="sv-SE" sz="1100" b="0" i="0" u="none" strike="noStrike" kern="1200" cap="none" spc="0" baseline="0">
              <a:solidFill>
                <a:srgbClr val="000000"/>
              </a:solidFill>
              <a:uFillTx/>
              <a:latin typeface="Arial"/>
              <a:ea typeface="ＭＳ Ｐゴシック"/>
            </a:endParaRPr>
          </a:p>
        </p:txBody>
      </p:sp>
      <p:sp>
        <p:nvSpPr>
          <p:cNvPr id="6" name="Header Placeholder 5">
            <a:extLst>
              <a:ext uri="{FF2B5EF4-FFF2-40B4-BE49-F238E27FC236}">
                <a16:creationId xmlns:a16="http://schemas.microsoft.com/office/drawing/2014/main" id="{A672F1A1-E7B7-418F-B081-3B0B6C0130DB}"/>
              </a:ext>
            </a:extLst>
          </p:cNvPr>
          <p:cNvSpPr txBox="1"/>
          <p:nvPr/>
        </p:nvSpPr>
        <p:spPr>
          <a:xfrm>
            <a:off x="0" y="0"/>
            <a:ext cx="2982909" cy="501648"/>
          </a:xfrm>
          <a:prstGeom prst="rect">
            <a:avLst/>
          </a:prstGeom>
          <a:noFill/>
          <a:ln cap="flat">
            <a:noFill/>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70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000000"/>
                </a:solidFill>
                <a:uFillTx/>
                <a:latin typeface="Arial"/>
                <a:ea typeface="ＭＳ Ｐゴシック"/>
              </a:rPr>
              <a:t>Ericsson Radio System product presentation </a:t>
            </a:r>
          </a:p>
        </p:txBody>
      </p:sp>
      <p:sp>
        <p:nvSpPr>
          <p:cNvPr id="7" name="Footer Placeholder 6">
            <a:extLst>
              <a:ext uri="{FF2B5EF4-FFF2-40B4-BE49-F238E27FC236}">
                <a16:creationId xmlns:a16="http://schemas.microsoft.com/office/drawing/2014/main" id="{4FBA98ED-70F5-45EA-93C0-347F56AF1194}"/>
              </a:ext>
            </a:extLst>
          </p:cNvPr>
          <p:cNvSpPr txBox="1"/>
          <p:nvPr/>
        </p:nvSpPr>
        <p:spPr>
          <a:xfrm>
            <a:off x="0" y="9515475"/>
            <a:ext cx="2982909" cy="501648"/>
          </a:xfrm>
          <a:prstGeom prst="rect">
            <a:avLst/>
          </a:prstGeom>
          <a:noFill/>
          <a:ln cap="flat">
            <a:noFill/>
          </a:ln>
        </p:spPr>
        <p:txBody>
          <a:bodyPr vert="horz" wrap="square" lIns="91440" tIns="45720" rIns="91440" bIns="45720" anchor="b" anchorCtr="0" compatLnSpc="1">
            <a:noAutofit/>
          </a:bodyPr>
          <a:lstStyle/>
          <a:p>
            <a:pPr marL="0" marR="0" lvl="0" indent="0" algn="l" defTabSz="914400" rtl="0" fontAlgn="auto" hangingPunct="1">
              <a:lnSpc>
                <a:spcPct val="100000"/>
              </a:lnSpc>
              <a:spcBef>
                <a:spcPts val="70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000000"/>
                </a:solidFill>
                <a:uFillTx/>
                <a:latin typeface="Arial"/>
                <a:ea typeface="ＭＳ Ｐゴシック"/>
              </a:rPr>
              <a:t>1/221 09 - FGB 101 0561, Rev A </a:t>
            </a:r>
          </a:p>
        </p:txBody>
      </p:sp>
      <p:sp>
        <p:nvSpPr>
          <p:cNvPr id="8" name="Slide Number Placeholder 7">
            <a:extLst>
              <a:ext uri="{FF2B5EF4-FFF2-40B4-BE49-F238E27FC236}">
                <a16:creationId xmlns:a16="http://schemas.microsoft.com/office/drawing/2014/main" id="{26A58162-DD23-43DA-99E6-38A2DCB447F3}"/>
              </a:ext>
            </a:extLst>
          </p:cNvPr>
          <p:cNvSpPr>
            <a:spLocks noGrp="1"/>
          </p:cNvSpPr>
          <p:nvPr>
            <p:ph type="sldNum" sz="quarter" idx="5"/>
          </p:nvPr>
        </p:nvSpPr>
        <p:spPr/>
        <p:txBody>
          <a:bodyPr/>
          <a:lstStyle/>
          <a:p>
            <a:fld id="{659EE607-40A8-4176-8158-078280916378}" type="slidenum">
              <a:rPr lang="en-US" smtClean="0"/>
              <a:t>3</a:t>
            </a:fld>
            <a:endParaRPr lang="en-US"/>
          </a:p>
        </p:txBody>
      </p:sp>
      <p:sp>
        <p:nvSpPr>
          <p:cNvPr id="9" name="Header Placeholder 8">
            <a:extLst>
              <a:ext uri="{FF2B5EF4-FFF2-40B4-BE49-F238E27FC236}">
                <a16:creationId xmlns:a16="http://schemas.microsoft.com/office/drawing/2014/main" id="{9112564A-78FE-4155-A5C4-AB8B58051BBF}"/>
              </a:ext>
            </a:extLst>
          </p:cNvPr>
          <p:cNvSpPr>
            <a:spLocks noGrp="1"/>
          </p:cNvSpPr>
          <p:nvPr>
            <p:ph type="hdr" sz="quarter"/>
          </p:nvPr>
        </p:nvSpPr>
        <p:spPr/>
        <p:txBody>
          <a:bodyPr/>
          <a:lstStyle/>
          <a:p>
            <a:r>
              <a:rPr lang="en-US"/>
              <a:t>Cellular IoT Evolution to 5G </a:t>
            </a:r>
          </a:p>
        </p:txBody>
      </p:sp>
      <p:sp>
        <p:nvSpPr>
          <p:cNvPr id="10" name="Footer Placeholder 9">
            <a:extLst>
              <a:ext uri="{FF2B5EF4-FFF2-40B4-BE49-F238E27FC236}">
                <a16:creationId xmlns:a16="http://schemas.microsoft.com/office/drawing/2014/main" id="{EC7DD5CC-1B34-4795-B943-88CC1F886D55}"/>
              </a:ext>
            </a:extLst>
          </p:cNvPr>
          <p:cNvSpPr>
            <a:spLocks noGrp="1"/>
          </p:cNvSpPr>
          <p:nvPr>
            <p:ph type="ftr" sz="quarter" idx="4"/>
          </p:nvPr>
        </p:nvSpPr>
        <p:spPr/>
        <p:txBody>
          <a:bodyPr/>
          <a:lstStyle/>
          <a:p>
            <a:r>
              <a:rPr lang="en-US"/>
              <a:t>6/221 09-FGB 101 0699 Uen, Rev A4 </a:t>
            </a:r>
          </a:p>
        </p:txBody>
      </p:sp>
      <p:sp>
        <p:nvSpPr>
          <p:cNvPr id="11" name="Date Placeholder 10">
            <a:extLst>
              <a:ext uri="{FF2B5EF4-FFF2-40B4-BE49-F238E27FC236}">
                <a16:creationId xmlns:a16="http://schemas.microsoft.com/office/drawing/2014/main" id="{8D52C040-F30C-4728-87F4-39DBDF087BFF}"/>
              </a:ext>
            </a:extLst>
          </p:cNvPr>
          <p:cNvSpPr>
            <a:spLocks noGrp="1"/>
          </p:cNvSpPr>
          <p:nvPr>
            <p:ph type="dt" idx="1"/>
          </p:nvPr>
        </p:nvSpPr>
        <p:spPr/>
        <p:txBody>
          <a:bodyPr/>
          <a:lstStyle/>
          <a:p>
            <a:r>
              <a:rPr lang="en-US"/>
              <a:t>2017-09-20 </a:t>
            </a:r>
          </a:p>
        </p:txBody>
      </p:sp>
    </p:spTree>
    <p:extLst>
      <p:ext uri="{BB962C8B-B14F-4D97-AF65-F5344CB8AC3E}">
        <p14:creationId xmlns:p14="http://schemas.microsoft.com/office/powerpoint/2010/main" val="1286603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69744D-0C6C-4F39-B7DF-5410401C1D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F1AF04-105A-4BE3-9F4C-BE00CDACF39B}"/>
              </a:ext>
            </a:extLst>
          </p:cNvPr>
          <p:cNvSpPr txBox="1">
            <a:spLocks noGrp="1"/>
          </p:cNvSpPr>
          <p:nvPr>
            <p:ph type="body" sz="quarter" idx="1"/>
          </p:nvPr>
        </p:nvSpPr>
        <p:spPr/>
        <p:txBody>
          <a:bodyPr/>
          <a:lstStyle/>
          <a:p>
            <a:pPr lvl="0"/>
            <a:r>
              <a:rPr lang="en-US" dirty="0"/>
              <a:t>5G opens a big opportunity for mobile industry and enables a number of new IoT use cases.</a:t>
            </a:r>
          </a:p>
          <a:p>
            <a:pPr lvl="0"/>
            <a:endParaRPr lang="en-US" dirty="0"/>
          </a:p>
          <a:p>
            <a:pPr lvl="0"/>
            <a:r>
              <a:rPr lang="en-US" dirty="0"/>
              <a:t>The use cases will be very diverse, from connecting billions of devices with very low energy consumption and low cost, that is so called massive IoT applications, to ultra reliability and very low latency, which is so called critical IoT applications. </a:t>
            </a:r>
          </a:p>
          <a:p>
            <a:pPr lvl="0"/>
            <a:r>
              <a:rPr lang="en-US" dirty="0"/>
              <a:t>But they will have one thing in common – that is putting new requirement on wireless connectivity in order to enable those IoT use cases. And good news is that mobile operators do not need to wait for standardization in 2020 – it is already happening, on LTE network.</a:t>
            </a:r>
          </a:p>
          <a:p>
            <a:pPr lvl="0"/>
            <a:endParaRPr lang="en-US" dirty="0"/>
          </a:p>
          <a:p>
            <a:pPr lvl="0"/>
            <a:endParaRPr lang="en-US" dirty="0"/>
          </a:p>
          <a:p>
            <a:pPr lvl="0"/>
            <a:endParaRPr lang="en-US" dirty="0"/>
          </a:p>
        </p:txBody>
      </p:sp>
      <p:sp>
        <p:nvSpPr>
          <p:cNvPr id="4" name="Date Placeholder 3">
            <a:extLst>
              <a:ext uri="{FF2B5EF4-FFF2-40B4-BE49-F238E27FC236}">
                <a16:creationId xmlns:a16="http://schemas.microsoft.com/office/drawing/2014/main" id="{AD34D24F-0518-45DA-8312-1B2A635238E4}"/>
              </a:ext>
            </a:extLst>
          </p:cNvPr>
          <p:cNvSpPr txBox="1"/>
          <p:nvPr/>
        </p:nvSpPr>
        <p:spPr>
          <a:xfrm>
            <a:off x="3900492" y="0"/>
            <a:ext cx="2982909" cy="501648"/>
          </a:xfrm>
          <a:prstGeom prst="rect">
            <a:avLst/>
          </a:prstGeom>
          <a:noFill/>
          <a:ln cap="flat">
            <a:noFill/>
          </a:ln>
        </p:spPr>
        <p:txBody>
          <a:bodyPr vert="horz" wrap="square" lIns="91440" tIns="45720" rIns="91440" bIns="45720" anchor="t" anchorCtr="0" compatLnSpc="1">
            <a:noAutofit/>
          </a:bodyPr>
          <a:lstStyle/>
          <a:p>
            <a:pPr marL="0" marR="0" lvl="0" indent="0" algn="r" defTabSz="914400" rtl="0" fontAlgn="auto" hangingPunct="1">
              <a:lnSpc>
                <a:spcPct val="100000"/>
              </a:lnSpc>
              <a:spcBef>
                <a:spcPts val="70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000000"/>
                </a:solidFill>
                <a:uFillTx/>
                <a:latin typeface="Arial"/>
              </a:rPr>
              <a:t>2017-05-30 </a:t>
            </a:r>
          </a:p>
        </p:txBody>
      </p:sp>
      <p:sp>
        <p:nvSpPr>
          <p:cNvPr id="5" name="Slide Number Placeholder 4">
            <a:extLst>
              <a:ext uri="{FF2B5EF4-FFF2-40B4-BE49-F238E27FC236}">
                <a16:creationId xmlns:a16="http://schemas.microsoft.com/office/drawing/2014/main" id="{C487C20A-60CC-44C3-85CD-4C37855CDFBC}"/>
              </a:ext>
            </a:extLst>
          </p:cNvPr>
          <p:cNvSpPr txBox="1"/>
          <p:nvPr/>
        </p:nvSpPr>
        <p:spPr>
          <a:xfrm>
            <a:off x="3900492" y="9515475"/>
            <a:ext cx="2982909" cy="501648"/>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700"/>
              </a:spcBef>
              <a:spcAft>
                <a:spcPts val="0"/>
              </a:spcAft>
              <a:buNone/>
              <a:tabLst/>
              <a:defRPr sz="1800" b="0" i="0" u="none" strike="noStrike" kern="0" cap="none" spc="0" baseline="0">
                <a:solidFill>
                  <a:srgbClr val="000000"/>
                </a:solidFill>
                <a:uFillTx/>
              </a:defRPr>
            </a:pPr>
            <a:fld id="{E601CE1D-B843-428B-B24D-CD9AED429699}" type="slidenum">
              <a:t>4</a:t>
            </a:fld>
            <a:endParaRPr lang="sv-SE" sz="1200" b="0" i="0" u="none" strike="noStrike" kern="1200" cap="none" spc="0" baseline="0">
              <a:solidFill>
                <a:srgbClr val="000000"/>
              </a:solidFill>
              <a:uFillTx/>
              <a:latin typeface="Arial"/>
            </a:endParaRPr>
          </a:p>
        </p:txBody>
      </p:sp>
      <p:sp>
        <p:nvSpPr>
          <p:cNvPr id="6" name="Header Placeholder 5">
            <a:extLst>
              <a:ext uri="{FF2B5EF4-FFF2-40B4-BE49-F238E27FC236}">
                <a16:creationId xmlns:a16="http://schemas.microsoft.com/office/drawing/2014/main" id="{63E3561D-3C86-466B-966F-103DFC8DC2EF}"/>
              </a:ext>
            </a:extLst>
          </p:cNvPr>
          <p:cNvSpPr txBox="1"/>
          <p:nvPr/>
        </p:nvSpPr>
        <p:spPr>
          <a:xfrm>
            <a:off x="0" y="0"/>
            <a:ext cx="2982909" cy="501648"/>
          </a:xfrm>
          <a:prstGeom prst="rect">
            <a:avLst/>
          </a:prstGeom>
          <a:noFill/>
          <a:ln cap="flat">
            <a:noFill/>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70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000000"/>
                </a:solidFill>
                <a:uFillTx/>
                <a:latin typeface="Arial"/>
              </a:rPr>
              <a:t>Use Case Evolution to 5G </a:t>
            </a:r>
          </a:p>
        </p:txBody>
      </p:sp>
      <p:sp>
        <p:nvSpPr>
          <p:cNvPr id="7" name="Footer Placeholder 6">
            <a:extLst>
              <a:ext uri="{FF2B5EF4-FFF2-40B4-BE49-F238E27FC236}">
                <a16:creationId xmlns:a16="http://schemas.microsoft.com/office/drawing/2014/main" id="{EC4FA16E-10C8-44D9-A54B-E4345BB7964C}"/>
              </a:ext>
            </a:extLst>
          </p:cNvPr>
          <p:cNvSpPr txBox="1"/>
          <p:nvPr/>
        </p:nvSpPr>
        <p:spPr>
          <a:xfrm>
            <a:off x="0" y="9515475"/>
            <a:ext cx="2982909" cy="501648"/>
          </a:xfrm>
          <a:prstGeom prst="rect">
            <a:avLst/>
          </a:prstGeom>
          <a:noFill/>
          <a:ln cap="flat">
            <a:noFill/>
          </a:ln>
        </p:spPr>
        <p:txBody>
          <a:bodyPr vert="horz" wrap="square" lIns="91440" tIns="45720" rIns="91440" bIns="45720" anchor="b" anchorCtr="0" compatLnSpc="1">
            <a:noAutofit/>
          </a:bodyPr>
          <a:lstStyle/>
          <a:p>
            <a:pPr marL="0" marR="0" lvl="0" indent="0" algn="l" defTabSz="914400" rtl="0" fontAlgn="auto" hangingPunct="1">
              <a:lnSpc>
                <a:spcPct val="100000"/>
              </a:lnSpc>
              <a:spcBef>
                <a:spcPts val="70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000000"/>
                </a:solidFill>
                <a:uFillTx/>
                <a:latin typeface="Arial"/>
              </a:rPr>
              <a:t> </a:t>
            </a:r>
          </a:p>
        </p:txBody>
      </p:sp>
      <p:sp>
        <p:nvSpPr>
          <p:cNvPr id="8" name="Slide Number Placeholder 7">
            <a:extLst>
              <a:ext uri="{FF2B5EF4-FFF2-40B4-BE49-F238E27FC236}">
                <a16:creationId xmlns:a16="http://schemas.microsoft.com/office/drawing/2014/main" id="{41CD0788-B69D-4D19-856A-3C26ED32507A}"/>
              </a:ext>
            </a:extLst>
          </p:cNvPr>
          <p:cNvSpPr>
            <a:spLocks noGrp="1"/>
          </p:cNvSpPr>
          <p:nvPr>
            <p:ph type="sldNum" sz="quarter" idx="5"/>
          </p:nvPr>
        </p:nvSpPr>
        <p:spPr/>
        <p:txBody>
          <a:bodyPr/>
          <a:lstStyle/>
          <a:p>
            <a:fld id="{F258E819-4BA3-4011-9BA1-CBB916DBE05F}" type="slidenum">
              <a:rPr lang="en-US" smtClean="0"/>
              <a:t>4</a:t>
            </a:fld>
            <a:endParaRPr lang="en-US"/>
          </a:p>
        </p:txBody>
      </p:sp>
      <p:sp>
        <p:nvSpPr>
          <p:cNvPr id="9" name="Header Placeholder 8">
            <a:extLst>
              <a:ext uri="{FF2B5EF4-FFF2-40B4-BE49-F238E27FC236}">
                <a16:creationId xmlns:a16="http://schemas.microsoft.com/office/drawing/2014/main" id="{43FD06FB-AE65-4EE2-9E10-DB9A60697D17}"/>
              </a:ext>
            </a:extLst>
          </p:cNvPr>
          <p:cNvSpPr>
            <a:spLocks noGrp="1"/>
          </p:cNvSpPr>
          <p:nvPr>
            <p:ph type="hdr" sz="quarter"/>
          </p:nvPr>
        </p:nvSpPr>
        <p:spPr/>
        <p:txBody>
          <a:bodyPr/>
          <a:lstStyle/>
          <a:p>
            <a:r>
              <a:rPr lang="en-US"/>
              <a:t>Cellular IoT Evolution to 5G </a:t>
            </a:r>
          </a:p>
        </p:txBody>
      </p:sp>
      <p:sp>
        <p:nvSpPr>
          <p:cNvPr id="10" name="Footer Placeholder 9">
            <a:extLst>
              <a:ext uri="{FF2B5EF4-FFF2-40B4-BE49-F238E27FC236}">
                <a16:creationId xmlns:a16="http://schemas.microsoft.com/office/drawing/2014/main" id="{7910A622-7F83-46D8-9545-22CD2126A7D9}"/>
              </a:ext>
            </a:extLst>
          </p:cNvPr>
          <p:cNvSpPr>
            <a:spLocks noGrp="1"/>
          </p:cNvSpPr>
          <p:nvPr>
            <p:ph type="ftr" sz="quarter" idx="4"/>
          </p:nvPr>
        </p:nvSpPr>
        <p:spPr/>
        <p:txBody>
          <a:bodyPr/>
          <a:lstStyle/>
          <a:p>
            <a:r>
              <a:rPr lang="en-US"/>
              <a:t>6/221 09-FGB 101 0699 Uen, Rev A4 </a:t>
            </a:r>
          </a:p>
        </p:txBody>
      </p:sp>
      <p:sp>
        <p:nvSpPr>
          <p:cNvPr id="11" name="Date Placeholder 10">
            <a:extLst>
              <a:ext uri="{FF2B5EF4-FFF2-40B4-BE49-F238E27FC236}">
                <a16:creationId xmlns:a16="http://schemas.microsoft.com/office/drawing/2014/main" id="{BB751BA5-6F9F-4C7A-B84B-0BE7F1ECA06E}"/>
              </a:ext>
            </a:extLst>
          </p:cNvPr>
          <p:cNvSpPr>
            <a:spLocks noGrp="1"/>
          </p:cNvSpPr>
          <p:nvPr>
            <p:ph type="dt" idx="1"/>
          </p:nvPr>
        </p:nvSpPr>
        <p:spPr/>
        <p:txBody>
          <a:bodyPr/>
          <a:lstStyle/>
          <a:p>
            <a:r>
              <a:rPr lang="en-US"/>
              <a:t>2017-09-20 </a:t>
            </a:r>
          </a:p>
        </p:txBody>
      </p:sp>
    </p:spTree>
    <p:extLst>
      <p:ext uri="{BB962C8B-B14F-4D97-AF65-F5344CB8AC3E}">
        <p14:creationId xmlns:p14="http://schemas.microsoft.com/office/powerpoint/2010/main" val="14466196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7-09-20 </a:t>
            </a:r>
            <a:endParaRPr lang="en-US" dirty="0"/>
          </a:p>
        </p:txBody>
      </p:sp>
      <p:sp>
        <p:nvSpPr>
          <p:cNvPr id="5" name="Slide Number Placeholder 4"/>
          <p:cNvSpPr>
            <a:spLocks noGrp="1"/>
          </p:cNvSpPr>
          <p:nvPr>
            <p:ph type="sldNum" sz="quarter" idx="11"/>
          </p:nvPr>
        </p:nvSpPr>
        <p:spPr/>
        <p:txBody>
          <a:bodyPr/>
          <a:lstStyle/>
          <a:p>
            <a:fld id="{851952C8-CCE0-465A-8282-6FCDF1EBA7BF}" type="slidenum">
              <a:rPr lang="en-US" smtClean="0"/>
              <a:t>7</a:t>
            </a:fld>
            <a:endParaRPr lang="en-US" dirty="0"/>
          </a:p>
        </p:txBody>
      </p:sp>
      <p:sp>
        <p:nvSpPr>
          <p:cNvPr id="6" name="Header Placeholder 5"/>
          <p:cNvSpPr>
            <a:spLocks noGrp="1"/>
          </p:cNvSpPr>
          <p:nvPr>
            <p:ph type="hdr" sz="quarter" idx="12"/>
          </p:nvPr>
        </p:nvSpPr>
        <p:spPr/>
        <p:txBody>
          <a:bodyPr/>
          <a:lstStyle/>
          <a:p>
            <a:r>
              <a:rPr lang="en-US"/>
              <a:t>Cellular IoT Evolution to 5G </a:t>
            </a:r>
            <a:endParaRPr lang="en-US" dirty="0"/>
          </a:p>
        </p:txBody>
      </p:sp>
      <p:sp>
        <p:nvSpPr>
          <p:cNvPr id="7" name="Footer Placeholder 6"/>
          <p:cNvSpPr>
            <a:spLocks noGrp="1"/>
          </p:cNvSpPr>
          <p:nvPr>
            <p:ph type="ftr" sz="quarter" idx="13"/>
          </p:nvPr>
        </p:nvSpPr>
        <p:spPr/>
        <p:txBody>
          <a:bodyPr/>
          <a:lstStyle/>
          <a:p>
            <a:r>
              <a:rPr lang="en-US"/>
              <a:t>6/221 09-FGB 101 0699 Uen, Rev A4 </a:t>
            </a:r>
            <a:endParaRPr lang="en-US" dirty="0"/>
          </a:p>
        </p:txBody>
      </p:sp>
    </p:spTree>
    <p:extLst>
      <p:ext uri="{BB962C8B-B14F-4D97-AF65-F5344CB8AC3E}">
        <p14:creationId xmlns:p14="http://schemas.microsoft.com/office/powerpoint/2010/main" val="1093273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4707">
              <a:defRPr/>
            </a:pPr>
            <a:r>
              <a:rPr lang="en-US" b="1" dirty="0"/>
              <a:t>Cellular is the foundation for Massive </a:t>
            </a:r>
            <a:r>
              <a:rPr lang="en-US" b="1" dirty="0" err="1"/>
              <a:t>IoT</a:t>
            </a:r>
            <a:endParaRPr lang="en-US" dirty="0"/>
          </a:p>
          <a:p>
            <a:r>
              <a:rPr lang="en-US" dirty="0"/>
              <a:t>When we look at the needs and requirements of many of the </a:t>
            </a:r>
            <a:r>
              <a:rPr lang="en-US" dirty="0" err="1"/>
              <a:t>IoT</a:t>
            </a:r>
            <a:r>
              <a:rPr lang="en-US" dirty="0"/>
              <a:t> use cases we can see that cellular has a fairly unique combination of characteristics that makes it an better choice for </a:t>
            </a:r>
            <a:r>
              <a:rPr lang="en-US" dirty="0" err="1"/>
              <a:t>IoT</a:t>
            </a:r>
            <a:r>
              <a:rPr lang="en-US" dirty="0"/>
              <a:t>. When comparing inherent capabilities of Cellular </a:t>
            </a:r>
            <a:r>
              <a:rPr lang="en-US" dirty="0" err="1"/>
              <a:t>IoT</a:t>
            </a:r>
            <a:r>
              <a:rPr lang="en-US" dirty="0"/>
              <a:t> with other LPWA technologies like </a:t>
            </a:r>
            <a:r>
              <a:rPr lang="en-US" dirty="0" err="1"/>
              <a:t>SigFox</a:t>
            </a:r>
            <a:r>
              <a:rPr lang="en-US" dirty="0"/>
              <a:t> and Lora, Cellular </a:t>
            </a:r>
            <a:r>
              <a:rPr lang="en-US" dirty="0" err="1"/>
              <a:t>IoT</a:t>
            </a:r>
            <a:r>
              <a:rPr lang="en-US" dirty="0"/>
              <a:t> offers better performance in terms of unmatched global coverage, Quality of Service, scalability and flexibility of handling a comprehensive range of use cases. Cellular </a:t>
            </a:r>
            <a:r>
              <a:rPr lang="en-US" dirty="0" err="1"/>
              <a:t>IoT</a:t>
            </a:r>
            <a:r>
              <a:rPr lang="en-US" dirty="0"/>
              <a:t> has also quite extensive ecosystem based on standardization, supported by many global top operators, device maker, chipset and module vendor and network vendors. Most importantly unlicensed solutions can’t guarantee reliability and security </a:t>
            </a:r>
            <a:r>
              <a:rPr lang="en-GB" dirty="0"/>
              <a:t>as they have to compete for bandwidth with other wireless networks.</a:t>
            </a:r>
            <a:endParaRPr lang="en-US" dirty="0"/>
          </a:p>
          <a:p>
            <a:pPr defTabSz="904707">
              <a:defRPr/>
            </a:pPr>
            <a:endParaRPr lang="en-US" dirty="0"/>
          </a:p>
          <a:p>
            <a:pPr defTabSz="904707">
              <a:defRPr/>
            </a:pPr>
            <a:r>
              <a:rPr lang="en-US" dirty="0"/>
              <a:t>Last but not least, Cellular </a:t>
            </a:r>
            <a:r>
              <a:rPr lang="en-US" dirty="0" err="1"/>
              <a:t>IoT</a:t>
            </a:r>
            <a:r>
              <a:rPr lang="en-US" dirty="0"/>
              <a:t> has the advantage of total cost of ownership thanks to an easy software upgrade on existing networks, and f</a:t>
            </a:r>
            <a:r>
              <a:rPr lang="en-US" dirty="0">
                <a:solidFill>
                  <a:srgbClr val="58585A"/>
                </a:solidFill>
              </a:rPr>
              <a:t>ull multiplex and reuse of existing network resource, which will help to reduce operational costs in area like service provisioning, monitoring and billing. </a:t>
            </a:r>
          </a:p>
          <a:p>
            <a:pPr defTabSz="904707">
              <a:defRPr/>
            </a:pPr>
            <a:endParaRPr lang="en-US" dirty="0"/>
          </a:p>
        </p:txBody>
      </p:sp>
      <p:sp>
        <p:nvSpPr>
          <p:cNvPr id="4" name="Date Placeholder 3"/>
          <p:cNvSpPr>
            <a:spLocks noGrp="1"/>
          </p:cNvSpPr>
          <p:nvPr>
            <p:ph type="dt" idx="10"/>
          </p:nvPr>
        </p:nvSpPr>
        <p:spPr/>
        <p:txBody>
          <a:bodyPr/>
          <a:lstStyle/>
          <a:p>
            <a:r>
              <a:rPr lang="en-US"/>
              <a:t>2017-09-20 </a:t>
            </a:r>
            <a:endParaRPr lang="en-US" dirty="0"/>
          </a:p>
        </p:txBody>
      </p:sp>
      <p:sp>
        <p:nvSpPr>
          <p:cNvPr id="5" name="Slide Number Placeholder 4"/>
          <p:cNvSpPr>
            <a:spLocks noGrp="1"/>
          </p:cNvSpPr>
          <p:nvPr>
            <p:ph type="sldNum" sz="quarter" idx="11"/>
          </p:nvPr>
        </p:nvSpPr>
        <p:spPr/>
        <p:txBody>
          <a:bodyPr/>
          <a:lstStyle/>
          <a:p>
            <a:fld id="{970FC2F6-1EB8-4C8E-97A1-99EE2A011942}" type="slidenum">
              <a:rPr lang="en-US" smtClean="0"/>
              <a:t>10</a:t>
            </a:fld>
            <a:endParaRPr lang="en-US" dirty="0"/>
          </a:p>
        </p:txBody>
      </p:sp>
      <p:sp>
        <p:nvSpPr>
          <p:cNvPr id="6" name="Header Placeholder 5"/>
          <p:cNvSpPr>
            <a:spLocks noGrp="1"/>
          </p:cNvSpPr>
          <p:nvPr>
            <p:ph type="hdr" sz="quarter" idx="12"/>
          </p:nvPr>
        </p:nvSpPr>
        <p:spPr/>
        <p:txBody>
          <a:bodyPr/>
          <a:lstStyle/>
          <a:p>
            <a:r>
              <a:rPr lang="en-US"/>
              <a:t>Cellular IoT Evolution to 5G </a:t>
            </a:r>
            <a:endParaRPr lang="en-US" dirty="0"/>
          </a:p>
        </p:txBody>
      </p:sp>
      <p:sp>
        <p:nvSpPr>
          <p:cNvPr id="7" name="Footer Placeholder 6"/>
          <p:cNvSpPr>
            <a:spLocks noGrp="1"/>
          </p:cNvSpPr>
          <p:nvPr>
            <p:ph type="ftr" sz="quarter" idx="13"/>
          </p:nvPr>
        </p:nvSpPr>
        <p:spPr/>
        <p:txBody>
          <a:bodyPr/>
          <a:lstStyle/>
          <a:p>
            <a:r>
              <a:rPr lang="en-US"/>
              <a:t>6/221 09-FGB 101 0699 Uen, Rev A4 </a:t>
            </a:r>
            <a:endParaRPr lang="en-US" dirty="0"/>
          </a:p>
        </p:txBody>
      </p:sp>
    </p:spTree>
    <p:extLst>
      <p:ext uri="{BB962C8B-B14F-4D97-AF65-F5344CB8AC3E}">
        <p14:creationId xmlns:p14="http://schemas.microsoft.com/office/powerpoint/2010/main" val="2329991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778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n-US" sz="1200" b="0" i="0" u="none" strike="noStrike" kern="1200" baseline="0" dirty="0">
              <a:solidFill>
                <a:schemeClr val="tx1"/>
              </a:solidFill>
              <a:latin typeface="Arial" charset="0"/>
              <a:ea typeface="+mn-ea"/>
              <a:cs typeface="+mn-cs"/>
            </a:endParaRPr>
          </a:p>
        </p:txBody>
      </p:sp>
      <p:sp>
        <p:nvSpPr>
          <p:cNvPr id="4" name="Date Placeholder 3"/>
          <p:cNvSpPr>
            <a:spLocks noGrp="1"/>
          </p:cNvSpPr>
          <p:nvPr>
            <p:ph type="dt" sz="quarter" idx="1"/>
          </p:nvPr>
        </p:nvSpPr>
        <p:spPr/>
        <p:txBody>
          <a:bodyPr/>
          <a:lstStyle/>
          <a:p>
            <a:pPr>
              <a:defRPr/>
            </a:pPr>
            <a:r>
              <a:rPr lang="en-US">
                <a:solidFill>
                  <a:prstClr val="black"/>
                </a:solidFill>
              </a:rPr>
              <a:t>2017-09-20 </a:t>
            </a:r>
            <a:endParaRPr lang="en-US" dirty="0">
              <a:solidFill>
                <a:prstClr val="black"/>
              </a:solidFill>
            </a:endParaRPr>
          </a:p>
        </p:txBody>
      </p:sp>
      <p:sp>
        <p:nvSpPr>
          <p:cNvPr id="77829" name="Slide Number Placeholder 4"/>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ＭＳ Ｐゴシック" charset="0"/>
              </a:defRPr>
            </a:lvl1pPr>
            <a:lvl2pPr marL="751940" indent="-289208">
              <a:defRPr sz="1200">
                <a:solidFill>
                  <a:schemeClr val="tx1"/>
                </a:solidFill>
                <a:latin typeface="Arial" charset="0"/>
                <a:ea typeface="ＭＳ Ｐゴシック" charset="0"/>
              </a:defRPr>
            </a:lvl2pPr>
            <a:lvl3pPr marL="1156830" indent="-231366">
              <a:defRPr sz="1200">
                <a:solidFill>
                  <a:schemeClr val="tx1"/>
                </a:solidFill>
                <a:latin typeface="Arial" charset="0"/>
                <a:ea typeface="ＭＳ Ｐゴシック" charset="0"/>
              </a:defRPr>
            </a:lvl3pPr>
            <a:lvl4pPr marL="1619562" indent="-231366">
              <a:defRPr sz="1200">
                <a:solidFill>
                  <a:schemeClr val="tx1"/>
                </a:solidFill>
                <a:latin typeface="Arial" charset="0"/>
                <a:ea typeface="ＭＳ Ｐゴシック" charset="0"/>
              </a:defRPr>
            </a:lvl4pPr>
            <a:lvl5pPr marL="2082295" indent="-231366">
              <a:defRPr sz="1200">
                <a:solidFill>
                  <a:schemeClr val="tx1"/>
                </a:solidFill>
                <a:latin typeface="Arial" charset="0"/>
                <a:ea typeface="ＭＳ Ｐゴシック" charset="0"/>
              </a:defRPr>
            </a:lvl5pPr>
            <a:lvl6pPr marL="2545027" indent="-231366" eaLnBrk="0" fontAlgn="base" hangingPunct="0">
              <a:spcBef>
                <a:spcPct val="30000"/>
              </a:spcBef>
              <a:spcAft>
                <a:spcPct val="0"/>
              </a:spcAft>
              <a:defRPr sz="1200">
                <a:solidFill>
                  <a:schemeClr val="tx1"/>
                </a:solidFill>
                <a:latin typeface="Arial" charset="0"/>
                <a:ea typeface="ＭＳ Ｐゴシック" charset="0"/>
              </a:defRPr>
            </a:lvl6pPr>
            <a:lvl7pPr marL="3007759" indent="-231366" eaLnBrk="0" fontAlgn="base" hangingPunct="0">
              <a:spcBef>
                <a:spcPct val="30000"/>
              </a:spcBef>
              <a:spcAft>
                <a:spcPct val="0"/>
              </a:spcAft>
              <a:defRPr sz="1200">
                <a:solidFill>
                  <a:schemeClr val="tx1"/>
                </a:solidFill>
                <a:latin typeface="Arial" charset="0"/>
                <a:ea typeface="ＭＳ Ｐゴシック" charset="0"/>
              </a:defRPr>
            </a:lvl7pPr>
            <a:lvl8pPr marL="3470491" indent="-231366" eaLnBrk="0" fontAlgn="base" hangingPunct="0">
              <a:spcBef>
                <a:spcPct val="30000"/>
              </a:spcBef>
              <a:spcAft>
                <a:spcPct val="0"/>
              </a:spcAft>
              <a:defRPr sz="1200">
                <a:solidFill>
                  <a:schemeClr val="tx1"/>
                </a:solidFill>
                <a:latin typeface="Arial" charset="0"/>
                <a:ea typeface="ＭＳ Ｐゴシック" charset="0"/>
              </a:defRPr>
            </a:lvl8pPr>
            <a:lvl9pPr marL="3933223" indent="-231366" eaLnBrk="0" fontAlgn="base" hangingPunct="0">
              <a:spcBef>
                <a:spcPct val="30000"/>
              </a:spcBef>
              <a:spcAft>
                <a:spcPct val="0"/>
              </a:spcAft>
              <a:defRPr sz="1200">
                <a:solidFill>
                  <a:schemeClr val="tx1"/>
                </a:solidFill>
                <a:latin typeface="Arial" charset="0"/>
                <a:ea typeface="ＭＳ Ｐゴシック" charset="0"/>
              </a:defRPr>
            </a:lvl9pPr>
          </a:lstStyle>
          <a:p>
            <a:fld id="{8E951DF6-31AA-4874-A471-DD1723931304}" type="slidenum">
              <a:rPr lang="en-US" smtClean="0">
                <a:solidFill>
                  <a:prstClr val="black"/>
                </a:solidFill>
                <a:cs typeface="Arial" charset="0"/>
              </a:rPr>
              <a:t>12</a:t>
            </a:fld>
            <a:endParaRPr lang="en-US" dirty="0">
              <a:solidFill>
                <a:prstClr val="black"/>
              </a:solidFill>
              <a:cs typeface="Arial" charset="0"/>
            </a:endParaRPr>
          </a:p>
        </p:txBody>
      </p:sp>
      <p:sp>
        <p:nvSpPr>
          <p:cNvPr id="6" name="Header Placeholder 5"/>
          <p:cNvSpPr>
            <a:spLocks noGrp="1"/>
          </p:cNvSpPr>
          <p:nvPr>
            <p:ph type="hdr" sz="quarter"/>
          </p:nvPr>
        </p:nvSpPr>
        <p:spPr/>
        <p:txBody>
          <a:bodyPr/>
          <a:lstStyle/>
          <a:p>
            <a:pPr>
              <a:defRPr/>
            </a:pPr>
            <a:r>
              <a:rPr lang="en-US">
                <a:solidFill>
                  <a:prstClr val="black"/>
                </a:solidFill>
              </a:rPr>
              <a:t>Cellular IoT Evolution to 5G </a:t>
            </a:r>
            <a:endParaRPr lang="en-US" dirty="0">
              <a:solidFill>
                <a:prstClr val="black"/>
              </a:solidFill>
            </a:endParaRPr>
          </a:p>
        </p:txBody>
      </p:sp>
      <p:sp>
        <p:nvSpPr>
          <p:cNvPr id="7" name="Footer Placeholder 6"/>
          <p:cNvSpPr>
            <a:spLocks noGrp="1"/>
          </p:cNvSpPr>
          <p:nvPr>
            <p:ph type="ftr" sz="quarter" idx="4"/>
          </p:nvPr>
        </p:nvSpPr>
        <p:spPr/>
        <p:txBody>
          <a:bodyPr/>
          <a:lstStyle>
            <a:lvl1pPr eaLnBrk="0" hangingPunct="0">
              <a:defRPr sz="2000">
                <a:solidFill>
                  <a:schemeClr val="tx1"/>
                </a:solidFill>
                <a:latin typeface="Arial" charset="0"/>
                <a:ea typeface="ＭＳ Ｐゴシック" charset="0"/>
                <a:cs typeface="ＭＳ Ｐゴシック" charset="0"/>
              </a:defRPr>
            </a:lvl1pPr>
            <a:lvl2pPr marL="751940" indent="-289208" eaLnBrk="0" hangingPunct="0">
              <a:defRPr sz="2000">
                <a:solidFill>
                  <a:schemeClr val="tx1"/>
                </a:solidFill>
                <a:latin typeface="Arial" charset="0"/>
                <a:ea typeface="ＭＳ Ｐゴシック" charset="0"/>
              </a:defRPr>
            </a:lvl2pPr>
            <a:lvl3pPr marL="1156830" indent="-231366" eaLnBrk="0" hangingPunct="0">
              <a:defRPr sz="2000">
                <a:solidFill>
                  <a:schemeClr val="tx1"/>
                </a:solidFill>
                <a:latin typeface="Arial" charset="0"/>
                <a:ea typeface="ＭＳ Ｐゴシック" charset="0"/>
              </a:defRPr>
            </a:lvl3pPr>
            <a:lvl4pPr marL="1619562" indent="-231366" eaLnBrk="0" hangingPunct="0">
              <a:defRPr sz="2000">
                <a:solidFill>
                  <a:schemeClr val="tx1"/>
                </a:solidFill>
                <a:latin typeface="Arial" charset="0"/>
                <a:ea typeface="ＭＳ Ｐゴシック" charset="0"/>
              </a:defRPr>
            </a:lvl4pPr>
            <a:lvl5pPr marL="2082295" indent="-231366" eaLnBrk="0" hangingPunct="0">
              <a:defRPr sz="2000">
                <a:solidFill>
                  <a:schemeClr val="tx1"/>
                </a:solidFill>
                <a:latin typeface="Arial" charset="0"/>
                <a:ea typeface="ＭＳ Ｐゴシック" charset="0"/>
              </a:defRPr>
            </a:lvl5pPr>
            <a:lvl6pPr marL="2545027" indent="-231366" eaLnBrk="0" fontAlgn="base" hangingPunct="0">
              <a:spcBef>
                <a:spcPct val="0"/>
              </a:spcBef>
              <a:spcAft>
                <a:spcPct val="0"/>
              </a:spcAft>
              <a:defRPr sz="2000">
                <a:solidFill>
                  <a:schemeClr val="tx1"/>
                </a:solidFill>
                <a:latin typeface="Arial" charset="0"/>
                <a:ea typeface="ＭＳ Ｐゴシック" charset="0"/>
              </a:defRPr>
            </a:lvl6pPr>
            <a:lvl7pPr marL="3007759" indent="-231366" eaLnBrk="0" fontAlgn="base" hangingPunct="0">
              <a:spcBef>
                <a:spcPct val="0"/>
              </a:spcBef>
              <a:spcAft>
                <a:spcPct val="0"/>
              </a:spcAft>
              <a:defRPr sz="2000">
                <a:solidFill>
                  <a:schemeClr val="tx1"/>
                </a:solidFill>
                <a:latin typeface="Arial" charset="0"/>
                <a:ea typeface="ＭＳ Ｐゴシック" charset="0"/>
              </a:defRPr>
            </a:lvl7pPr>
            <a:lvl8pPr marL="3470491" indent="-231366" eaLnBrk="0" fontAlgn="base" hangingPunct="0">
              <a:spcBef>
                <a:spcPct val="0"/>
              </a:spcBef>
              <a:spcAft>
                <a:spcPct val="0"/>
              </a:spcAft>
              <a:defRPr sz="2000">
                <a:solidFill>
                  <a:schemeClr val="tx1"/>
                </a:solidFill>
                <a:latin typeface="Arial" charset="0"/>
                <a:ea typeface="ＭＳ Ｐゴシック" charset="0"/>
              </a:defRPr>
            </a:lvl8pPr>
            <a:lvl9pPr marL="3933223" indent="-231366" eaLnBrk="0" fontAlgn="base" hangingPunct="0">
              <a:spcBef>
                <a:spcPct val="0"/>
              </a:spcBef>
              <a:spcAft>
                <a:spcPct val="0"/>
              </a:spcAft>
              <a:defRPr sz="2000">
                <a:solidFill>
                  <a:schemeClr val="tx1"/>
                </a:solidFill>
                <a:latin typeface="Arial" charset="0"/>
                <a:ea typeface="ＭＳ Ｐゴシック" charset="0"/>
              </a:defRPr>
            </a:lvl9pPr>
          </a:lstStyle>
          <a:p>
            <a:pPr eaLnBrk="1" hangingPunct="1"/>
            <a:r>
              <a:rPr lang="en-US" sz="1200">
                <a:solidFill>
                  <a:prstClr val="black"/>
                </a:solidFill>
              </a:rPr>
              <a:t>6/221 09-FGB 101 0699 Uen, Rev A4 </a:t>
            </a:r>
            <a:endParaRPr lang="en-US" sz="1200" dirty="0">
              <a:solidFill>
                <a:prstClr val="black"/>
              </a:solidFill>
            </a:endParaRPr>
          </a:p>
        </p:txBody>
      </p:sp>
    </p:spTree>
    <p:extLst>
      <p:ext uri="{BB962C8B-B14F-4D97-AF65-F5344CB8AC3E}">
        <p14:creationId xmlns:p14="http://schemas.microsoft.com/office/powerpoint/2010/main" val="5862699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1" name="Freeform 6"/>
          <p:cNvSpPr/>
          <p:nvPr/>
        </p:nvSpPr>
        <p:spPr bwMode="auto">
          <a:xfrm>
            <a:off x="0" y="-3175"/>
            <a:ext cx="12192000" cy="5203825"/>
          </a:xfrm>
          <a:custGeom>
            <a:avLst/>
            <a:gdLst/>
            <a:ahLst/>
            <a:cxnLst/>
            <a:rect l="0" t="0" r="r" b="b"/>
            <a:pathLst>
              <a:path w="5760" h="3278">
                <a:moveTo>
                  <a:pt x="5760" y="0"/>
                </a:moveTo>
                <a:lnTo>
                  <a:pt x="0" y="0"/>
                </a:lnTo>
                <a:lnTo>
                  <a:pt x="0" y="3090"/>
                </a:lnTo>
                <a:lnTo>
                  <a:pt x="943" y="3090"/>
                </a:lnTo>
                <a:lnTo>
                  <a:pt x="1123" y="3270"/>
                </a:lnTo>
                <a:lnTo>
                  <a:pt x="1123" y="3270"/>
                </a:lnTo>
                <a:lnTo>
                  <a:pt x="1127" y="3272"/>
                </a:lnTo>
                <a:lnTo>
                  <a:pt x="1133" y="3275"/>
                </a:lnTo>
                <a:lnTo>
                  <a:pt x="1139" y="3278"/>
                </a:lnTo>
                <a:lnTo>
                  <a:pt x="1144" y="3278"/>
                </a:lnTo>
                <a:lnTo>
                  <a:pt x="1150" y="3278"/>
                </a:lnTo>
                <a:lnTo>
                  <a:pt x="1155" y="3275"/>
                </a:lnTo>
                <a:lnTo>
                  <a:pt x="1161" y="3272"/>
                </a:lnTo>
                <a:lnTo>
                  <a:pt x="1165" y="3270"/>
                </a:lnTo>
                <a:lnTo>
                  <a:pt x="1345" y="3090"/>
                </a:lnTo>
                <a:lnTo>
                  <a:pt x="5760" y="3090"/>
                </a:lnTo>
                <a:lnTo>
                  <a:pt x="5760" y="0"/>
                </a:lnTo>
                <a:close/>
              </a:path>
            </a:pathLst>
          </a:custGeom>
          <a:ln/>
          <a:effectLst/>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810001" y="1449147"/>
            <a:ext cx="10572000" cy="2971051"/>
          </a:xfrm>
        </p:spPr>
        <p:txBody>
          <a:bodyPr/>
          <a:lstStyle>
            <a:lvl1pPr>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810001" y="5280847"/>
            <a:ext cx="10572000" cy="434974"/>
          </a:xfrm>
        </p:spPr>
        <p:txBody>
          <a:bodyPr anchor="t"/>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08B9EBBA-996F-894A-B54A-D6246ED52CEA}" type="datetimeFigureOut">
              <a:rPr lang="en-US" dirty="0"/>
              <a:pPr/>
              <a:t>4/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0000" y="4800600"/>
            <a:ext cx="10561418" cy="566738"/>
          </a:xfrm>
        </p:spPr>
        <p:txBody>
          <a:bodyPr anchor="b">
            <a:normAutofit/>
          </a:bodyPr>
          <a:lstStyle>
            <a:lvl1pPr algn="l">
              <a:defRPr sz="2400" b="0"/>
            </a:lvl1pPr>
          </a:lstStyle>
          <a:p>
            <a:r>
              <a:rPr lang="en-US" smtClean="0"/>
              <a:t>Click to edit Master title style</a:t>
            </a:r>
            <a:endParaRPr lang="en-US" dirty="0"/>
          </a:p>
        </p:txBody>
      </p:sp>
      <p:sp>
        <p:nvSpPr>
          <p:cNvPr id="15" name="Picture Placeholder 14"/>
          <p:cNvSpPr>
            <a:spLocks noGrp="1" noChangeAspect="1"/>
          </p:cNvSpPr>
          <p:nvPr>
            <p:ph type="pic" sz="quarter" idx="13"/>
          </p:nvPr>
        </p:nvSpPr>
        <p:spPr bwMode="auto">
          <a:xfrm>
            <a:off x="0" y="0"/>
            <a:ext cx="12192000" cy="4800600"/>
          </a:xfrm>
          <a:custGeom>
            <a:avLst/>
            <a:gdLst/>
            <a:ahLst/>
            <a:cxnLst/>
            <a:rect l="0" t="0" r="r" b="b"/>
            <a:pathLst>
              <a:path w="5760" h="3289">
                <a:moveTo>
                  <a:pt x="5760" y="0"/>
                </a:moveTo>
                <a:lnTo>
                  <a:pt x="0" y="0"/>
                </a:lnTo>
                <a:lnTo>
                  <a:pt x="0" y="3100"/>
                </a:lnTo>
                <a:lnTo>
                  <a:pt x="943" y="3100"/>
                </a:lnTo>
                <a:lnTo>
                  <a:pt x="1123" y="3281"/>
                </a:lnTo>
                <a:lnTo>
                  <a:pt x="1123" y="3281"/>
                </a:lnTo>
                <a:lnTo>
                  <a:pt x="1127" y="3283"/>
                </a:lnTo>
                <a:lnTo>
                  <a:pt x="1133" y="3286"/>
                </a:lnTo>
                <a:lnTo>
                  <a:pt x="1139" y="3289"/>
                </a:lnTo>
                <a:lnTo>
                  <a:pt x="1144" y="3289"/>
                </a:lnTo>
                <a:lnTo>
                  <a:pt x="1150" y="3289"/>
                </a:lnTo>
                <a:lnTo>
                  <a:pt x="1155" y="3286"/>
                </a:lnTo>
                <a:lnTo>
                  <a:pt x="1161" y="3283"/>
                </a:lnTo>
                <a:lnTo>
                  <a:pt x="1165" y="3281"/>
                </a:lnTo>
                <a:lnTo>
                  <a:pt x="1345" y="3100"/>
                </a:lnTo>
                <a:lnTo>
                  <a:pt x="5760" y="3100"/>
                </a:lnTo>
                <a:lnTo>
                  <a:pt x="5760" y="0"/>
                </a:lnTo>
                <a:close/>
              </a:path>
            </a:pathLst>
          </a:custGeom>
          <a:noFill/>
          <a:ln>
            <a:solidFill>
              <a:schemeClr val="tx2"/>
            </a:solidFill>
          </a:ln>
        </p:spPr>
        <p:style>
          <a:lnRef idx="1">
            <a:schemeClr val="accent1"/>
          </a:lnRef>
          <a:fillRef idx="3">
            <a:schemeClr val="accent1"/>
          </a:fillRef>
          <a:effectRef idx="2">
            <a:schemeClr val="accent1"/>
          </a:effectRef>
          <a:fontRef idx="minor">
            <a:schemeClr val="lt1"/>
          </a:fontRef>
        </p:style>
        <p:txBody>
          <a:bodyPr wrap="square" numCol="1" anchor="t" anchorCtr="0" compatLnSpc="1">
            <a:prstTxWarp prst="textNoShape">
              <a:avLst/>
            </a:prstTxWarp>
            <a:normAutofit/>
          </a:bodyPr>
          <a:lstStyle>
            <a:lvl1pPr marL="0" indent="0" algn="ctr">
              <a:buFontTx/>
              <a:buNone/>
              <a:defRPr sz="1600"/>
            </a:lvl1pPr>
          </a:lstStyle>
          <a:p>
            <a:r>
              <a:rPr lang="en-US" smtClean="0"/>
              <a:t>Click icon to add picture</a:t>
            </a:r>
            <a:endParaRPr lang="en-US" dirty="0"/>
          </a:p>
        </p:txBody>
      </p:sp>
      <p:sp>
        <p:nvSpPr>
          <p:cNvPr id="4" name="Text Placeholder 3"/>
          <p:cNvSpPr>
            <a:spLocks noGrp="1"/>
          </p:cNvSpPr>
          <p:nvPr>
            <p:ph type="body" sz="half" idx="2"/>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18C79C5D-2A6F-F04D-97DA-BEF2467B64E4}" type="datetimeFigureOut">
              <a:rPr lang="en-US" dirty="0"/>
              <a:pPr/>
              <a:t>4/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8" name="Freeform 6"/>
          <p:cNvSpPr>
            <a:spLocks noChangeAspect="1"/>
          </p:cNvSpPr>
          <p:nvPr/>
        </p:nvSpPr>
        <p:spPr bwMode="auto">
          <a:xfrm>
            <a:off x="631697" y="1081456"/>
            <a:ext cx="6332416" cy="3239188"/>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50985" y="1238502"/>
            <a:ext cx="5893840" cy="2645912"/>
          </a:xfrm>
        </p:spPr>
        <p:txBody>
          <a:bodyPr anchor="b"/>
          <a:lstStyle>
            <a:lvl1pPr algn="l">
              <a:defRPr sz="4200" b="1" cap="none"/>
            </a:lvl1pPr>
          </a:lstStyle>
          <a:p>
            <a:r>
              <a:rPr lang="en-US" smtClean="0"/>
              <a:t>Click to edit Master title style</a:t>
            </a:r>
            <a:endParaRPr lang="en-US" dirty="0"/>
          </a:p>
        </p:txBody>
      </p:sp>
      <p:sp>
        <p:nvSpPr>
          <p:cNvPr id="3" name="Text Placeholder 2"/>
          <p:cNvSpPr>
            <a:spLocks noGrp="1"/>
          </p:cNvSpPr>
          <p:nvPr>
            <p:ph type="body" idx="1"/>
          </p:nvPr>
        </p:nvSpPr>
        <p:spPr>
          <a:xfrm>
            <a:off x="853190" y="4443680"/>
            <a:ext cx="5891636" cy="713241"/>
          </a:xfrm>
        </p:spPr>
        <p:txBody>
          <a:bodyPr anchor="t">
            <a:no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9" name="Text Placeholder 5"/>
          <p:cNvSpPr>
            <a:spLocks noGrp="1"/>
          </p:cNvSpPr>
          <p:nvPr>
            <p:ph type="body" sz="quarter" idx="16"/>
          </p:nvPr>
        </p:nvSpPr>
        <p:spPr>
          <a:xfrm>
            <a:off x="7574642" y="1081456"/>
            <a:ext cx="3810001" cy="4075465"/>
          </a:xfrm>
        </p:spPr>
        <p:txBody>
          <a:bodyPr anchor="t"/>
          <a:lstStyle>
            <a:lvl1pPr marL="0" indent="0">
              <a:buFontTx/>
              <a:buNone/>
              <a:defRPr/>
            </a:lvl1pPr>
          </a:lstStyle>
          <a:p>
            <a:pPr lvl="0"/>
            <a:r>
              <a:rPr lang="en-US" smtClean="0"/>
              <a:t>Edit Master text styles</a:t>
            </a:r>
          </a:p>
        </p:txBody>
      </p:sp>
      <p:sp>
        <p:nvSpPr>
          <p:cNvPr id="4" name="Date Placeholder 3"/>
          <p:cNvSpPr>
            <a:spLocks noGrp="1"/>
          </p:cNvSpPr>
          <p:nvPr>
            <p:ph type="dt" sz="half" idx="10"/>
          </p:nvPr>
        </p:nvSpPr>
        <p:spPr/>
        <p:txBody>
          <a:bodyPr/>
          <a:lstStyle/>
          <a:p>
            <a:fld id="{8DFA1846-DA80-1C48-A609-854EA85C59AD}" type="datetimeFigureOut">
              <a:rPr lang="en-US" dirty="0"/>
              <a:pPr/>
              <a:t>4/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9" name="Freeform 6"/>
          <p:cNvSpPr>
            <a:spLocks noChangeAspect="1"/>
          </p:cNvSpPr>
          <p:nvPr/>
        </p:nvSpPr>
        <p:spPr bwMode="auto">
          <a:xfrm>
            <a:off x="1140884" y="2286585"/>
            <a:ext cx="4895115" cy="2503972"/>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38" name="Title 1"/>
          <p:cNvSpPr>
            <a:spLocks noGrp="1"/>
          </p:cNvSpPr>
          <p:nvPr>
            <p:ph type="title"/>
          </p:nvPr>
        </p:nvSpPr>
        <p:spPr>
          <a:xfrm>
            <a:off x="1357089" y="2435957"/>
            <a:ext cx="4382521" cy="2007789"/>
          </a:xfrm>
        </p:spPr>
        <p:txBody>
          <a:bodyPr/>
          <a:lstStyle>
            <a:lvl1pPr>
              <a:defRPr sz="3200"/>
            </a:lvl1pPr>
          </a:lstStyle>
          <a:p>
            <a:r>
              <a:rPr lang="en-US" smtClean="0"/>
              <a:t>Click to edit Master title style</a:t>
            </a:r>
            <a:endParaRPr lang="en-US" dirty="0"/>
          </a:p>
        </p:txBody>
      </p:sp>
      <p:sp>
        <p:nvSpPr>
          <p:cNvPr id="6" name="Text Placeholder 5"/>
          <p:cNvSpPr>
            <a:spLocks noGrp="1"/>
          </p:cNvSpPr>
          <p:nvPr>
            <p:ph type="body" sz="quarter" idx="16"/>
          </p:nvPr>
        </p:nvSpPr>
        <p:spPr>
          <a:xfrm>
            <a:off x="6156000" y="2286000"/>
            <a:ext cx="4880300" cy="2295525"/>
          </a:xfrm>
        </p:spPr>
        <p:txBody>
          <a:bodyPr anchor="t"/>
          <a:lstStyle>
            <a:lvl1pPr marL="0" indent="0">
              <a:buFontTx/>
              <a:buNone/>
              <a:defRPr/>
            </a:lvl1pPr>
          </a:lstStyle>
          <a:p>
            <a:pPr lvl="0"/>
            <a:r>
              <a:rPr lang="en-US" smtClean="0"/>
              <a:t>Edit Master text styles</a:t>
            </a:r>
          </a:p>
        </p:txBody>
      </p:sp>
      <p:sp>
        <p:nvSpPr>
          <p:cNvPr id="2" name="Date Placeholder 1"/>
          <p:cNvSpPr>
            <a:spLocks noGrp="1"/>
          </p:cNvSpPr>
          <p:nvPr>
            <p:ph type="dt" sz="half" idx="10"/>
          </p:nvPr>
        </p:nvSpPr>
        <p:spPr/>
        <p:txBody>
          <a:bodyPr/>
          <a:lstStyle/>
          <a:p>
            <a:fld id="{FBF54567-0DE4-3F47-BF90-CB84690072F9}" type="datetimeFigureOut">
              <a:rPr lang="en-US" dirty="0"/>
              <a:pPr/>
              <a:t>4/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6C52C72-DE31-F449-A4ED-4C594FD91407}" type="datetimeFigureOut">
              <a:rPr lang="en-US" dirty="0"/>
              <a:pPr/>
              <a:t>4/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2" name="Freeform 6"/>
          <p:cNvSpPr>
            <a:spLocks noChangeAspect="1"/>
          </p:cNvSpPr>
          <p:nvPr/>
        </p:nvSpPr>
        <p:spPr bwMode="auto">
          <a:xfrm>
            <a:off x="7669651" y="446089"/>
            <a:ext cx="4522349" cy="5414962"/>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183540" y="586171"/>
            <a:ext cx="2494791" cy="513479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10001" y="446089"/>
            <a:ext cx="6611540" cy="5414962"/>
          </a:xfrm>
        </p:spPr>
        <p:txBody>
          <a:bodyPr vert="eaVert" ancho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ED62726E-379B-B349-9EED-81ED093FA806}" type="datetimeFigureOut">
              <a:rPr lang="en-US" dirty="0"/>
              <a:pPr/>
              <a:t>4/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1"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0" y="447188"/>
            <a:ext cx="10571998" cy="97045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818712" y="2222287"/>
            <a:ext cx="10554574" cy="363651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B3A1323-8D79-1946-B0D7-40001CF92E9D}" type="datetimeFigureOut">
              <a:rPr lang="en-US" dirty="0"/>
              <a:pPr/>
              <a:t>4/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 name="Freeform 7"/>
          <p:cNvSpPr/>
          <p:nvPr/>
        </p:nvSpPr>
        <p:spPr bwMode="auto">
          <a:xfrm>
            <a:off x="0" y="1"/>
            <a:ext cx="12192000" cy="5203825"/>
          </a:xfrm>
          <a:custGeom>
            <a:avLst/>
            <a:gdLst/>
            <a:ahLst/>
            <a:cxnLst/>
            <a:rect l="0" t="0" r="r" b="b"/>
            <a:pathLst>
              <a:path w="5760" h="3278">
                <a:moveTo>
                  <a:pt x="0" y="0"/>
                </a:moveTo>
                <a:lnTo>
                  <a:pt x="5760" y="0"/>
                </a:lnTo>
                <a:lnTo>
                  <a:pt x="5760" y="3090"/>
                </a:lnTo>
                <a:lnTo>
                  <a:pt x="4817" y="3090"/>
                </a:lnTo>
                <a:lnTo>
                  <a:pt x="4637" y="3270"/>
                </a:lnTo>
                <a:lnTo>
                  <a:pt x="4637" y="3270"/>
                </a:lnTo>
                <a:lnTo>
                  <a:pt x="4633" y="3272"/>
                </a:lnTo>
                <a:lnTo>
                  <a:pt x="4627" y="3275"/>
                </a:lnTo>
                <a:lnTo>
                  <a:pt x="4621" y="3278"/>
                </a:lnTo>
                <a:lnTo>
                  <a:pt x="4616" y="3278"/>
                </a:lnTo>
                <a:lnTo>
                  <a:pt x="4610" y="3278"/>
                </a:lnTo>
                <a:lnTo>
                  <a:pt x="4605" y="3275"/>
                </a:lnTo>
                <a:lnTo>
                  <a:pt x="4599" y="3272"/>
                </a:lnTo>
                <a:lnTo>
                  <a:pt x="4595" y="3270"/>
                </a:lnTo>
                <a:lnTo>
                  <a:pt x="4415" y="3090"/>
                </a:lnTo>
                <a:lnTo>
                  <a:pt x="0" y="3090"/>
                </a:lnTo>
                <a:lnTo>
                  <a:pt x="0" y="0"/>
                </a:lnTo>
                <a:lnTo>
                  <a:pt x="0" y="0"/>
                </a:lnTo>
                <a:close/>
              </a:path>
            </a:pathLst>
          </a:custGeom>
          <a:ln>
            <a:headEnd/>
            <a:tailEnd/>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0" y="2951396"/>
            <a:ext cx="10561418" cy="1468800"/>
          </a:xfrm>
        </p:spPr>
        <p:txBody>
          <a:bodyPr anchor="b"/>
          <a:lstStyle>
            <a:lvl1pPr algn="r">
              <a:defRPr sz="4800" b="1" cap="none"/>
            </a:lvl1pPr>
          </a:lstStyle>
          <a:p>
            <a:r>
              <a:rPr lang="en-US" smtClean="0"/>
              <a:t>Click to edit Master title style</a:t>
            </a:r>
            <a:endParaRPr lang="en-US" dirty="0"/>
          </a:p>
        </p:txBody>
      </p:sp>
      <p:sp>
        <p:nvSpPr>
          <p:cNvPr id="3" name="Text Placeholder 2"/>
          <p:cNvSpPr>
            <a:spLocks noGrp="1"/>
          </p:cNvSpPr>
          <p:nvPr>
            <p:ph type="body" idx="1"/>
          </p:nvPr>
        </p:nvSpPr>
        <p:spPr>
          <a:xfrm>
            <a:off x="810000" y="5281201"/>
            <a:ext cx="10561418" cy="433955"/>
          </a:xfrm>
        </p:spPr>
        <p:txBody>
          <a:bodyPr anchor="t">
            <a:noAutofit/>
          </a:bodyPr>
          <a:lstStyle>
            <a:lvl1pPr marL="0" indent="0" algn="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8DFA1846-DA80-1C48-A609-854EA85C59AD}" type="datetimeFigureOut">
              <a:rPr lang="en-US" dirty="0"/>
              <a:pPr/>
              <a:t>4/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18712" y="2222287"/>
            <a:ext cx="5185873" cy="3638763"/>
          </a:xfrm>
        </p:spPr>
        <p:txBody>
          <a:bodyP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7415" y="2222287"/>
            <a:ext cx="5194583" cy="3638764"/>
          </a:xfrm>
        </p:spPr>
        <p:txBody>
          <a:bodyP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57302355-E14B-8545-A8F8-0FE83CC9D524}" type="datetimeFigureOut">
              <a:rPr lang="en-US" dirty="0"/>
              <a:pPr/>
              <a:t>4/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814728" y="2174875"/>
            <a:ext cx="5189857"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14729" y="2751138"/>
            <a:ext cx="5189856" cy="3109913"/>
          </a:xfrm>
        </p:spPr>
        <p:txBody>
          <a:bodyPr anchor="t">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7415" y="2174875"/>
            <a:ext cx="5194583"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87415" y="2751138"/>
            <a:ext cx="5194583" cy="3109913"/>
          </a:xfrm>
        </p:spPr>
        <p:txBody>
          <a:bodyPr anchor="t">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02640F58-564D-2B4F-AE67-E407BA4FCF45}" type="datetimeFigureOut">
              <a:rPr lang="en-US" dirty="0"/>
              <a:pPr/>
              <a:t>4/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F13A34C8-038E-2045-AF43-DF7DBB8E0E9E}" type="datetimeFigureOut">
              <a:rPr lang="en-US" dirty="0"/>
              <a:pPr/>
              <a:t>4/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18C68F-D26B-8F47-958C-23B49CF8A634}" type="datetimeFigureOut">
              <a:rPr lang="en-US" dirty="0"/>
              <a:pPr/>
              <a:t>4/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2" name="Freeform 6"/>
          <p:cNvSpPr>
            <a:spLocks noChangeAspect="1"/>
          </p:cNvSpPr>
          <p:nvPr/>
        </p:nvSpPr>
        <p:spPr bwMode="auto">
          <a:xfrm>
            <a:off x="1073151" y="446087"/>
            <a:ext cx="3547533" cy="1814651"/>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1073151" y="446088"/>
            <a:ext cx="3547533" cy="1618396"/>
          </a:xfrm>
        </p:spPr>
        <p:txBody>
          <a:bodyPr anchor="b"/>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4855633" y="446088"/>
            <a:ext cx="6252633" cy="5414963"/>
          </a:xfrm>
        </p:spPr>
        <p:txBody>
          <a:bodyP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073151" y="2260738"/>
            <a:ext cx="3547533" cy="360031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p:txBody>
          <a:bodyPr/>
          <a:lstStyle/>
          <a:p>
            <a:fld id="{D0DF5E60-9974-AC48-9591-99C2BB44B7CF}" type="datetimeFigureOut">
              <a:rPr lang="en-US" dirty="0"/>
              <a:pPr/>
              <a:t>4/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4728" y="727522"/>
            <a:ext cx="4852988" cy="1617163"/>
          </a:xfrm>
        </p:spPr>
        <p:txBody>
          <a:bodyPr anchor="b">
            <a:normAutofit/>
          </a:bodyPr>
          <a:lstStyle>
            <a:lvl1pPr algn="l">
              <a:defRPr sz="2400" b="0"/>
            </a:lvl1pPr>
          </a:lstStyle>
          <a:p>
            <a:r>
              <a:rPr lang="en-US" smtClean="0"/>
              <a:t>Click to edit Master title style</a:t>
            </a:r>
            <a:endParaRPr lang="en-US" dirty="0"/>
          </a:p>
        </p:txBody>
      </p:sp>
      <p:sp>
        <p:nvSpPr>
          <p:cNvPr id="9" name="Picture Placeholder 11"/>
          <p:cNvSpPr>
            <a:spLocks noGrp="1" noChangeAspect="1"/>
          </p:cNvSpPr>
          <p:nvPr>
            <p:ph type="pic" sz="quarter" idx="13"/>
          </p:nvPr>
        </p:nvSpPr>
        <p:spPr bwMode="auto">
          <a:xfrm>
            <a:off x="6098117" y="0"/>
            <a:ext cx="6093883" cy="6858000"/>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noFill/>
          <a:ln w="9525">
            <a:solidFill>
              <a:schemeClr val="tx2"/>
            </a:solidFill>
            <a:round/>
            <a:headEnd/>
            <a:tailEnd/>
          </a:ln>
          <a:effectLst/>
        </p:spPr>
        <p:txBody>
          <a:bodyPr wrap="square" numCol="1" anchor="t" anchorCtr="0" compatLnSpc="1">
            <a:prstTxWarp prst="textNoShape">
              <a:avLst/>
            </a:prstTxWarp>
            <a:normAutofit/>
          </a:bodyPr>
          <a:lstStyle>
            <a:lvl1pPr algn="ctr">
              <a:buFontTx/>
              <a:buNone/>
              <a:defRPr sz="1400"/>
            </a:lvl1pPr>
          </a:lstStyle>
          <a:p>
            <a:r>
              <a:rPr lang="en-US" smtClean="0"/>
              <a:t>Click icon to add picture</a:t>
            </a:r>
            <a:endParaRPr lang="en-US" dirty="0"/>
          </a:p>
        </p:txBody>
      </p:sp>
      <p:sp>
        <p:nvSpPr>
          <p:cNvPr id="4" name="Text Placeholder 3"/>
          <p:cNvSpPr>
            <a:spLocks noGrp="1"/>
          </p:cNvSpPr>
          <p:nvPr>
            <p:ph type="body" sz="half" idx="2"/>
          </p:nvPr>
        </p:nvSpPr>
        <p:spPr>
          <a:xfrm>
            <a:off x="814728" y="2344684"/>
            <a:ext cx="4852988" cy="3516365"/>
          </a:xfrm>
        </p:spPr>
        <p:txBody>
          <a:bodyPr anchor="t">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Edit Master text styles</a:t>
            </a:r>
          </a:p>
        </p:txBody>
      </p:sp>
      <p:sp>
        <p:nvSpPr>
          <p:cNvPr id="5" name="Date Placeholder 4"/>
          <p:cNvSpPr>
            <a:spLocks noGrp="1"/>
          </p:cNvSpPr>
          <p:nvPr>
            <p:ph type="dt" sz="half" idx="10"/>
          </p:nvPr>
        </p:nvSpPr>
        <p:spPr>
          <a:xfrm>
            <a:off x="3885810" y="6041362"/>
            <a:ext cx="976879" cy="365125"/>
          </a:xfrm>
        </p:spPr>
        <p:txBody>
          <a:bodyPr/>
          <a:lstStyle/>
          <a:p>
            <a:fld id="{18C79C5D-2A6F-F04D-97DA-BEF2467B64E4}" type="datetimeFigureOut">
              <a:rPr lang="en-US" dirty="0"/>
              <a:pPr/>
              <a:t>4/8/2018</a:t>
            </a:fld>
            <a:endParaRPr lang="en-US" dirty="0"/>
          </a:p>
        </p:txBody>
      </p:sp>
      <p:sp>
        <p:nvSpPr>
          <p:cNvPr id="6" name="Footer Placeholder 5"/>
          <p:cNvSpPr>
            <a:spLocks noGrp="1"/>
          </p:cNvSpPr>
          <p:nvPr>
            <p:ph type="ftr" sz="quarter" idx="11"/>
          </p:nvPr>
        </p:nvSpPr>
        <p:spPr>
          <a:xfrm>
            <a:off x="590396" y="6041362"/>
            <a:ext cx="3295413" cy="365125"/>
          </a:xfrm>
        </p:spPr>
        <p:txBody>
          <a:bodyPr/>
          <a:lstStyle/>
          <a:p>
            <a:endParaRPr lang="en-US" dirty="0"/>
          </a:p>
        </p:txBody>
      </p:sp>
      <p:sp>
        <p:nvSpPr>
          <p:cNvPr id="7" name="Slide Number Placeholder 6"/>
          <p:cNvSpPr>
            <a:spLocks noGrp="1"/>
          </p:cNvSpPr>
          <p:nvPr>
            <p:ph type="sldNum" sz="quarter" idx="12"/>
          </p:nvPr>
        </p:nvSpPr>
        <p:spPr>
          <a:xfrm>
            <a:off x="4862689" y="5915888"/>
            <a:ext cx="1062155" cy="490599"/>
          </a:xfrm>
        </p:spPr>
        <p:txBody>
          <a:bodyPr/>
          <a:lstStyle/>
          <a:p>
            <a:fld id="{D57F1E4F-1CFF-5643-939E-217C01CDF565}" type="slidenum">
              <a:rPr lang="en-US" dirty="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0000" y="447188"/>
            <a:ext cx="10571998" cy="970450"/>
          </a:xfrm>
          <a:prstGeom prst="rect">
            <a:avLst/>
          </a:prstGeom>
          <a:effectLst>
            <a:outerShdw blurRad="50800" dir="14400000">
              <a:srgbClr val="000000">
                <a:alpha val="60000"/>
              </a:srgbClr>
            </a:outerShdw>
          </a:effectLst>
        </p:spPr>
        <p:txBody>
          <a:bodyPr vert="horz" lIns="91440" tIns="45720" rIns="91440" bIns="45720" rtlCol="0" anchor="b">
            <a:noAutofit/>
          </a:bodyPr>
          <a:lstStyle/>
          <a:p>
            <a:r>
              <a:rPr lang="en-US" smtClean="0"/>
              <a:t>Click to edit Master title style</a:t>
            </a:r>
            <a:endParaRPr lang="en-US" dirty="0"/>
          </a:p>
        </p:txBody>
      </p:sp>
      <p:sp>
        <p:nvSpPr>
          <p:cNvPr id="3" name="Text Placeholder 2"/>
          <p:cNvSpPr>
            <a:spLocks noGrp="1"/>
          </p:cNvSpPr>
          <p:nvPr>
            <p:ph type="body" idx="1"/>
          </p:nvPr>
        </p:nvSpPr>
        <p:spPr>
          <a:xfrm>
            <a:off x="810000" y="2184401"/>
            <a:ext cx="10563285" cy="3674397"/>
          </a:xfrm>
          <a:prstGeom prst="rect">
            <a:avLst/>
          </a:prstGeom>
          <a:effectLst>
            <a:outerShdw blurRad="50800" dir="14400000">
              <a:srgbClr val="000000">
                <a:alpha val="40000"/>
              </a:srgbClr>
            </a:outerShdw>
          </a:effectLst>
        </p:spPr>
        <p:txBody>
          <a:bodyPr vert="horz" lIns="91440" tIns="45720" rIns="91440" bIns="45720" rtlCol="0" anchor="ctr">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51514" y="6041362"/>
            <a:ext cx="8644320" cy="365125"/>
          </a:xfrm>
          <a:prstGeom prst="rect">
            <a:avLst/>
          </a:prstGeom>
        </p:spPr>
        <p:txBody>
          <a:bodyPr vert="horz" lIns="91440" tIns="45720" rIns="91440" bIns="45720" rtlCol="0" anchor="b"/>
          <a:lstStyle>
            <a:lvl1pPr algn="l">
              <a:defRPr sz="900">
                <a:solidFill>
                  <a:schemeClr val="tx1"/>
                </a:solidFill>
              </a:defRPr>
            </a:lvl1pPr>
          </a:lstStyle>
          <a:p>
            <a:endParaRPr lang="en-US" dirty="0"/>
          </a:p>
        </p:txBody>
      </p:sp>
      <p:sp>
        <p:nvSpPr>
          <p:cNvPr id="4" name="Date Placeholder 3"/>
          <p:cNvSpPr>
            <a:spLocks noGrp="1"/>
          </p:cNvSpPr>
          <p:nvPr>
            <p:ph type="dt" sz="half" idx="2"/>
          </p:nvPr>
        </p:nvSpPr>
        <p:spPr>
          <a:xfrm>
            <a:off x="9334626" y="6041362"/>
            <a:ext cx="1343706" cy="365125"/>
          </a:xfrm>
          <a:prstGeom prst="rect">
            <a:avLst/>
          </a:prstGeom>
        </p:spPr>
        <p:txBody>
          <a:bodyPr vert="horz" lIns="91440" tIns="45720" rIns="91440" bIns="45720" rtlCol="0" anchor="b"/>
          <a:lstStyle>
            <a:lvl1pPr algn="r">
              <a:defRPr sz="900">
                <a:solidFill>
                  <a:schemeClr val="tx1"/>
                </a:solidFill>
              </a:defRPr>
            </a:lvl1pPr>
          </a:lstStyle>
          <a:p>
            <a:fld id="{09B482E8-6E0E-1B4F-B1FD-C69DB9E858D9}" type="datetimeFigureOut">
              <a:rPr lang="en-US" dirty="0"/>
              <a:pPr/>
              <a:t>4/8/2018</a:t>
            </a:fld>
            <a:endParaRPr lang="en-US" dirty="0"/>
          </a:p>
        </p:txBody>
      </p:sp>
      <p:sp>
        <p:nvSpPr>
          <p:cNvPr id="6" name="Slide Number Placeholder 5"/>
          <p:cNvSpPr>
            <a:spLocks noGrp="1"/>
          </p:cNvSpPr>
          <p:nvPr>
            <p:ph type="sldNum" sz="quarter" idx="4"/>
          </p:nvPr>
        </p:nvSpPr>
        <p:spPr>
          <a:xfrm>
            <a:off x="10678331" y="5915888"/>
            <a:ext cx="1062155" cy="490599"/>
          </a:xfrm>
          <a:prstGeom prst="rect">
            <a:avLst/>
          </a:prstGeom>
        </p:spPr>
        <p:txBody>
          <a:bodyPr vert="horz" lIns="91440" tIns="45720" rIns="91440" bIns="10800" rtlCol="0" anchor="b"/>
          <a:lstStyle>
            <a:lvl1pPr algn="r">
              <a:defRPr sz="2000">
                <a:solidFill>
                  <a:schemeClr val="accent1"/>
                </a:solidFill>
              </a:defRPr>
            </a:lvl1pPr>
          </a:lstStyle>
          <a:p>
            <a:fld id="{D57F1E4F-1CFF-5643-939E-217C01CDF56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63" r:id="rId9"/>
    <p:sldLayoutId id="2147483657" r:id="rId10"/>
    <p:sldLayoutId id="2147483666" r:id="rId11"/>
    <p:sldLayoutId id="2147483661" r:id="rId12"/>
    <p:sldLayoutId id="2147483658" r:id="rId13"/>
    <p:sldLayoutId id="2147483659" r:id="rId14"/>
  </p:sldLayoutIdLst>
  <p:hf sldNum="0" hdr="0" ftr="0" dt="0"/>
  <p:txStyles>
    <p:title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6.xml"/><Relationship Id="rId4" Type="http://schemas.openxmlformats.org/officeDocument/2006/relationships/slideLayout" Target="../slideLayouts/slideLayout6.xml"/><Relationship Id="rId9" Type="http://schemas.openxmlformats.org/officeDocument/2006/relationships/image" Target="../media/image6.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2522" y="1700938"/>
            <a:ext cx="12178747" cy="2971051"/>
          </a:xfrm>
        </p:spPr>
        <p:txBody>
          <a:bodyPr/>
          <a:lstStyle/>
          <a:p>
            <a:r>
              <a:rPr lang="en-US" dirty="0" smtClean="0"/>
              <a:t>Faster 5G-IoT and their interworking</a:t>
            </a:r>
            <a:endParaRPr lang="en-US" dirty="0"/>
          </a:p>
        </p:txBody>
      </p:sp>
      <p:sp>
        <p:nvSpPr>
          <p:cNvPr id="3" name="Subtitle 2"/>
          <p:cNvSpPr>
            <a:spLocks noGrp="1"/>
          </p:cNvSpPr>
          <p:nvPr>
            <p:ph type="subTitle" idx="1"/>
          </p:nvPr>
        </p:nvSpPr>
        <p:spPr>
          <a:xfrm>
            <a:off x="810001" y="5280847"/>
            <a:ext cx="10572000" cy="1106890"/>
          </a:xfrm>
        </p:spPr>
        <p:txBody>
          <a:bodyPr>
            <a:normAutofit/>
          </a:bodyPr>
          <a:lstStyle/>
          <a:p>
            <a:r>
              <a:rPr lang="en-US" dirty="0" smtClean="0"/>
              <a:t>IP solution for </a:t>
            </a:r>
            <a:r>
              <a:rPr lang="en-US" dirty="0" smtClean="0"/>
              <a:t>5G-IoT</a:t>
            </a:r>
            <a:endParaRPr lang="en-US" dirty="0" smtClean="0"/>
          </a:p>
          <a:p>
            <a:r>
              <a:rPr lang="en-US" sz="1600" dirty="0" smtClean="0"/>
              <a:t>Author: Ehsan </a:t>
            </a:r>
            <a:r>
              <a:rPr lang="en-US" sz="1600" dirty="0" smtClean="0"/>
              <a:t>Ghasemi</a:t>
            </a:r>
          </a:p>
          <a:p>
            <a:r>
              <a:rPr lang="en-US" sz="1600" dirty="0" smtClean="0"/>
              <a:t>April 2018</a:t>
            </a:r>
            <a:endParaRPr lang="en-US" sz="1600" dirty="0"/>
          </a:p>
        </p:txBody>
      </p:sp>
    </p:spTree>
    <p:extLst>
      <p:ext uri="{BB962C8B-B14F-4D97-AF65-F5344CB8AC3E}">
        <p14:creationId xmlns:p14="http://schemas.microsoft.com/office/powerpoint/2010/main" val="1840270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3"/>
          <p:cNvSpPr>
            <a:spLocks noGrp="1"/>
          </p:cNvSpPr>
          <p:nvPr>
            <p:ph type="title"/>
          </p:nvPr>
        </p:nvSpPr>
        <p:spPr>
          <a:xfrm>
            <a:off x="43063" y="2660967"/>
            <a:ext cx="4834194" cy="2888770"/>
          </a:xfrm>
        </p:spPr>
        <p:txBody>
          <a:bodyPr>
            <a:noAutofit/>
          </a:bodyPr>
          <a:lstStyle/>
          <a:p>
            <a:pPr algn="r"/>
            <a:r>
              <a:rPr lang="en-US" sz="5400" dirty="0">
                <a:solidFill>
                  <a:schemeClr val="tx1">
                    <a:lumMod val="85000"/>
                  </a:schemeClr>
                </a:solidFill>
                <a:latin typeface="Ericsson Capital TT" panose="02000503000000020004" pitchFamily="2" charset="0"/>
              </a:rPr>
              <a:t>Cellular</a:t>
            </a:r>
            <a:br>
              <a:rPr lang="en-US" sz="5400" dirty="0">
                <a:solidFill>
                  <a:schemeClr val="tx1">
                    <a:lumMod val="85000"/>
                  </a:schemeClr>
                </a:solidFill>
                <a:latin typeface="Ericsson Capital TT" panose="02000503000000020004" pitchFamily="2" charset="0"/>
              </a:rPr>
            </a:br>
            <a:r>
              <a:rPr lang="en-US" sz="5400" dirty="0">
                <a:solidFill>
                  <a:schemeClr val="tx1">
                    <a:lumMod val="85000"/>
                  </a:schemeClr>
                </a:solidFill>
                <a:latin typeface="Ericsson Capital TT" panose="02000503000000020004" pitchFamily="2" charset="0"/>
              </a:rPr>
              <a:t>is THE foundation  </a:t>
            </a:r>
          </a:p>
        </p:txBody>
      </p:sp>
      <p:cxnSp>
        <p:nvCxnSpPr>
          <p:cNvPr id="23" name="Rak 28"/>
          <p:cNvCxnSpPr>
            <a:cxnSpLocks noChangeShapeType="1"/>
          </p:cNvCxnSpPr>
          <p:nvPr/>
        </p:nvCxnSpPr>
        <p:spPr bwMode="auto">
          <a:xfrm>
            <a:off x="4977043" y="3992154"/>
            <a:ext cx="1840710" cy="16938"/>
          </a:xfrm>
          <a:prstGeom prst="line">
            <a:avLst/>
          </a:prstGeom>
          <a:noFill/>
          <a:ln w="12700">
            <a:gradFill>
              <a:gsLst>
                <a:gs pos="0">
                  <a:schemeClr val="accent1">
                    <a:lumMod val="5000"/>
                    <a:lumOff val="95000"/>
                  </a:schemeClr>
                </a:gs>
                <a:gs pos="100000">
                  <a:schemeClr val="bg1">
                    <a:alpha val="0"/>
                  </a:schemeClr>
                </a:gs>
              </a:gsLst>
              <a:lin ang="5400000" scaled="1"/>
            </a:gradFill>
            <a:round/>
            <a:headEnd/>
            <a:tailEnd/>
          </a:ln>
          <a:extLst>
            <a:ext uri="{909E8E84-426E-40DD-AFC4-6F175D3DCCD1}">
              <a14:hiddenFill xmlns:a14="http://schemas.microsoft.com/office/drawing/2010/main">
                <a:noFill/>
              </a14:hiddenFill>
            </a:ext>
          </a:extLst>
        </p:spPr>
      </p:cxnSp>
      <p:cxnSp>
        <p:nvCxnSpPr>
          <p:cNvPr id="29" name="Rak 28"/>
          <p:cNvCxnSpPr>
            <a:cxnSpLocks noChangeShapeType="1"/>
          </p:cNvCxnSpPr>
          <p:nvPr/>
        </p:nvCxnSpPr>
        <p:spPr bwMode="auto">
          <a:xfrm>
            <a:off x="4977043" y="4192834"/>
            <a:ext cx="1840710" cy="279132"/>
          </a:xfrm>
          <a:prstGeom prst="line">
            <a:avLst/>
          </a:prstGeom>
          <a:noFill/>
          <a:ln w="12700">
            <a:gradFill>
              <a:gsLst>
                <a:gs pos="0">
                  <a:schemeClr val="accent1">
                    <a:lumMod val="5000"/>
                    <a:lumOff val="95000"/>
                  </a:schemeClr>
                </a:gs>
                <a:gs pos="100000">
                  <a:schemeClr val="bg1">
                    <a:alpha val="0"/>
                  </a:schemeClr>
                </a:gs>
              </a:gsLst>
              <a:lin ang="5400000" scaled="1"/>
            </a:gradFill>
            <a:round/>
            <a:headEnd/>
            <a:tailEnd/>
          </a:ln>
          <a:extLst>
            <a:ext uri="{909E8E84-426E-40DD-AFC4-6F175D3DCCD1}">
              <a14:hiddenFill xmlns:a14="http://schemas.microsoft.com/office/drawing/2010/main">
                <a:noFill/>
              </a14:hiddenFill>
            </a:ext>
          </a:extLst>
        </p:spPr>
      </p:cxnSp>
      <p:cxnSp>
        <p:nvCxnSpPr>
          <p:cNvPr id="37" name="Rak 28"/>
          <p:cNvCxnSpPr>
            <a:cxnSpLocks noChangeShapeType="1"/>
          </p:cNvCxnSpPr>
          <p:nvPr/>
        </p:nvCxnSpPr>
        <p:spPr bwMode="auto">
          <a:xfrm>
            <a:off x="4977043" y="4393514"/>
            <a:ext cx="1840710" cy="509276"/>
          </a:xfrm>
          <a:prstGeom prst="line">
            <a:avLst/>
          </a:prstGeom>
          <a:noFill/>
          <a:ln w="12700">
            <a:gradFill>
              <a:gsLst>
                <a:gs pos="0">
                  <a:schemeClr val="accent1">
                    <a:lumMod val="5000"/>
                    <a:lumOff val="95000"/>
                  </a:schemeClr>
                </a:gs>
                <a:gs pos="100000">
                  <a:schemeClr val="bg1">
                    <a:alpha val="0"/>
                  </a:schemeClr>
                </a:gs>
              </a:gsLst>
              <a:lin ang="5400000" scaled="1"/>
            </a:gradFill>
            <a:round/>
            <a:headEnd/>
            <a:tailEnd/>
          </a:ln>
          <a:extLst>
            <a:ext uri="{909E8E84-426E-40DD-AFC4-6F175D3DCCD1}">
              <a14:hiddenFill xmlns:a14="http://schemas.microsoft.com/office/drawing/2010/main">
                <a:noFill/>
              </a14:hiddenFill>
            </a:ext>
          </a:extLst>
        </p:spPr>
      </p:cxnSp>
      <p:cxnSp>
        <p:nvCxnSpPr>
          <p:cNvPr id="46" name="Rak 45"/>
          <p:cNvCxnSpPr>
            <a:cxnSpLocks noChangeShapeType="1"/>
          </p:cNvCxnSpPr>
          <p:nvPr/>
        </p:nvCxnSpPr>
        <p:spPr bwMode="auto">
          <a:xfrm flipV="1">
            <a:off x="4977043" y="3038820"/>
            <a:ext cx="1840710" cy="551974"/>
          </a:xfrm>
          <a:prstGeom prst="line">
            <a:avLst/>
          </a:prstGeom>
          <a:noFill/>
          <a:ln w="12700">
            <a:gradFill>
              <a:gsLst>
                <a:gs pos="0">
                  <a:schemeClr val="accent1">
                    <a:lumMod val="5000"/>
                    <a:lumOff val="95000"/>
                  </a:schemeClr>
                </a:gs>
                <a:gs pos="100000">
                  <a:schemeClr val="bg1">
                    <a:alpha val="0"/>
                  </a:schemeClr>
                </a:gs>
              </a:gsLst>
              <a:lin ang="5400000" scaled="1"/>
            </a:gradFill>
            <a:round/>
            <a:headEnd/>
            <a:tailEnd/>
          </a:ln>
          <a:extLst>
            <a:ext uri="{909E8E84-426E-40DD-AFC4-6F175D3DCCD1}">
              <a14:hiddenFill xmlns:a14="http://schemas.microsoft.com/office/drawing/2010/main">
                <a:noFill/>
              </a14:hiddenFill>
            </a:ext>
          </a:extLst>
        </p:spPr>
      </p:cxnSp>
      <p:cxnSp>
        <p:nvCxnSpPr>
          <p:cNvPr id="49" name="Rak 28"/>
          <p:cNvCxnSpPr>
            <a:cxnSpLocks noChangeShapeType="1"/>
          </p:cNvCxnSpPr>
          <p:nvPr/>
        </p:nvCxnSpPr>
        <p:spPr bwMode="auto">
          <a:xfrm flipV="1">
            <a:off x="4977043" y="3522397"/>
            <a:ext cx="1840710" cy="269077"/>
          </a:xfrm>
          <a:prstGeom prst="line">
            <a:avLst/>
          </a:prstGeom>
          <a:noFill/>
          <a:ln w="12700">
            <a:gradFill>
              <a:gsLst>
                <a:gs pos="0">
                  <a:schemeClr val="accent1">
                    <a:lumMod val="5000"/>
                    <a:lumOff val="95000"/>
                  </a:schemeClr>
                </a:gs>
                <a:gs pos="100000">
                  <a:schemeClr val="bg1">
                    <a:alpha val="0"/>
                  </a:schemeClr>
                </a:gs>
              </a:gsLst>
              <a:lin ang="5400000" scaled="1"/>
            </a:gradFill>
            <a:round/>
            <a:headEnd/>
            <a:tailEnd/>
          </a:ln>
          <a:extLst>
            <a:ext uri="{909E8E84-426E-40DD-AFC4-6F175D3DCCD1}">
              <a14:hiddenFill xmlns:a14="http://schemas.microsoft.com/office/drawing/2010/main">
                <a:noFill/>
              </a14:hiddenFill>
            </a:ext>
          </a:extLst>
        </p:spPr>
      </p:cxnSp>
      <p:sp>
        <p:nvSpPr>
          <p:cNvPr id="32" name="Title 3"/>
          <p:cNvSpPr txBox="1">
            <a:spLocks/>
          </p:cNvSpPr>
          <p:nvPr/>
        </p:nvSpPr>
        <p:spPr bwMode="auto">
          <a:xfrm>
            <a:off x="8737817" y="5680233"/>
            <a:ext cx="4126019" cy="966287"/>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lgn="ctr"/>
            <a:r>
              <a:rPr lang="en-US" sz="15000" kern="0" dirty="0">
                <a:solidFill>
                  <a:schemeClr val="bg1">
                    <a:lumMod val="95000"/>
                    <a:lumOff val="5000"/>
                  </a:schemeClr>
                </a:solidFill>
                <a:latin typeface="Ericsson Capital TT" panose="02000503000000020004" pitchFamily="2" charset="0"/>
              </a:rPr>
              <a:t>5G</a:t>
            </a:r>
          </a:p>
        </p:txBody>
      </p:sp>
      <p:sp>
        <p:nvSpPr>
          <p:cNvPr id="41" name="Rectangle 115"/>
          <p:cNvSpPr/>
          <p:nvPr/>
        </p:nvSpPr>
        <p:spPr>
          <a:xfrm>
            <a:off x="315797" y="5449401"/>
            <a:ext cx="4561460" cy="461665"/>
          </a:xfrm>
          <a:prstGeom prst="rect">
            <a:avLst/>
          </a:prstGeom>
        </p:spPr>
        <p:txBody>
          <a:bodyPr wrap="square">
            <a:spAutoFit/>
          </a:bodyPr>
          <a:lstStyle/>
          <a:p>
            <a:pPr algn="r"/>
            <a:r>
              <a:rPr lang="en-US" sz="2400" kern="0" dirty="0">
                <a:solidFill>
                  <a:schemeClr val="tx1">
                    <a:lumMod val="85000"/>
                  </a:schemeClr>
                </a:solidFill>
              </a:rPr>
              <a:t>for the internet of things</a:t>
            </a:r>
          </a:p>
        </p:txBody>
      </p:sp>
      <p:sp>
        <p:nvSpPr>
          <p:cNvPr id="30" name="Rectangle 115">
            <a:extLst>
              <a:ext uri="{FF2B5EF4-FFF2-40B4-BE49-F238E27FC236}">
                <a16:creationId xmlns:a16="http://schemas.microsoft.com/office/drawing/2014/main" id="{7BFF927E-F124-471A-8ACD-F1F0203CFB6C}"/>
              </a:ext>
            </a:extLst>
          </p:cNvPr>
          <p:cNvSpPr/>
          <p:nvPr/>
        </p:nvSpPr>
        <p:spPr>
          <a:xfrm>
            <a:off x="7337214" y="2745667"/>
            <a:ext cx="3363651" cy="323165"/>
          </a:xfrm>
          <a:prstGeom prst="rect">
            <a:avLst/>
          </a:prstGeom>
        </p:spPr>
        <p:txBody>
          <a:bodyPr wrap="square">
            <a:spAutoFit/>
          </a:bodyPr>
          <a:lstStyle/>
          <a:p>
            <a:r>
              <a:rPr lang="en-US" sz="1500" kern="0" dirty="0">
                <a:solidFill>
                  <a:schemeClr val="tx1">
                    <a:lumMod val="85000"/>
                  </a:schemeClr>
                </a:solidFill>
              </a:rPr>
              <a:t>GLOBAL STANDARD AND REACH</a:t>
            </a:r>
          </a:p>
        </p:txBody>
      </p:sp>
      <p:sp>
        <p:nvSpPr>
          <p:cNvPr id="35" name="Rectangle 115">
            <a:extLst>
              <a:ext uri="{FF2B5EF4-FFF2-40B4-BE49-F238E27FC236}">
                <a16:creationId xmlns:a16="http://schemas.microsoft.com/office/drawing/2014/main" id="{64E2AB29-2A1D-41C3-9A17-0222CEE865BF}"/>
              </a:ext>
            </a:extLst>
          </p:cNvPr>
          <p:cNvSpPr/>
          <p:nvPr/>
        </p:nvSpPr>
        <p:spPr>
          <a:xfrm>
            <a:off x="7337214" y="4401982"/>
            <a:ext cx="1529668" cy="323165"/>
          </a:xfrm>
          <a:prstGeom prst="rect">
            <a:avLst/>
          </a:prstGeom>
        </p:spPr>
        <p:txBody>
          <a:bodyPr wrap="square">
            <a:spAutoFit/>
          </a:bodyPr>
          <a:lstStyle/>
          <a:p>
            <a:r>
              <a:rPr lang="en-US" sz="1500" kern="0" dirty="0">
                <a:solidFill>
                  <a:schemeClr val="tx1">
                    <a:lumMod val="85000"/>
                  </a:schemeClr>
                </a:solidFill>
              </a:rPr>
              <a:t>SECURITY</a:t>
            </a:r>
          </a:p>
        </p:txBody>
      </p:sp>
      <p:sp>
        <p:nvSpPr>
          <p:cNvPr id="36" name="Rectangle 115">
            <a:extLst>
              <a:ext uri="{FF2B5EF4-FFF2-40B4-BE49-F238E27FC236}">
                <a16:creationId xmlns:a16="http://schemas.microsoft.com/office/drawing/2014/main" id="{44DE7028-DD17-485D-9BAF-F3A1A060B2A0}"/>
              </a:ext>
            </a:extLst>
          </p:cNvPr>
          <p:cNvSpPr/>
          <p:nvPr/>
        </p:nvSpPr>
        <p:spPr>
          <a:xfrm>
            <a:off x="7356264" y="3297772"/>
            <a:ext cx="3785870" cy="323165"/>
          </a:xfrm>
          <a:prstGeom prst="rect">
            <a:avLst/>
          </a:prstGeom>
        </p:spPr>
        <p:txBody>
          <a:bodyPr wrap="square">
            <a:spAutoFit/>
          </a:bodyPr>
          <a:lstStyle/>
          <a:p>
            <a:r>
              <a:rPr lang="en-US" sz="1500" kern="0" dirty="0">
                <a:solidFill>
                  <a:schemeClr val="tx1">
                    <a:lumMod val="85000"/>
                  </a:schemeClr>
                </a:solidFill>
              </a:rPr>
              <a:t>SCALABILITY AND RELIABILITY</a:t>
            </a:r>
          </a:p>
        </p:txBody>
      </p:sp>
      <p:sp>
        <p:nvSpPr>
          <p:cNvPr id="43" name="Freeform 13">
            <a:extLst>
              <a:ext uri="{FF2B5EF4-FFF2-40B4-BE49-F238E27FC236}">
                <a16:creationId xmlns:a16="http://schemas.microsoft.com/office/drawing/2014/main" id="{F8BD5A54-3978-4805-9DB6-5DDEA695A2BB}"/>
              </a:ext>
            </a:extLst>
          </p:cNvPr>
          <p:cNvSpPr>
            <a:spLocks noChangeAspect="1" noEditPoints="1"/>
          </p:cNvSpPr>
          <p:nvPr/>
        </p:nvSpPr>
        <p:spPr bwMode="auto">
          <a:xfrm>
            <a:off x="6948672" y="2771057"/>
            <a:ext cx="323937" cy="323937"/>
          </a:xfrm>
          <a:custGeom>
            <a:avLst/>
            <a:gdLst>
              <a:gd name="T0" fmla="*/ 2147483647 w 385"/>
              <a:gd name="T1" fmla="*/ 2147483647 h 385"/>
              <a:gd name="T2" fmla="*/ 2147483647 w 385"/>
              <a:gd name="T3" fmla="*/ 2147483647 h 385"/>
              <a:gd name="T4" fmla="*/ 2147483647 w 385"/>
              <a:gd name="T5" fmla="*/ 2147483647 h 385"/>
              <a:gd name="T6" fmla="*/ 2147483647 w 385"/>
              <a:gd name="T7" fmla="*/ 2147483647 h 385"/>
              <a:gd name="T8" fmla="*/ 2147483647 w 385"/>
              <a:gd name="T9" fmla="*/ 2147483647 h 385"/>
              <a:gd name="T10" fmla="*/ 2147483647 w 385"/>
              <a:gd name="T11" fmla="*/ 2147483647 h 385"/>
              <a:gd name="T12" fmla="*/ 2147483647 w 385"/>
              <a:gd name="T13" fmla="*/ 2147483647 h 385"/>
              <a:gd name="T14" fmla="*/ 2147483647 w 385"/>
              <a:gd name="T15" fmla="*/ 2147483647 h 385"/>
              <a:gd name="T16" fmla="*/ 2147483647 w 385"/>
              <a:gd name="T17" fmla="*/ 2147483647 h 385"/>
              <a:gd name="T18" fmla="*/ 2147483647 w 385"/>
              <a:gd name="T19" fmla="*/ 2147483647 h 385"/>
              <a:gd name="T20" fmla="*/ 2147483647 w 385"/>
              <a:gd name="T21" fmla="*/ 2147483647 h 385"/>
              <a:gd name="T22" fmla="*/ 2147483647 w 385"/>
              <a:gd name="T23" fmla="*/ 2147483647 h 385"/>
              <a:gd name="T24" fmla="*/ 2147483647 w 385"/>
              <a:gd name="T25" fmla="*/ 2147483647 h 385"/>
              <a:gd name="T26" fmla="*/ 2147483647 w 385"/>
              <a:gd name="T27" fmla="*/ 2147483647 h 385"/>
              <a:gd name="T28" fmla="*/ 2147483647 w 385"/>
              <a:gd name="T29" fmla="*/ 2147483647 h 385"/>
              <a:gd name="T30" fmla="*/ 2147483647 w 385"/>
              <a:gd name="T31" fmla="*/ 2147483647 h 385"/>
              <a:gd name="T32" fmla="*/ 2147483647 w 385"/>
              <a:gd name="T33" fmla="*/ 2147483647 h 385"/>
              <a:gd name="T34" fmla="*/ 2147483647 w 385"/>
              <a:gd name="T35" fmla="*/ 2147483647 h 385"/>
              <a:gd name="T36" fmla="*/ 2147483647 w 385"/>
              <a:gd name="T37" fmla="*/ 2147483647 h 385"/>
              <a:gd name="T38" fmla="*/ 2147483647 w 385"/>
              <a:gd name="T39" fmla="*/ 2147483647 h 385"/>
              <a:gd name="T40" fmla="*/ 2147483647 w 385"/>
              <a:gd name="T41" fmla="*/ 2147483647 h 385"/>
              <a:gd name="T42" fmla="*/ 2147483647 w 385"/>
              <a:gd name="T43" fmla="*/ 2147483647 h 385"/>
              <a:gd name="T44" fmla="*/ 2147483647 w 385"/>
              <a:gd name="T45" fmla="*/ 2147483647 h 385"/>
              <a:gd name="T46" fmla="*/ 2147483647 w 385"/>
              <a:gd name="T47" fmla="*/ 2147483647 h 385"/>
              <a:gd name="T48" fmla="*/ 2147483647 w 385"/>
              <a:gd name="T49" fmla="*/ 2147483647 h 385"/>
              <a:gd name="T50" fmla="*/ 2147483647 w 385"/>
              <a:gd name="T51" fmla="*/ 2147483647 h 385"/>
              <a:gd name="T52" fmla="*/ 2147483647 w 385"/>
              <a:gd name="T53" fmla="*/ 2147483647 h 385"/>
              <a:gd name="T54" fmla="*/ 2147483647 w 385"/>
              <a:gd name="T55" fmla="*/ 2147483647 h 385"/>
              <a:gd name="T56" fmla="*/ 2147483647 w 385"/>
              <a:gd name="T57" fmla="*/ 2147483647 h 385"/>
              <a:gd name="T58" fmla="*/ 2147483647 w 385"/>
              <a:gd name="T59" fmla="*/ 2147483647 h 385"/>
              <a:gd name="T60" fmla="*/ 2147483647 w 385"/>
              <a:gd name="T61" fmla="*/ 2147483647 h 385"/>
              <a:gd name="T62" fmla="*/ 2147483647 w 385"/>
              <a:gd name="T63" fmla="*/ 2147483647 h 385"/>
              <a:gd name="T64" fmla="*/ 2147483647 w 385"/>
              <a:gd name="T65" fmla="*/ 2147483647 h 385"/>
              <a:gd name="T66" fmla="*/ 2147483647 w 385"/>
              <a:gd name="T67" fmla="*/ 2147483647 h 385"/>
              <a:gd name="T68" fmla="*/ 2147483647 w 385"/>
              <a:gd name="T69" fmla="*/ 2147483647 h 385"/>
              <a:gd name="T70" fmla="*/ 2147483647 w 385"/>
              <a:gd name="T71" fmla="*/ 2147483647 h 385"/>
              <a:gd name="T72" fmla="*/ 2147483647 w 385"/>
              <a:gd name="T73" fmla="*/ 2147483647 h 385"/>
              <a:gd name="T74" fmla="*/ 2147483647 w 385"/>
              <a:gd name="T75" fmla="*/ 2147483647 h 385"/>
              <a:gd name="T76" fmla="*/ 2147483647 w 385"/>
              <a:gd name="T77" fmla="*/ 2147483647 h 385"/>
              <a:gd name="T78" fmla="*/ 2147483647 w 385"/>
              <a:gd name="T79" fmla="*/ 2147483647 h 385"/>
              <a:gd name="T80" fmla="*/ 2147483647 w 385"/>
              <a:gd name="T81" fmla="*/ 2147483647 h 385"/>
              <a:gd name="T82" fmla="*/ 2147483647 w 385"/>
              <a:gd name="T83" fmla="*/ 2147483647 h 385"/>
              <a:gd name="T84" fmla="*/ 2147483647 w 385"/>
              <a:gd name="T85" fmla="*/ 2147483647 h 385"/>
              <a:gd name="T86" fmla="*/ 2147483647 w 385"/>
              <a:gd name="T87" fmla="*/ 2147483647 h 385"/>
              <a:gd name="T88" fmla="*/ 2147483647 w 385"/>
              <a:gd name="T89" fmla="*/ 2147483647 h 385"/>
              <a:gd name="T90" fmla="*/ 2147483647 w 385"/>
              <a:gd name="T91" fmla="*/ 2147483647 h 385"/>
              <a:gd name="T92" fmla="*/ 2147483647 w 385"/>
              <a:gd name="T93" fmla="*/ 2147483647 h 385"/>
              <a:gd name="T94" fmla="*/ 2147483647 w 385"/>
              <a:gd name="T95" fmla="*/ 2147483647 h 3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85" h="385">
                <a:moveTo>
                  <a:pt x="168" y="233"/>
                </a:moveTo>
                <a:cubicBezTo>
                  <a:pt x="168" y="233"/>
                  <a:pt x="168" y="233"/>
                  <a:pt x="168" y="234"/>
                </a:cubicBezTo>
                <a:cubicBezTo>
                  <a:pt x="168" y="234"/>
                  <a:pt x="168" y="234"/>
                  <a:pt x="168" y="234"/>
                </a:cubicBezTo>
                <a:lnTo>
                  <a:pt x="168" y="233"/>
                </a:lnTo>
                <a:close/>
                <a:moveTo>
                  <a:pt x="287" y="135"/>
                </a:moveTo>
                <a:cubicBezTo>
                  <a:pt x="285" y="137"/>
                  <a:pt x="286" y="139"/>
                  <a:pt x="285" y="141"/>
                </a:cubicBezTo>
                <a:cubicBezTo>
                  <a:pt x="284" y="145"/>
                  <a:pt x="280" y="142"/>
                  <a:pt x="278" y="145"/>
                </a:cubicBezTo>
                <a:cubicBezTo>
                  <a:pt x="274" y="149"/>
                  <a:pt x="279" y="152"/>
                  <a:pt x="283" y="153"/>
                </a:cubicBezTo>
                <a:cubicBezTo>
                  <a:pt x="288" y="154"/>
                  <a:pt x="290" y="150"/>
                  <a:pt x="293" y="147"/>
                </a:cubicBezTo>
                <a:cubicBezTo>
                  <a:pt x="295" y="146"/>
                  <a:pt x="296" y="144"/>
                  <a:pt x="298" y="144"/>
                </a:cubicBezTo>
                <a:cubicBezTo>
                  <a:pt x="300" y="144"/>
                  <a:pt x="302" y="146"/>
                  <a:pt x="303" y="146"/>
                </a:cubicBezTo>
                <a:cubicBezTo>
                  <a:pt x="308" y="146"/>
                  <a:pt x="308" y="141"/>
                  <a:pt x="307" y="138"/>
                </a:cubicBezTo>
                <a:cubicBezTo>
                  <a:pt x="305" y="135"/>
                  <a:pt x="302" y="133"/>
                  <a:pt x="299" y="130"/>
                </a:cubicBezTo>
                <a:cubicBezTo>
                  <a:pt x="298" y="129"/>
                  <a:pt x="298" y="127"/>
                  <a:pt x="297" y="126"/>
                </a:cubicBezTo>
                <a:cubicBezTo>
                  <a:pt x="296" y="124"/>
                  <a:pt x="293" y="124"/>
                  <a:pt x="292" y="125"/>
                </a:cubicBezTo>
                <a:cubicBezTo>
                  <a:pt x="290" y="127"/>
                  <a:pt x="292" y="129"/>
                  <a:pt x="291" y="131"/>
                </a:cubicBezTo>
                <a:cubicBezTo>
                  <a:pt x="291" y="133"/>
                  <a:pt x="288" y="133"/>
                  <a:pt x="287" y="135"/>
                </a:cubicBezTo>
                <a:close/>
                <a:moveTo>
                  <a:pt x="339" y="68"/>
                </a:moveTo>
                <a:cubicBezTo>
                  <a:pt x="336" y="64"/>
                  <a:pt x="331" y="64"/>
                  <a:pt x="327" y="67"/>
                </a:cubicBezTo>
                <a:cubicBezTo>
                  <a:pt x="324" y="70"/>
                  <a:pt x="324" y="75"/>
                  <a:pt x="327" y="78"/>
                </a:cubicBezTo>
                <a:cubicBezTo>
                  <a:pt x="328" y="79"/>
                  <a:pt x="329" y="81"/>
                  <a:pt x="330" y="82"/>
                </a:cubicBezTo>
                <a:cubicBezTo>
                  <a:pt x="320" y="87"/>
                  <a:pt x="315" y="97"/>
                  <a:pt x="314" y="98"/>
                </a:cubicBezTo>
                <a:cubicBezTo>
                  <a:pt x="311" y="103"/>
                  <a:pt x="311" y="111"/>
                  <a:pt x="311" y="117"/>
                </a:cubicBezTo>
                <a:cubicBezTo>
                  <a:pt x="312" y="122"/>
                  <a:pt x="313" y="129"/>
                  <a:pt x="317" y="133"/>
                </a:cubicBezTo>
                <a:cubicBezTo>
                  <a:pt x="322" y="139"/>
                  <a:pt x="326" y="151"/>
                  <a:pt x="318" y="157"/>
                </a:cubicBezTo>
                <a:cubicBezTo>
                  <a:pt x="309" y="162"/>
                  <a:pt x="306" y="147"/>
                  <a:pt x="298" y="153"/>
                </a:cubicBezTo>
                <a:cubicBezTo>
                  <a:pt x="295" y="156"/>
                  <a:pt x="292" y="159"/>
                  <a:pt x="289" y="163"/>
                </a:cubicBezTo>
                <a:cubicBezTo>
                  <a:pt x="286" y="167"/>
                  <a:pt x="286" y="168"/>
                  <a:pt x="291" y="171"/>
                </a:cubicBezTo>
                <a:cubicBezTo>
                  <a:pt x="302" y="177"/>
                  <a:pt x="284" y="180"/>
                  <a:pt x="283" y="186"/>
                </a:cubicBezTo>
                <a:cubicBezTo>
                  <a:pt x="282" y="196"/>
                  <a:pt x="299" y="185"/>
                  <a:pt x="301" y="184"/>
                </a:cubicBezTo>
                <a:cubicBezTo>
                  <a:pt x="311" y="177"/>
                  <a:pt x="325" y="178"/>
                  <a:pt x="335" y="184"/>
                </a:cubicBezTo>
                <a:cubicBezTo>
                  <a:pt x="338" y="186"/>
                  <a:pt x="341" y="188"/>
                  <a:pt x="344" y="190"/>
                </a:cubicBezTo>
                <a:cubicBezTo>
                  <a:pt x="347" y="191"/>
                  <a:pt x="349" y="193"/>
                  <a:pt x="352" y="194"/>
                </a:cubicBezTo>
                <a:cubicBezTo>
                  <a:pt x="355" y="197"/>
                  <a:pt x="357" y="202"/>
                  <a:pt x="360" y="205"/>
                </a:cubicBezTo>
                <a:cubicBezTo>
                  <a:pt x="363" y="209"/>
                  <a:pt x="364" y="226"/>
                  <a:pt x="359" y="222"/>
                </a:cubicBezTo>
                <a:cubicBezTo>
                  <a:pt x="357" y="219"/>
                  <a:pt x="354" y="216"/>
                  <a:pt x="352" y="212"/>
                </a:cubicBezTo>
                <a:cubicBezTo>
                  <a:pt x="347" y="207"/>
                  <a:pt x="345" y="213"/>
                  <a:pt x="340" y="213"/>
                </a:cubicBezTo>
                <a:cubicBezTo>
                  <a:pt x="337" y="213"/>
                  <a:pt x="338" y="212"/>
                  <a:pt x="337" y="210"/>
                </a:cubicBezTo>
                <a:cubicBezTo>
                  <a:pt x="336" y="205"/>
                  <a:pt x="333" y="202"/>
                  <a:pt x="329" y="199"/>
                </a:cubicBezTo>
                <a:cubicBezTo>
                  <a:pt x="325" y="196"/>
                  <a:pt x="319" y="194"/>
                  <a:pt x="314" y="194"/>
                </a:cubicBezTo>
                <a:cubicBezTo>
                  <a:pt x="309" y="194"/>
                  <a:pt x="305" y="195"/>
                  <a:pt x="301" y="196"/>
                </a:cubicBezTo>
                <a:cubicBezTo>
                  <a:pt x="291" y="198"/>
                  <a:pt x="283" y="198"/>
                  <a:pt x="277" y="207"/>
                </a:cubicBezTo>
                <a:cubicBezTo>
                  <a:pt x="273" y="214"/>
                  <a:pt x="267" y="222"/>
                  <a:pt x="268" y="230"/>
                </a:cubicBezTo>
                <a:cubicBezTo>
                  <a:pt x="268" y="233"/>
                  <a:pt x="270" y="235"/>
                  <a:pt x="270" y="238"/>
                </a:cubicBezTo>
                <a:cubicBezTo>
                  <a:pt x="271" y="242"/>
                  <a:pt x="271" y="246"/>
                  <a:pt x="273" y="250"/>
                </a:cubicBezTo>
                <a:cubicBezTo>
                  <a:pt x="275" y="256"/>
                  <a:pt x="281" y="262"/>
                  <a:pt x="287" y="262"/>
                </a:cubicBezTo>
                <a:cubicBezTo>
                  <a:pt x="290" y="262"/>
                  <a:pt x="291" y="262"/>
                  <a:pt x="293" y="261"/>
                </a:cubicBezTo>
                <a:cubicBezTo>
                  <a:pt x="295" y="260"/>
                  <a:pt x="296" y="257"/>
                  <a:pt x="298" y="257"/>
                </a:cubicBezTo>
                <a:cubicBezTo>
                  <a:pt x="303" y="257"/>
                  <a:pt x="305" y="264"/>
                  <a:pt x="307" y="267"/>
                </a:cubicBezTo>
                <a:cubicBezTo>
                  <a:pt x="311" y="271"/>
                  <a:pt x="316" y="269"/>
                  <a:pt x="319" y="273"/>
                </a:cubicBezTo>
                <a:cubicBezTo>
                  <a:pt x="322" y="277"/>
                  <a:pt x="326" y="284"/>
                  <a:pt x="325" y="289"/>
                </a:cubicBezTo>
                <a:cubicBezTo>
                  <a:pt x="323" y="294"/>
                  <a:pt x="315" y="295"/>
                  <a:pt x="313" y="300"/>
                </a:cubicBezTo>
                <a:cubicBezTo>
                  <a:pt x="308" y="308"/>
                  <a:pt x="320" y="305"/>
                  <a:pt x="323" y="312"/>
                </a:cubicBezTo>
                <a:cubicBezTo>
                  <a:pt x="321" y="314"/>
                  <a:pt x="319" y="316"/>
                  <a:pt x="317" y="317"/>
                </a:cubicBezTo>
                <a:cubicBezTo>
                  <a:pt x="285" y="349"/>
                  <a:pt x="241" y="369"/>
                  <a:pt x="192" y="369"/>
                </a:cubicBezTo>
                <a:cubicBezTo>
                  <a:pt x="185" y="369"/>
                  <a:pt x="178" y="369"/>
                  <a:pt x="170" y="368"/>
                </a:cubicBezTo>
                <a:cubicBezTo>
                  <a:pt x="171" y="366"/>
                  <a:pt x="171" y="365"/>
                  <a:pt x="171" y="364"/>
                </a:cubicBezTo>
                <a:cubicBezTo>
                  <a:pt x="174" y="359"/>
                  <a:pt x="176" y="355"/>
                  <a:pt x="181" y="351"/>
                </a:cubicBezTo>
                <a:cubicBezTo>
                  <a:pt x="192" y="341"/>
                  <a:pt x="201" y="330"/>
                  <a:pt x="209" y="319"/>
                </a:cubicBezTo>
                <a:cubicBezTo>
                  <a:pt x="213" y="313"/>
                  <a:pt x="220" y="312"/>
                  <a:pt x="224" y="306"/>
                </a:cubicBezTo>
                <a:cubicBezTo>
                  <a:pt x="226" y="303"/>
                  <a:pt x="226" y="298"/>
                  <a:pt x="227" y="294"/>
                </a:cubicBezTo>
                <a:cubicBezTo>
                  <a:pt x="227" y="290"/>
                  <a:pt x="228" y="288"/>
                  <a:pt x="230" y="285"/>
                </a:cubicBezTo>
                <a:cubicBezTo>
                  <a:pt x="232" y="282"/>
                  <a:pt x="237" y="279"/>
                  <a:pt x="238" y="276"/>
                </a:cubicBezTo>
                <a:cubicBezTo>
                  <a:pt x="240" y="269"/>
                  <a:pt x="230" y="261"/>
                  <a:pt x="224" y="259"/>
                </a:cubicBezTo>
                <a:cubicBezTo>
                  <a:pt x="220" y="257"/>
                  <a:pt x="215" y="258"/>
                  <a:pt x="211" y="255"/>
                </a:cubicBezTo>
                <a:cubicBezTo>
                  <a:pt x="207" y="254"/>
                  <a:pt x="206" y="251"/>
                  <a:pt x="203" y="248"/>
                </a:cubicBezTo>
                <a:cubicBezTo>
                  <a:pt x="200" y="246"/>
                  <a:pt x="196" y="244"/>
                  <a:pt x="192" y="242"/>
                </a:cubicBezTo>
                <a:cubicBezTo>
                  <a:pt x="188" y="240"/>
                  <a:pt x="184" y="241"/>
                  <a:pt x="180" y="240"/>
                </a:cubicBezTo>
                <a:cubicBezTo>
                  <a:pt x="178" y="239"/>
                  <a:pt x="176" y="237"/>
                  <a:pt x="174" y="236"/>
                </a:cubicBezTo>
                <a:cubicBezTo>
                  <a:pt x="172" y="235"/>
                  <a:pt x="170" y="235"/>
                  <a:pt x="168" y="234"/>
                </a:cubicBezTo>
                <a:cubicBezTo>
                  <a:pt x="166" y="233"/>
                  <a:pt x="163" y="235"/>
                  <a:pt x="162" y="237"/>
                </a:cubicBezTo>
                <a:cubicBezTo>
                  <a:pt x="160" y="240"/>
                  <a:pt x="160" y="243"/>
                  <a:pt x="160" y="246"/>
                </a:cubicBezTo>
                <a:cubicBezTo>
                  <a:pt x="160" y="247"/>
                  <a:pt x="160" y="247"/>
                  <a:pt x="160" y="247"/>
                </a:cubicBezTo>
                <a:cubicBezTo>
                  <a:pt x="160" y="247"/>
                  <a:pt x="160" y="247"/>
                  <a:pt x="160" y="247"/>
                </a:cubicBezTo>
                <a:cubicBezTo>
                  <a:pt x="155" y="246"/>
                  <a:pt x="153" y="243"/>
                  <a:pt x="151" y="240"/>
                </a:cubicBezTo>
                <a:cubicBezTo>
                  <a:pt x="149" y="237"/>
                  <a:pt x="149" y="235"/>
                  <a:pt x="146" y="234"/>
                </a:cubicBezTo>
                <a:cubicBezTo>
                  <a:pt x="144" y="233"/>
                  <a:pt x="143" y="234"/>
                  <a:pt x="141" y="232"/>
                </a:cubicBezTo>
                <a:cubicBezTo>
                  <a:pt x="137" y="229"/>
                  <a:pt x="136" y="224"/>
                  <a:pt x="131" y="221"/>
                </a:cubicBezTo>
                <a:cubicBezTo>
                  <a:pt x="129" y="219"/>
                  <a:pt x="125" y="221"/>
                  <a:pt x="122" y="220"/>
                </a:cubicBezTo>
                <a:cubicBezTo>
                  <a:pt x="117" y="217"/>
                  <a:pt x="122" y="208"/>
                  <a:pt x="125" y="205"/>
                </a:cubicBezTo>
                <a:cubicBezTo>
                  <a:pt x="127" y="204"/>
                  <a:pt x="128" y="204"/>
                  <a:pt x="130" y="204"/>
                </a:cubicBezTo>
                <a:cubicBezTo>
                  <a:pt x="132" y="203"/>
                  <a:pt x="134" y="201"/>
                  <a:pt x="137" y="201"/>
                </a:cubicBezTo>
                <a:cubicBezTo>
                  <a:pt x="140" y="200"/>
                  <a:pt x="143" y="202"/>
                  <a:pt x="145" y="204"/>
                </a:cubicBezTo>
                <a:cubicBezTo>
                  <a:pt x="149" y="207"/>
                  <a:pt x="152" y="212"/>
                  <a:pt x="156" y="214"/>
                </a:cubicBezTo>
                <a:cubicBezTo>
                  <a:pt x="159" y="216"/>
                  <a:pt x="164" y="216"/>
                  <a:pt x="164" y="212"/>
                </a:cubicBezTo>
                <a:cubicBezTo>
                  <a:pt x="163" y="207"/>
                  <a:pt x="154" y="207"/>
                  <a:pt x="153" y="202"/>
                </a:cubicBezTo>
                <a:cubicBezTo>
                  <a:pt x="153" y="200"/>
                  <a:pt x="157" y="193"/>
                  <a:pt x="158" y="191"/>
                </a:cubicBezTo>
                <a:cubicBezTo>
                  <a:pt x="161" y="185"/>
                  <a:pt x="168" y="185"/>
                  <a:pt x="171" y="180"/>
                </a:cubicBezTo>
                <a:cubicBezTo>
                  <a:pt x="174" y="177"/>
                  <a:pt x="173" y="172"/>
                  <a:pt x="176" y="169"/>
                </a:cubicBezTo>
                <a:cubicBezTo>
                  <a:pt x="179" y="167"/>
                  <a:pt x="185" y="167"/>
                  <a:pt x="189" y="165"/>
                </a:cubicBezTo>
                <a:cubicBezTo>
                  <a:pt x="193" y="162"/>
                  <a:pt x="197" y="156"/>
                  <a:pt x="199" y="151"/>
                </a:cubicBezTo>
                <a:cubicBezTo>
                  <a:pt x="200" y="144"/>
                  <a:pt x="199" y="141"/>
                  <a:pt x="193" y="138"/>
                </a:cubicBezTo>
                <a:cubicBezTo>
                  <a:pt x="189" y="136"/>
                  <a:pt x="185" y="134"/>
                  <a:pt x="181" y="132"/>
                </a:cubicBezTo>
                <a:cubicBezTo>
                  <a:pt x="178" y="131"/>
                  <a:pt x="176" y="130"/>
                  <a:pt x="174" y="127"/>
                </a:cubicBezTo>
                <a:cubicBezTo>
                  <a:pt x="172" y="126"/>
                  <a:pt x="171" y="124"/>
                  <a:pt x="169" y="123"/>
                </a:cubicBezTo>
                <a:cubicBezTo>
                  <a:pt x="167" y="121"/>
                  <a:pt x="166" y="122"/>
                  <a:pt x="164" y="122"/>
                </a:cubicBezTo>
                <a:cubicBezTo>
                  <a:pt x="161" y="122"/>
                  <a:pt x="162" y="123"/>
                  <a:pt x="160" y="121"/>
                </a:cubicBezTo>
                <a:cubicBezTo>
                  <a:pt x="159" y="121"/>
                  <a:pt x="159" y="118"/>
                  <a:pt x="158" y="117"/>
                </a:cubicBezTo>
                <a:cubicBezTo>
                  <a:pt x="155" y="113"/>
                  <a:pt x="147" y="113"/>
                  <a:pt x="145" y="117"/>
                </a:cubicBezTo>
                <a:cubicBezTo>
                  <a:pt x="142" y="121"/>
                  <a:pt x="147" y="130"/>
                  <a:pt x="140" y="133"/>
                </a:cubicBezTo>
                <a:cubicBezTo>
                  <a:pt x="137" y="134"/>
                  <a:pt x="130" y="131"/>
                  <a:pt x="127" y="129"/>
                </a:cubicBezTo>
                <a:cubicBezTo>
                  <a:pt x="120" y="126"/>
                  <a:pt x="118" y="118"/>
                  <a:pt x="123" y="113"/>
                </a:cubicBezTo>
                <a:cubicBezTo>
                  <a:pt x="130" y="106"/>
                  <a:pt x="141" y="105"/>
                  <a:pt x="147" y="98"/>
                </a:cubicBezTo>
                <a:cubicBezTo>
                  <a:pt x="148" y="96"/>
                  <a:pt x="150" y="94"/>
                  <a:pt x="149" y="91"/>
                </a:cubicBezTo>
                <a:cubicBezTo>
                  <a:pt x="149" y="89"/>
                  <a:pt x="146" y="83"/>
                  <a:pt x="145" y="82"/>
                </a:cubicBezTo>
                <a:cubicBezTo>
                  <a:pt x="140" y="77"/>
                  <a:pt x="131" y="83"/>
                  <a:pt x="127" y="75"/>
                </a:cubicBezTo>
                <a:cubicBezTo>
                  <a:pt x="126" y="73"/>
                  <a:pt x="126" y="72"/>
                  <a:pt x="126" y="70"/>
                </a:cubicBezTo>
                <a:cubicBezTo>
                  <a:pt x="125" y="66"/>
                  <a:pt x="125" y="67"/>
                  <a:pt x="121" y="66"/>
                </a:cubicBezTo>
                <a:cubicBezTo>
                  <a:pt x="115" y="63"/>
                  <a:pt x="103" y="62"/>
                  <a:pt x="97" y="66"/>
                </a:cubicBezTo>
                <a:cubicBezTo>
                  <a:pt x="93" y="68"/>
                  <a:pt x="88" y="74"/>
                  <a:pt x="87" y="78"/>
                </a:cubicBezTo>
                <a:cubicBezTo>
                  <a:pt x="86" y="83"/>
                  <a:pt x="89" y="84"/>
                  <a:pt x="93" y="86"/>
                </a:cubicBezTo>
                <a:cubicBezTo>
                  <a:pt x="99" y="90"/>
                  <a:pt x="94" y="93"/>
                  <a:pt x="90" y="95"/>
                </a:cubicBezTo>
                <a:cubicBezTo>
                  <a:pt x="82" y="99"/>
                  <a:pt x="83" y="95"/>
                  <a:pt x="78" y="90"/>
                </a:cubicBezTo>
                <a:cubicBezTo>
                  <a:pt x="76" y="87"/>
                  <a:pt x="73" y="86"/>
                  <a:pt x="70" y="83"/>
                </a:cubicBezTo>
                <a:cubicBezTo>
                  <a:pt x="69" y="81"/>
                  <a:pt x="68" y="79"/>
                  <a:pt x="66" y="78"/>
                </a:cubicBezTo>
                <a:cubicBezTo>
                  <a:pt x="67" y="77"/>
                  <a:pt x="67" y="71"/>
                  <a:pt x="67" y="68"/>
                </a:cubicBezTo>
                <a:cubicBezTo>
                  <a:pt x="67" y="68"/>
                  <a:pt x="67" y="68"/>
                  <a:pt x="67" y="68"/>
                </a:cubicBezTo>
                <a:cubicBezTo>
                  <a:pt x="81" y="54"/>
                  <a:pt x="98" y="42"/>
                  <a:pt x="116" y="33"/>
                </a:cubicBezTo>
                <a:cubicBezTo>
                  <a:pt x="123" y="37"/>
                  <a:pt x="131" y="41"/>
                  <a:pt x="134" y="43"/>
                </a:cubicBezTo>
                <a:cubicBezTo>
                  <a:pt x="137" y="45"/>
                  <a:pt x="134" y="48"/>
                  <a:pt x="136" y="51"/>
                </a:cubicBezTo>
                <a:cubicBezTo>
                  <a:pt x="138" y="53"/>
                  <a:pt x="143" y="53"/>
                  <a:pt x="145" y="54"/>
                </a:cubicBezTo>
                <a:cubicBezTo>
                  <a:pt x="151" y="56"/>
                  <a:pt x="157" y="62"/>
                  <a:pt x="161" y="67"/>
                </a:cubicBezTo>
                <a:cubicBezTo>
                  <a:pt x="163" y="68"/>
                  <a:pt x="163" y="66"/>
                  <a:pt x="163" y="69"/>
                </a:cubicBezTo>
                <a:cubicBezTo>
                  <a:pt x="163" y="71"/>
                  <a:pt x="160" y="74"/>
                  <a:pt x="159" y="76"/>
                </a:cubicBezTo>
                <a:cubicBezTo>
                  <a:pt x="157" y="81"/>
                  <a:pt x="160" y="86"/>
                  <a:pt x="164" y="90"/>
                </a:cubicBezTo>
                <a:cubicBezTo>
                  <a:pt x="169" y="94"/>
                  <a:pt x="173" y="99"/>
                  <a:pt x="179" y="101"/>
                </a:cubicBezTo>
                <a:cubicBezTo>
                  <a:pt x="185" y="102"/>
                  <a:pt x="188" y="98"/>
                  <a:pt x="191" y="93"/>
                </a:cubicBezTo>
                <a:cubicBezTo>
                  <a:pt x="196" y="82"/>
                  <a:pt x="181" y="75"/>
                  <a:pt x="174" y="70"/>
                </a:cubicBezTo>
                <a:cubicBezTo>
                  <a:pt x="169" y="68"/>
                  <a:pt x="170" y="65"/>
                  <a:pt x="171" y="60"/>
                </a:cubicBezTo>
                <a:cubicBezTo>
                  <a:pt x="172" y="55"/>
                  <a:pt x="175" y="51"/>
                  <a:pt x="180" y="50"/>
                </a:cubicBezTo>
                <a:cubicBezTo>
                  <a:pt x="185" y="48"/>
                  <a:pt x="190" y="50"/>
                  <a:pt x="186" y="55"/>
                </a:cubicBezTo>
                <a:cubicBezTo>
                  <a:pt x="184" y="59"/>
                  <a:pt x="178" y="60"/>
                  <a:pt x="179" y="66"/>
                </a:cubicBezTo>
                <a:cubicBezTo>
                  <a:pt x="180" y="70"/>
                  <a:pt x="185" y="71"/>
                  <a:pt x="189" y="71"/>
                </a:cubicBezTo>
                <a:cubicBezTo>
                  <a:pt x="192" y="70"/>
                  <a:pt x="194" y="68"/>
                  <a:pt x="197" y="73"/>
                </a:cubicBezTo>
                <a:cubicBezTo>
                  <a:pt x="199" y="77"/>
                  <a:pt x="197" y="81"/>
                  <a:pt x="201" y="86"/>
                </a:cubicBezTo>
                <a:cubicBezTo>
                  <a:pt x="204" y="89"/>
                  <a:pt x="207" y="91"/>
                  <a:pt x="209" y="96"/>
                </a:cubicBezTo>
                <a:cubicBezTo>
                  <a:pt x="209" y="97"/>
                  <a:pt x="209" y="99"/>
                  <a:pt x="210" y="101"/>
                </a:cubicBezTo>
                <a:cubicBezTo>
                  <a:pt x="211" y="104"/>
                  <a:pt x="214" y="107"/>
                  <a:pt x="216" y="110"/>
                </a:cubicBezTo>
                <a:cubicBezTo>
                  <a:pt x="218" y="113"/>
                  <a:pt x="219" y="116"/>
                  <a:pt x="221" y="118"/>
                </a:cubicBezTo>
                <a:cubicBezTo>
                  <a:pt x="224" y="122"/>
                  <a:pt x="229" y="120"/>
                  <a:pt x="232" y="117"/>
                </a:cubicBezTo>
                <a:cubicBezTo>
                  <a:pt x="237" y="112"/>
                  <a:pt x="234" y="103"/>
                  <a:pt x="240" y="99"/>
                </a:cubicBezTo>
                <a:cubicBezTo>
                  <a:pt x="241" y="97"/>
                  <a:pt x="244" y="97"/>
                  <a:pt x="246" y="98"/>
                </a:cubicBezTo>
                <a:cubicBezTo>
                  <a:pt x="248" y="98"/>
                  <a:pt x="249" y="100"/>
                  <a:pt x="251" y="101"/>
                </a:cubicBezTo>
                <a:cubicBezTo>
                  <a:pt x="252" y="101"/>
                  <a:pt x="254" y="101"/>
                  <a:pt x="255" y="102"/>
                </a:cubicBezTo>
                <a:cubicBezTo>
                  <a:pt x="258" y="105"/>
                  <a:pt x="257" y="107"/>
                  <a:pt x="259" y="109"/>
                </a:cubicBezTo>
                <a:cubicBezTo>
                  <a:pt x="261" y="113"/>
                  <a:pt x="265" y="113"/>
                  <a:pt x="268" y="113"/>
                </a:cubicBezTo>
                <a:cubicBezTo>
                  <a:pt x="279" y="113"/>
                  <a:pt x="287" y="105"/>
                  <a:pt x="282" y="95"/>
                </a:cubicBezTo>
                <a:cubicBezTo>
                  <a:pt x="281" y="91"/>
                  <a:pt x="278" y="88"/>
                  <a:pt x="276" y="86"/>
                </a:cubicBezTo>
                <a:cubicBezTo>
                  <a:pt x="273" y="85"/>
                  <a:pt x="270" y="85"/>
                  <a:pt x="269" y="82"/>
                </a:cubicBezTo>
                <a:cubicBezTo>
                  <a:pt x="266" y="77"/>
                  <a:pt x="269" y="66"/>
                  <a:pt x="271" y="61"/>
                </a:cubicBezTo>
                <a:cubicBezTo>
                  <a:pt x="272" y="58"/>
                  <a:pt x="274" y="51"/>
                  <a:pt x="273" y="47"/>
                </a:cubicBezTo>
                <a:cubicBezTo>
                  <a:pt x="273" y="45"/>
                  <a:pt x="270" y="43"/>
                  <a:pt x="268" y="41"/>
                </a:cubicBezTo>
                <a:cubicBezTo>
                  <a:pt x="267" y="39"/>
                  <a:pt x="263" y="34"/>
                  <a:pt x="260" y="29"/>
                </a:cubicBezTo>
                <a:cubicBezTo>
                  <a:pt x="276" y="36"/>
                  <a:pt x="291" y="45"/>
                  <a:pt x="304" y="56"/>
                </a:cubicBezTo>
                <a:cubicBezTo>
                  <a:pt x="307" y="59"/>
                  <a:pt x="312" y="58"/>
                  <a:pt x="315" y="55"/>
                </a:cubicBezTo>
                <a:cubicBezTo>
                  <a:pt x="318" y="51"/>
                  <a:pt x="317" y="46"/>
                  <a:pt x="314" y="44"/>
                </a:cubicBezTo>
                <a:cubicBezTo>
                  <a:pt x="314" y="44"/>
                  <a:pt x="314" y="44"/>
                  <a:pt x="314" y="44"/>
                </a:cubicBezTo>
                <a:cubicBezTo>
                  <a:pt x="281" y="16"/>
                  <a:pt x="238" y="0"/>
                  <a:pt x="192" y="0"/>
                </a:cubicBezTo>
                <a:cubicBezTo>
                  <a:pt x="86" y="0"/>
                  <a:pt x="0" y="86"/>
                  <a:pt x="0" y="193"/>
                </a:cubicBezTo>
                <a:cubicBezTo>
                  <a:pt x="0" y="299"/>
                  <a:pt x="86" y="385"/>
                  <a:pt x="192" y="385"/>
                </a:cubicBezTo>
                <a:cubicBezTo>
                  <a:pt x="299" y="385"/>
                  <a:pt x="385" y="299"/>
                  <a:pt x="385" y="193"/>
                </a:cubicBezTo>
                <a:cubicBezTo>
                  <a:pt x="385" y="145"/>
                  <a:pt x="367" y="101"/>
                  <a:pt x="339" y="68"/>
                </a:cubicBezTo>
                <a:close/>
                <a:moveTo>
                  <a:pt x="340" y="133"/>
                </a:moveTo>
                <a:cubicBezTo>
                  <a:pt x="338" y="133"/>
                  <a:pt x="331" y="130"/>
                  <a:pt x="331" y="128"/>
                </a:cubicBezTo>
                <a:cubicBezTo>
                  <a:pt x="331" y="125"/>
                  <a:pt x="337" y="121"/>
                  <a:pt x="338" y="118"/>
                </a:cubicBezTo>
                <a:cubicBezTo>
                  <a:pt x="339" y="117"/>
                  <a:pt x="338" y="115"/>
                  <a:pt x="339" y="114"/>
                </a:cubicBezTo>
                <a:cubicBezTo>
                  <a:pt x="340" y="113"/>
                  <a:pt x="342" y="113"/>
                  <a:pt x="343" y="112"/>
                </a:cubicBezTo>
                <a:cubicBezTo>
                  <a:pt x="344" y="110"/>
                  <a:pt x="344" y="106"/>
                  <a:pt x="344" y="103"/>
                </a:cubicBezTo>
                <a:cubicBezTo>
                  <a:pt x="348" y="109"/>
                  <a:pt x="351" y="115"/>
                  <a:pt x="354" y="121"/>
                </a:cubicBezTo>
                <a:cubicBezTo>
                  <a:pt x="350" y="127"/>
                  <a:pt x="345" y="133"/>
                  <a:pt x="340" y="133"/>
                </a:cubicBezTo>
                <a:close/>
                <a:moveTo>
                  <a:pt x="169" y="306"/>
                </a:moveTo>
                <a:cubicBezTo>
                  <a:pt x="168" y="315"/>
                  <a:pt x="163" y="323"/>
                  <a:pt x="161" y="331"/>
                </a:cubicBezTo>
                <a:cubicBezTo>
                  <a:pt x="159" y="337"/>
                  <a:pt x="158" y="340"/>
                  <a:pt x="161" y="345"/>
                </a:cubicBezTo>
                <a:cubicBezTo>
                  <a:pt x="165" y="352"/>
                  <a:pt x="164" y="354"/>
                  <a:pt x="163" y="361"/>
                </a:cubicBezTo>
                <a:cubicBezTo>
                  <a:pt x="162" y="362"/>
                  <a:pt x="162" y="364"/>
                  <a:pt x="162" y="367"/>
                </a:cubicBezTo>
                <a:cubicBezTo>
                  <a:pt x="125" y="360"/>
                  <a:pt x="93" y="343"/>
                  <a:pt x="67" y="317"/>
                </a:cubicBezTo>
                <a:cubicBezTo>
                  <a:pt x="35" y="285"/>
                  <a:pt x="16" y="241"/>
                  <a:pt x="16" y="193"/>
                </a:cubicBezTo>
                <a:cubicBezTo>
                  <a:pt x="16" y="165"/>
                  <a:pt x="22" y="138"/>
                  <a:pt x="34" y="115"/>
                </a:cubicBezTo>
                <a:cubicBezTo>
                  <a:pt x="37" y="120"/>
                  <a:pt x="41" y="126"/>
                  <a:pt x="42" y="128"/>
                </a:cubicBezTo>
                <a:cubicBezTo>
                  <a:pt x="44" y="135"/>
                  <a:pt x="49" y="140"/>
                  <a:pt x="53" y="145"/>
                </a:cubicBezTo>
                <a:cubicBezTo>
                  <a:pt x="59" y="150"/>
                  <a:pt x="70" y="156"/>
                  <a:pt x="72" y="163"/>
                </a:cubicBezTo>
                <a:cubicBezTo>
                  <a:pt x="73" y="166"/>
                  <a:pt x="72" y="168"/>
                  <a:pt x="72" y="171"/>
                </a:cubicBezTo>
                <a:cubicBezTo>
                  <a:pt x="71" y="174"/>
                  <a:pt x="72" y="178"/>
                  <a:pt x="72" y="182"/>
                </a:cubicBezTo>
                <a:cubicBezTo>
                  <a:pt x="73" y="187"/>
                  <a:pt x="74" y="192"/>
                  <a:pt x="75" y="197"/>
                </a:cubicBezTo>
                <a:cubicBezTo>
                  <a:pt x="78" y="214"/>
                  <a:pt x="99" y="220"/>
                  <a:pt x="111" y="229"/>
                </a:cubicBezTo>
                <a:cubicBezTo>
                  <a:pt x="115" y="231"/>
                  <a:pt x="119" y="233"/>
                  <a:pt x="123" y="235"/>
                </a:cubicBezTo>
                <a:cubicBezTo>
                  <a:pt x="127" y="238"/>
                  <a:pt x="130" y="241"/>
                  <a:pt x="135" y="243"/>
                </a:cubicBezTo>
                <a:cubicBezTo>
                  <a:pt x="141" y="245"/>
                  <a:pt x="145" y="246"/>
                  <a:pt x="150" y="250"/>
                </a:cubicBezTo>
                <a:cubicBezTo>
                  <a:pt x="151" y="251"/>
                  <a:pt x="154" y="253"/>
                  <a:pt x="156" y="255"/>
                </a:cubicBezTo>
                <a:cubicBezTo>
                  <a:pt x="155" y="256"/>
                  <a:pt x="154" y="257"/>
                  <a:pt x="153" y="259"/>
                </a:cubicBezTo>
                <a:cubicBezTo>
                  <a:pt x="151" y="261"/>
                  <a:pt x="151" y="263"/>
                  <a:pt x="151" y="267"/>
                </a:cubicBezTo>
                <a:cubicBezTo>
                  <a:pt x="151" y="268"/>
                  <a:pt x="151" y="269"/>
                  <a:pt x="151" y="270"/>
                </a:cubicBezTo>
                <a:cubicBezTo>
                  <a:pt x="151" y="271"/>
                  <a:pt x="149" y="272"/>
                  <a:pt x="149" y="273"/>
                </a:cubicBezTo>
                <a:cubicBezTo>
                  <a:pt x="148" y="280"/>
                  <a:pt x="158" y="285"/>
                  <a:pt x="162" y="289"/>
                </a:cubicBezTo>
                <a:cubicBezTo>
                  <a:pt x="168" y="293"/>
                  <a:pt x="170" y="299"/>
                  <a:pt x="169" y="306"/>
                </a:cubicBezTo>
                <a:close/>
              </a:path>
            </a:pathLst>
          </a:custGeom>
          <a:solidFill>
            <a:schemeClr val="tx1"/>
          </a:solidFill>
          <a:ln>
            <a:noFill/>
          </a:ln>
          <a:extLst/>
        </p:spPr>
        <p:txBody>
          <a:bodyPr/>
          <a:lstStyle/>
          <a:p>
            <a:endParaRPr lang="en-US" sz="1600">
              <a:solidFill>
                <a:schemeClr val="tx1">
                  <a:lumMod val="85000"/>
                </a:schemeClr>
              </a:solidFill>
            </a:endParaRPr>
          </a:p>
        </p:txBody>
      </p:sp>
      <p:sp>
        <p:nvSpPr>
          <p:cNvPr id="44" name="Freeform 3">
            <a:extLst>
              <a:ext uri="{FF2B5EF4-FFF2-40B4-BE49-F238E27FC236}">
                <a16:creationId xmlns:a16="http://schemas.microsoft.com/office/drawing/2014/main" id="{0387DB35-DBAD-46D1-A7C6-365626C2E460}"/>
              </a:ext>
            </a:extLst>
          </p:cNvPr>
          <p:cNvSpPr>
            <a:spLocks noChangeAspect="1" noEditPoints="1"/>
          </p:cNvSpPr>
          <p:nvPr/>
        </p:nvSpPr>
        <p:spPr bwMode="auto">
          <a:xfrm>
            <a:off x="6986061" y="4385532"/>
            <a:ext cx="249158" cy="327264"/>
          </a:xfrm>
          <a:custGeom>
            <a:avLst/>
            <a:gdLst>
              <a:gd name="T0" fmla="*/ 2147483647 w 270"/>
              <a:gd name="T1" fmla="*/ 2147483647 h 355"/>
              <a:gd name="T2" fmla="*/ 2147483647 w 270"/>
              <a:gd name="T3" fmla="*/ 2147483647 h 355"/>
              <a:gd name="T4" fmla="*/ 2147483647 w 270"/>
              <a:gd name="T5" fmla="*/ 2147483647 h 355"/>
              <a:gd name="T6" fmla="*/ 2147483647 w 270"/>
              <a:gd name="T7" fmla="*/ 2147483647 h 355"/>
              <a:gd name="T8" fmla="*/ 2147483647 w 270"/>
              <a:gd name="T9" fmla="*/ 2147483647 h 355"/>
              <a:gd name="T10" fmla="*/ 2147483647 w 270"/>
              <a:gd name="T11" fmla="*/ 2147483647 h 355"/>
              <a:gd name="T12" fmla="*/ 2147483647 w 270"/>
              <a:gd name="T13" fmla="*/ 2147483647 h 355"/>
              <a:gd name="T14" fmla="*/ 2147483647 w 270"/>
              <a:gd name="T15" fmla="*/ 2147483647 h 355"/>
              <a:gd name="T16" fmla="*/ 2147483647 w 270"/>
              <a:gd name="T17" fmla="*/ 2147483647 h 355"/>
              <a:gd name="T18" fmla="*/ 2147483647 w 270"/>
              <a:gd name="T19" fmla="*/ 2147483647 h 355"/>
              <a:gd name="T20" fmla="*/ 2147483647 w 270"/>
              <a:gd name="T21" fmla="*/ 2147483647 h 355"/>
              <a:gd name="T22" fmla="*/ 2147483647 w 270"/>
              <a:gd name="T23" fmla="*/ 2147483647 h 355"/>
              <a:gd name="T24" fmla="*/ 2147483647 w 270"/>
              <a:gd name="T25" fmla="*/ 2147483647 h 355"/>
              <a:gd name="T26" fmla="*/ 2147483647 w 270"/>
              <a:gd name="T27" fmla="*/ 2147483647 h 355"/>
              <a:gd name="T28" fmla="*/ 2147483647 w 270"/>
              <a:gd name="T29" fmla="*/ 2147483647 h 355"/>
              <a:gd name="T30" fmla="*/ 2147483647 w 270"/>
              <a:gd name="T31" fmla="*/ 2147483647 h 355"/>
              <a:gd name="T32" fmla="*/ 2147483647 w 270"/>
              <a:gd name="T33" fmla="*/ 2147483647 h 355"/>
              <a:gd name="T34" fmla="*/ 2147483647 w 270"/>
              <a:gd name="T35" fmla="*/ 2147483647 h 355"/>
              <a:gd name="T36" fmla="*/ 2147483647 w 270"/>
              <a:gd name="T37" fmla="*/ 2147483647 h 355"/>
              <a:gd name="T38" fmla="*/ 2147483647 w 270"/>
              <a:gd name="T39" fmla="*/ 2147483647 h 355"/>
              <a:gd name="T40" fmla="*/ 2147483647 w 270"/>
              <a:gd name="T41" fmla="*/ 2147483647 h 355"/>
              <a:gd name="T42" fmla="*/ 2147483647 w 270"/>
              <a:gd name="T43" fmla="*/ 2147483647 h 355"/>
              <a:gd name="T44" fmla="*/ 2147483647 w 270"/>
              <a:gd name="T45" fmla="*/ 0 h 355"/>
              <a:gd name="T46" fmla="*/ 2147483647 w 270"/>
              <a:gd name="T47" fmla="*/ 2147483647 h 355"/>
              <a:gd name="T48" fmla="*/ 2147483647 w 270"/>
              <a:gd name="T49" fmla="*/ 2147483647 h 355"/>
              <a:gd name="T50" fmla="*/ 0 w 270"/>
              <a:gd name="T51" fmla="*/ 2147483647 h 355"/>
              <a:gd name="T52" fmla="*/ 2147483647 w 270"/>
              <a:gd name="T53" fmla="*/ 2147483647 h 355"/>
              <a:gd name="T54" fmla="*/ 2147483647 w 270"/>
              <a:gd name="T55" fmla="*/ 2147483647 h 355"/>
              <a:gd name="T56" fmla="*/ 2147483647 w 270"/>
              <a:gd name="T57" fmla="*/ 2147483647 h 355"/>
              <a:gd name="T58" fmla="*/ 2147483647 w 270"/>
              <a:gd name="T59" fmla="*/ 2147483647 h 355"/>
              <a:gd name="T60" fmla="*/ 2147483647 w 270"/>
              <a:gd name="T61" fmla="*/ 2147483647 h 355"/>
              <a:gd name="T62" fmla="*/ 2147483647 w 270"/>
              <a:gd name="T63" fmla="*/ 2147483647 h 355"/>
              <a:gd name="T64" fmla="*/ 2147483647 w 270"/>
              <a:gd name="T65" fmla="*/ 2147483647 h 355"/>
              <a:gd name="T66" fmla="*/ 2147483647 w 270"/>
              <a:gd name="T67" fmla="*/ 2147483647 h 3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70" h="355">
                <a:moveTo>
                  <a:pt x="113" y="254"/>
                </a:moveTo>
                <a:cubicBezTo>
                  <a:pt x="106" y="297"/>
                  <a:pt x="106" y="297"/>
                  <a:pt x="106" y="297"/>
                </a:cubicBezTo>
                <a:cubicBezTo>
                  <a:pt x="105" y="300"/>
                  <a:pt x="106" y="302"/>
                  <a:pt x="107" y="304"/>
                </a:cubicBezTo>
                <a:cubicBezTo>
                  <a:pt x="109" y="306"/>
                  <a:pt x="111" y="307"/>
                  <a:pt x="113" y="307"/>
                </a:cubicBezTo>
                <a:cubicBezTo>
                  <a:pt x="157" y="307"/>
                  <a:pt x="157" y="307"/>
                  <a:pt x="157" y="307"/>
                </a:cubicBezTo>
                <a:cubicBezTo>
                  <a:pt x="160" y="307"/>
                  <a:pt x="162" y="306"/>
                  <a:pt x="164" y="304"/>
                </a:cubicBezTo>
                <a:cubicBezTo>
                  <a:pt x="165" y="302"/>
                  <a:pt x="166" y="300"/>
                  <a:pt x="165" y="297"/>
                </a:cubicBezTo>
                <a:cubicBezTo>
                  <a:pt x="157" y="254"/>
                  <a:pt x="157" y="254"/>
                  <a:pt x="157" y="254"/>
                </a:cubicBezTo>
                <a:cubicBezTo>
                  <a:pt x="167" y="248"/>
                  <a:pt x="173" y="237"/>
                  <a:pt x="173" y="225"/>
                </a:cubicBezTo>
                <a:cubicBezTo>
                  <a:pt x="173" y="206"/>
                  <a:pt x="157" y="188"/>
                  <a:pt x="135" y="188"/>
                </a:cubicBezTo>
                <a:cubicBezTo>
                  <a:pt x="114" y="188"/>
                  <a:pt x="97" y="206"/>
                  <a:pt x="97" y="225"/>
                </a:cubicBezTo>
                <a:cubicBezTo>
                  <a:pt x="97" y="237"/>
                  <a:pt x="103" y="248"/>
                  <a:pt x="113" y="254"/>
                </a:cubicBezTo>
                <a:close/>
                <a:moveTo>
                  <a:pt x="135" y="204"/>
                </a:moveTo>
                <a:cubicBezTo>
                  <a:pt x="148" y="204"/>
                  <a:pt x="157" y="214"/>
                  <a:pt x="157" y="225"/>
                </a:cubicBezTo>
                <a:cubicBezTo>
                  <a:pt x="157" y="233"/>
                  <a:pt x="152" y="240"/>
                  <a:pt x="145" y="243"/>
                </a:cubicBezTo>
                <a:cubicBezTo>
                  <a:pt x="141" y="244"/>
                  <a:pt x="139" y="248"/>
                  <a:pt x="140" y="252"/>
                </a:cubicBezTo>
                <a:cubicBezTo>
                  <a:pt x="147" y="291"/>
                  <a:pt x="147" y="291"/>
                  <a:pt x="147" y="291"/>
                </a:cubicBezTo>
                <a:cubicBezTo>
                  <a:pt x="123" y="291"/>
                  <a:pt x="123" y="291"/>
                  <a:pt x="123" y="291"/>
                </a:cubicBezTo>
                <a:cubicBezTo>
                  <a:pt x="130" y="252"/>
                  <a:pt x="130" y="252"/>
                  <a:pt x="130" y="252"/>
                </a:cubicBezTo>
                <a:cubicBezTo>
                  <a:pt x="131" y="248"/>
                  <a:pt x="129" y="244"/>
                  <a:pt x="125" y="243"/>
                </a:cubicBezTo>
                <a:cubicBezTo>
                  <a:pt x="118" y="240"/>
                  <a:pt x="113" y="233"/>
                  <a:pt x="113" y="225"/>
                </a:cubicBezTo>
                <a:cubicBezTo>
                  <a:pt x="113" y="214"/>
                  <a:pt x="122" y="204"/>
                  <a:pt x="135" y="204"/>
                </a:cubicBezTo>
                <a:close/>
                <a:moveTo>
                  <a:pt x="256" y="141"/>
                </a:moveTo>
                <a:cubicBezTo>
                  <a:pt x="243" y="141"/>
                  <a:pt x="243" y="141"/>
                  <a:pt x="243" y="141"/>
                </a:cubicBezTo>
                <a:cubicBezTo>
                  <a:pt x="243" y="106"/>
                  <a:pt x="243" y="106"/>
                  <a:pt x="243" y="106"/>
                </a:cubicBezTo>
                <a:cubicBezTo>
                  <a:pt x="243" y="106"/>
                  <a:pt x="243" y="105"/>
                  <a:pt x="243" y="105"/>
                </a:cubicBezTo>
                <a:cubicBezTo>
                  <a:pt x="243" y="93"/>
                  <a:pt x="242" y="82"/>
                  <a:pt x="238" y="70"/>
                </a:cubicBezTo>
                <a:cubicBezTo>
                  <a:pt x="236" y="66"/>
                  <a:pt x="232" y="64"/>
                  <a:pt x="227" y="66"/>
                </a:cubicBezTo>
                <a:cubicBezTo>
                  <a:pt x="223" y="67"/>
                  <a:pt x="221" y="72"/>
                  <a:pt x="223" y="76"/>
                </a:cubicBezTo>
                <a:cubicBezTo>
                  <a:pt x="226" y="85"/>
                  <a:pt x="227" y="94"/>
                  <a:pt x="227" y="106"/>
                </a:cubicBezTo>
                <a:cubicBezTo>
                  <a:pt x="227" y="106"/>
                  <a:pt x="227" y="107"/>
                  <a:pt x="227" y="107"/>
                </a:cubicBezTo>
                <a:cubicBezTo>
                  <a:pt x="227" y="141"/>
                  <a:pt x="227" y="141"/>
                  <a:pt x="227" y="141"/>
                </a:cubicBezTo>
                <a:cubicBezTo>
                  <a:pt x="211" y="141"/>
                  <a:pt x="211" y="141"/>
                  <a:pt x="211" y="141"/>
                </a:cubicBezTo>
                <a:cubicBezTo>
                  <a:pt x="211" y="106"/>
                  <a:pt x="211" y="106"/>
                  <a:pt x="211" y="106"/>
                </a:cubicBezTo>
                <a:cubicBezTo>
                  <a:pt x="211" y="89"/>
                  <a:pt x="204" y="71"/>
                  <a:pt x="191" y="56"/>
                </a:cubicBezTo>
                <a:cubicBezTo>
                  <a:pt x="177" y="41"/>
                  <a:pt x="158" y="30"/>
                  <a:pt x="135" y="30"/>
                </a:cubicBezTo>
                <a:cubicBezTo>
                  <a:pt x="93" y="30"/>
                  <a:pt x="59" y="64"/>
                  <a:pt x="59" y="106"/>
                </a:cubicBezTo>
                <a:cubicBezTo>
                  <a:pt x="59" y="141"/>
                  <a:pt x="59" y="141"/>
                  <a:pt x="59" y="141"/>
                </a:cubicBezTo>
                <a:cubicBezTo>
                  <a:pt x="43" y="141"/>
                  <a:pt x="43" y="141"/>
                  <a:pt x="43" y="141"/>
                </a:cubicBezTo>
                <a:cubicBezTo>
                  <a:pt x="43" y="106"/>
                  <a:pt x="43" y="106"/>
                  <a:pt x="43" y="106"/>
                </a:cubicBezTo>
                <a:cubicBezTo>
                  <a:pt x="43" y="106"/>
                  <a:pt x="43" y="106"/>
                  <a:pt x="43" y="106"/>
                </a:cubicBezTo>
                <a:cubicBezTo>
                  <a:pt x="44" y="56"/>
                  <a:pt x="85" y="16"/>
                  <a:pt x="135" y="16"/>
                </a:cubicBezTo>
                <a:cubicBezTo>
                  <a:pt x="179" y="16"/>
                  <a:pt x="199" y="40"/>
                  <a:pt x="207" y="50"/>
                </a:cubicBezTo>
                <a:cubicBezTo>
                  <a:pt x="210" y="54"/>
                  <a:pt x="215" y="55"/>
                  <a:pt x="218" y="52"/>
                </a:cubicBezTo>
                <a:cubicBezTo>
                  <a:pt x="222" y="49"/>
                  <a:pt x="223" y="44"/>
                  <a:pt x="220" y="41"/>
                </a:cubicBezTo>
                <a:cubicBezTo>
                  <a:pt x="211" y="29"/>
                  <a:pt x="185" y="0"/>
                  <a:pt x="135" y="0"/>
                </a:cubicBezTo>
                <a:cubicBezTo>
                  <a:pt x="77" y="0"/>
                  <a:pt x="29" y="46"/>
                  <a:pt x="27" y="104"/>
                </a:cubicBezTo>
                <a:cubicBezTo>
                  <a:pt x="27" y="105"/>
                  <a:pt x="27" y="105"/>
                  <a:pt x="27" y="106"/>
                </a:cubicBezTo>
                <a:cubicBezTo>
                  <a:pt x="27" y="141"/>
                  <a:pt x="27" y="141"/>
                  <a:pt x="27" y="141"/>
                </a:cubicBezTo>
                <a:cubicBezTo>
                  <a:pt x="14" y="141"/>
                  <a:pt x="14" y="141"/>
                  <a:pt x="14" y="141"/>
                </a:cubicBezTo>
                <a:cubicBezTo>
                  <a:pt x="6" y="141"/>
                  <a:pt x="0" y="148"/>
                  <a:pt x="0" y="156"/>
                </a:cubicBezTo>
                <a:cubicBezTo>
                  <a:pt x="0" y="341"/>
                  <a:pt x="0" y="341"/>
                  <a:pt x="0" y="341"/>
                </a:cubicBezTo>
                <a:cubicBezTo>
                  <a:pt x="0" y="349"/>
                  <a:pt x="6" y="355"/>
                  <a:pt x="14" y="355"/>
                </a:cubicBezTo>
                <a:cubicBezTo>
                  <a:pt x="14" y="355"/>
                  <a:pt x="256" y="355"/>
                  <a:pt x="256" y="355"/>
                </a:cubicBezTo>
                <a:cubicBezTo>
                  <a:pt x="264" y="355"/>
                  <a:pt x="270" y="349"/>
                  <a:pt x="270" y="341"/>
                </a:cubicBezTo>
                <a:cubicBezTo>
                  <a:pt x="270" y="156"/>
                  <a:pt x="270" y="156"/>
                  <a:pt x="270" y="156"/>
                </a:cubicBezTo>
                <a:cubicBezTo>
                  <a:pt x="270" y="148"/>
                  <a:pt x="264" y="141"/>
                  <a:pt x="256" y="141"/>
                </a:cubicBezTo>
                <a:close/>
                <a:moveTo>
                  <a:pt x="75" y="106"/>
                </a:moveTo>
                <a:cubicBezTo>
                  <a:pt x="75" y="72"/>
                  <a:pt x="102" y="46"/>
                  <a:pt x="135" y="46"/>
                </a:cubicBezTo>
                <a:cubicBezTo>
                  <a:pt x="153" y="46"/>
                  <a:pt x="168" y="54"/>
                  <a:pt x="178" y="67"/>
                </a:cubicBezTo>
                <a:cubicBezTo>
                  <a:pt x="189" y="79"/>
                  <a:pt x="195" y="94"/>
                  <a:pt x="195" y="106"/>
                </a:cubicBezTo>
                <a:cubicBezTo>
                  <a:pt x="195" y="141"/>
                  <a:pt x="195" y="141"/>
                  <a:pt x="195" y="141"/>
                </a:cubicBezTo>
                <a:cubicBezTo>
                  <a:pt x="75" y="141"/>
                  <a:pt x="75" y="141"/>
                  <a:pt x="75" y="141"/>
                </a:cubicBezTo>
                <a:lnTo>
                  <a:pt x="75" y="106"/>
                </a:lnTo>
                <a:close/>
                <a:moveTo>
                  <a:pt x="254" y="339"/>
                </a:moveTo>
                <a:cubicBezTo>
                  <a:pt x="16" y="339"/>
                  <a:pt x="16" y="339"/>
                  <a:pt x="16" y="339"/>
                </a:cubicBezTo>
                <a:cubicBezTo>
                  <a:pt x="16" y="157"/>
                  <a:pt x="16" y="157"/>
                  <a:pt x="16" y="157"/>
                </a:cubicBezTo>
                <a:cubicBezTo>
                  <a:pt x="254" y="157"/>
                  <a:pt x="254" y="157"/>
                  <a:pt x="254" y="157"/>
                </a:cubicBezTo>
                <a:lnTo>
                  <a:pt x="254" y="339"/>
                </a:lnTo>
                <a:close/>
              </a:path>
            </a:pathLst>
          </a:custGeom>
          <a:solidFill>
            <a:schemeClr val="tx1"/>
          </a:solidFill>
          <a:ln>
            <a:noFill/>
          </a:ln>
        </p:spPr>
        <p:txBody>
          <a:bodyPr/>
          <a:lstStyle/>
          <a:p>
            <a:endParaRPr lang="en-US" sz="1600" dirty="0">
              <a:solidFill>
                <a:schemeClr val="tx1">
                  <a:lumMod val="85000"/>
                </a:schemeClr>
              </a:solidFill>
            </a:endParaRPr>
          </a:p>
        </p:txBody>
      </p:sp>
      <p:sp>
        <p:nvSpPr>
          <p:cNvPr id="50" name="Freeform 3">
            <a:extLst>
              <a:ext uri="{FF2B5EF4-FFF2-40B4-BE49-F238E27FC236}">
                <a16:creationId xmlns:a16="http://schemas.microsoft.com/office/drawing/2014/main" id="{CAF55628-296E-4F96-9BC7-55D912ADFDAD}"/>
              </a:ext>
            </a:extLst>
          </p:cNvPr>
          <p:cNvSpPr>
            <a:spLocks noChangeAspect="1" noEditPoints="1"/>
          </p:cNvSpPr>
          <p:nvPr/>
        </p:nvSpPr>
        <p:spPr bwMode="auto">
          <a:xfrm>
            <a:off x="6913827" y="4945455"/>
            <a:ext cx="393627" cy="317000"/>
          </a:xfrm>
          <a:custGeom>
            <a:avLst/>
            <a:gdLst>
              <a:gd name="T0" fmla="*/ 2147483647 w 524"/>
              <a:gd name="T1" fmla="*/ 2147483647 h 422"/>
              <a:gd name="T2" fmla="*/ 2147483647 w 524"/>
              <a:gd name="T3" fmla="*/ 2147483647 h 422"/>
              <a:gd name="T4" fmla="*/ 2147483647 w 524"/>
              <a:gd name="T5" fmla="*/ 2147483647 h 422"/>
              <a:gd name="T6" fmla="*/ 2147483647 w 524"/>
              <a:gd name="T7" fmla="*/ 2147483647 h 422"/>
              <a:gd name="T8" fmla="*/ 2147483647 w 524"/>
              <a:gd name="T9" fmla="*/ 2147483647 h 422"/>
              <a:gd name="T10" fmla="*/ 2147483647 w 524"/>
              <a:gd name="T11" fmla="*/ 2147483647 h 422"/>
              <a:gd name="T12" fmla="*/ 2147483647 w 524"/>
              <a:gd name="T13" fmla="*/ 2147483647 h 422"/>
              <a:gd name="T14" fmla="*/ 2147483647 w 524"/>
              <a:gd name="T15" fmla="*/ 2147483647 h 422"/>
              <a:gd name="T16" fmla="*/ 2147483647 w 524"/>
              <a:gd name="T17" fmla="*/ 2147483647 h 422"/>
              <a:gd name="T18" fmla="*/ 2147483647 w 524"/>
              <a:gd name="T19" fmla="*/ 2147483647 h 422"/>
              <a:gd name="T20" fmla="*/ 2147483647 w 524"/>
              <a:gd name="T21" fmla="*/ 2147483647 h 422"/>
              <a:gd name="T22" fmla="*/ 2147483647 w 524"/>
              <a:gd name="T23" fmla="*/ 2147483647 h 422"/>
              <a:gd name="T24" fmla="*/ 2147483647 w 524"/>
              <a:gd name="T25" fmla="*/ 2147483647 h 422"/>
              <a:gd name="T26" fmla="*/ 2147483647 w 524"/>
              <a:gd name="T27" fmla="*/ 2147483647 h 422"/>
              <a:gd name="T28" fmla="*/ 2147483647 w 524"/>
              <a:gd name="T29" fmla="*/ 2147483647 h 422"/>
              <a:gd name="T30" fmla="*/ 2147483647 w 524"/>
              <a:gd name="T31" fmla="*/ 2147483647 h 422"/>
              <a:gd name="T32" fmla="*/ 2147483647 w 524"/>
              <a:gd name="T33" fmla="*/ 2147483647 h 422"/>
              <a:gd name="T34" fmla="*/ 2147483647 w 524"/>
              <a:gd name="T35" fmla="*/ 2147483647 h 422"/>
              <a:gd name="T36" fmla="*/ 2147483647 w 524"/>
              <a:gd name="T37" fmla="*/ 2147483647 h 422"/>
              <a:gd name="T38" fmla="*/ 2147483647 w 524"/>
              <a:gd name="T39" fmla="*/ 2147483647 h 422"/>
              <a:gd name="T40" fmla="*/ 2147483647 w 524"/>
              <a:gd name="T41" fmla="*/ 2147483647 h 422"/>
              <a:gd name="T42" fmla="*/ 2147483647 w 524"/>
              <a:gd name="T43" fmla="*/ 2147483647 h 422"/>
              <a:gd name="T44" fmla="*/ 2147483647 w 524"/>
              <a:gd name="T45" fmla="*/ 2147483647 h 422"/>
              <a:gd name="T46" fmla="*/ 2147483647 w 524"/>
              <a:gd name="T47" fmla="*/ 2147483647 h 422"/>
              <a:gd name="T48" fmla="*/ 2147483647 w 524"/>
              <a:gd name="T49" fmla="*/ 2147483647 h 422"/>
              <a:gd name="T50" fmla="*/ 2147483647 w 524"/>
              <a:gd name="T51" fmla="*/ 2147483647 h 422"/>
              <a:gd name="T52" fmla="*/ 2147483647 w 524"/>
              <a:gd name="T53" fmla="*/ 2147483647 h 422"/>
              <a:gd name="T54" fmla="*/ 2147483647 w 524"/>
              <a:gd name="T55" fmla="*/ 2147483647 h 422"/>
              <a:gd name="T56" fmla="*/ 2147483647 w 524"/>
              <a:gd name="T57" fmla="*/ 2147483647 h 422"/>
              <a:gd name="T58" fmla="*/ 2147483647 w 524"/>
              <a:gd name="T59" fmla="*/ 2147483647 h 422"/>
              <a:gd name="T60" fmla="*/ 2147483647 w 524"/>
              <a:gd name="T61" fmla="*/ 2147483647 h 422"/>
              <a:gd name="T62" fmla="*/ 2147483647 w 524"/>
              <a:gd name="T63" fmla="*/ 2147483647 h 422"/>
              <a:gd name="T64" fmla="*/ 2147483647 w 524"/>
              <a:gd name="T65" fmla="*/ 2147483647 h 422"/>
              <a:gd name="T66" fmla="*/ 2147483647 w 524"/>
              <a:gd name="T67" fmla="*/ 2147483647 h 422"/>
              <a:gd name="T68" fmla="*/ 2147483647 w 524"/>
              <a:gd name="T69" fmla="*/ 2147483647 h 422"/>
              <a:gd name="T70" fmla="*/ 2147483647 w 524"/>
              <a:gd name="T71" fmla="*/ 2147483647 h 422"/>
              <a:gd name="T72" fmla="*/ 2147483647 w 524"/>
              <a:gd name="T73" fmla="*/ 2147483647 h 422"/>
              <a:gd name="T74" fmla="*/ 2147483647 w 524"/>
              <a:gd name="T75" fmla="*/ 2147483647 h 422"/>
              <a:gd name="T76" fmla="*/ 2147483647 w 524"/>
              <a:gd name="T77" fmla="*/ 2147483647 h 422"/>
              <a:gd name="T78" fmla="*/ 2147483647 w 524"/>
              <a:gd name="T79" fmla="*/ 2147483647 h 422"/>
              <a:gd name="T80" fmla="*/ 2147483647 w 524"/>
              <a:gd name="T81" fmla="*/ 2147483647 h 422"/>
              <a:gd name="T82" fmla="*/ 2147483647 w 524"/>
              <a:gd name="T83" fmla="*/ 2147483647 h 422"/>
              <a:gd name="T84" fmla="*/ 2147483647 w 524"/>
              <a:gd name="T85" fmla="*/ 2147483647 h 422"/>
              <a:gd name="T86" fmla="*/ 2147483647 w 524"/>
              <a:gd name="T87" fmla="*/ 2147483647 h 422"/>
              <a:gd name="T88" fmla="*/ 2147483647 w 524"/>
              <a:gd name="T89" fmla="*/ 2147483647 h 422"/>
              <a:gd name="T90" fmla="*/ 2147483647 w 524"/>
              <a:gd name="T91" fmla="*/ 2147483647 h 422"/>
              <a:gd name="T92" fmla="*/ 2147483647 w 524"/>
              <a:gd name="T93" fmla="*/ 2147483647 h 422"/>
              <a:gd name="T94" fmla="*/ 2147483647 w 524"/>
              <a:gd name="T95" fmla="*/ 2147483647 h 422"/>
              <a:gd name="T96" fmla="*/ 2147483647 w 524"/>
              <a:gd name="T97" fmla="*/ 2147483647 h 422"/>
              <a:gd name="T98" fmla="*/ 2147483647 w 524"/>
              <a:gd name="T99" fmla="*/ 2147483647 h 422"/>
              <a:gd name="T100" fmla="*/ 2147483647 w 524"/>
              <a:gd name="T101" fmla="*/ 2147483647 h 422"/>
              <a:gd name="T102" fmla="*/ 2147483647 w 524"/>
              <a:gd name="T103" fmla="*/ 2147483647 h 422"/>
              <a:gd name="T104" fmla="*/ 2147483647 w 524"/>
              <a:gd name="T105" fmla="*/ 2147483647 h 422"/>
              <a:gd name="T106" fmla="*/ 2147483647 w 524"/>
              <a:gd name="T107" fmla="*/ 2147483647 h 422"/>
              <a:gd name="T108" fmla="*/ 2147483647 w 524"/>
              <a:gd name="T109" fmla="*/ 2147483647 h 422"/>
              <a:gd name="T110" fmla="*/ 2147483647 w 524"/>
              <a:gd name="T111" fmla="*/ 2147483647 h 422"/>
              <a:gd name="T112" fmla="*/ 2147483647 w 524"/>
              <a:gd name="T113" fmla="*/ 2147483647 h 422"/>
              <a:gd name="T114" fmla="*/ 2147483647 w 524"/>
              <a:gd name="T115" fmla="*/ 2147483647 h 422"/>
              <a:gd name="T116" fmla="*/ 2147483647 w 524"/>
              <a:gd name="T117" fmla="*/ 2147483647 h 42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24" h="422">
                <a:moveTo>
                  <a:pt x="519" y="389"/>
                </a:moveTo>
                <a:cubicBezTo>
                  <a:pt x="469" y="372"/>
                  <a:pt x="469" y="372"/>
                  <a:pt x="469" y="372"/>
                </a:cubicBezTo>
                <a:cubicBezTo>
                  <a:pt x="467" y="371"/>
                  <a:pt x="464" y="371"/>
                  <a:pt x="462" y="373"/>
                </a:cubicBezTo>
                <a:cubicBezTo>
                  <a:pt x="460" y="374"/>
                  <a:pt x="458" y="377"/>
                  <a:pt x="458" y="379"/>
                </a:cubicBezTo>
                <a:cubicBezTo>
                  <a:pt x="458" y="388"/>
                  <a:pt x="458" y="388"/>
                  <a:pt x="458" y="388"/>
                </a:cubicBezTo>
                <a:cubicBezTo>
                  <a:pt x="419" y="388"/>
                  <a:pt x="419" y="388"/>
                  <a:pt x="419" y="388"/>
                </a:cubicBezTo>
                <a:cubicBezTo>
                  <a:pt x="415" y="388"/>
                  <a:pt x="411" y="392"/>
                  <a:pt x="411" y="396"/>
                </a:cubicBezTo>
                <a:cubicBezTo>
                  <a:pt x="411" y="401"/>
                  <a:pt x="415" y="404"/>
                  <a:pt x="419" y="404"/>
                </a:cubicBezTo>
                <a:cubicBezTo>
                  <a:pt x="459" y="404"/>
                  <a:pt x="459" y="404"/>
                  <a:pt x="459" y="404"/>
                </a:cubicBezTo>
                <a:cubicBezTo>
                  <a:pt x="459" y="414"/>
                  <a:pt x="459" y="414"/>
                  <a:pt x="459" y="414"/>
                </a:cubicBezTo>
                <a:cubicBezTo>
                  <a:pt x="459" y="417"/>
                  <a:pt x="460" y="419"/>
                  <a:pt x="462" y="420"/>
                </a:cubicBezTo>
                <a:cubicBezTo>
                  <a:pt x="463" y="421"/>
                  <a:pt x="465" y="422"/>
                  <a:pt x="467" y="422"/>
                </a:cubicBezTo>
                <a:cubicBezTo>
                  <a:pt x="467" y="422"/>
                  <a:pt x="468" y="422"/>
                  <a:pt x="469" y="421"/>
                </a:cubicBezTo>
                <a:cubicBezTo>
                  <a:pt x="519" y="404"/>
                  <a:pt x="519" y="404"/>
                  <a:pt x="519" y="404"/>
                </a:cubicBezTo>
                <a:cubicBezTo>
                  <a:pt x="522" y="403"/>
                  <a:pt x="524" y="400"/>
                  <a:pt x="524" y="396"/>
                </a:cubicBezTo>
                <a:cubicBezTo>
                  <a:pt x="524" y="393"/>
                  <a:pt x="522" y="390"/>
                  <a:pt x="519" y="389"/>
                </a:cubicBezTo>
                <a:close/>
                <a:moveTo>
                  <a:pt x="99" y="47"/>
                </a:moveTo>
                <a:cubicBezTo>
                  <a:pt x="410" y="122"/>
                  <a:pt x="410" y="122"/>
                  <a:pt x="410" y="122"/>
                </a:cubicBezTo>
                <a:cubicBezTo>
                  <a:pt x="408" y="131"/>
                  <a:pt x="408" y="131"/>
                  <a:pt x="408" y="131"/>
                </a:cubicBezTo>
                <a:cubicBezTo>
                  <a:pt x="408" y="133"/>
                  <a:pt x="408" y="136"/>
                  <a:pt x="410" y="138"/>
                </a:cubicBezTo>
                <a:cubicBezTo>
                  <a:pt x="411" y="139"/>
                  <a:pt x="414" y="140"/>
                  <a:pt x="416" y="140"/>
                </a:cubicBezTo>
                <a:cubicBezTo>
                  <a:pt x="416" y="140"/>
                  <a:pt x="416" y="140"/>
                  <a:pt x="417" y="140"/>
                </a:cubicBezTo>
                <a:cubicBezTo>
                  <a:pt x="469" y="135"/>
                  <a:pt x="469" y="135"/>
                  <a:pt x="469" y="135"/>
                </a:cubicBezTo>
                <a:cubicBezTo>
                  <a:pt x="472" y="135"/>
                  <a:pt x="475" y="132"/>
                  <a:pt x="476" y="129"/>
                </a:cubicBezTo>
                <a:cubicBezTo>
                  <a:pt x="477" y="126"/>
                  <a:pt x="475" y="122"/>
                  <a:pt x="472" y="121"/>
                </a:cubicBezTo>
                <a:cubicBezTo>
                  <a:pt x="428" y="92"/>
                  <a:pt x="428" y="92"/>
                  <a:pt x="428" y="92"/>
                </a:cubicBezTo>
                <a:cubicBezTo>
                  <a:pt x="426" y="91"/>
                  <a:pt x="424" y="90"/>
                  <a:pt x="421" y="91"/>
                </a:cubicBezTo>
                <a:cubicBezTo>
                  <a:pt x="419" y="92"/>
                  <a:pt x="417" y="94"/>
                  <a:pt x="416" y="97"/>
                </a:cubicBezTo>
                <a:cubicBezTo>
                  <a:pt x="414" y="106"/>
                  <a:pt x="414" y="106"/>
                  <a:pt x="414" y="106"/>
                </a:cubicBezTo>
                <a:cubicBezTo>
                  <a:pt x="103" y="32"/>
                  <a:pt x="103" y="32"/>
                  <a:pt x="103" y="32"/>
                </a:cubicBezTo>
                <a:cubicBezTo>
                  <a:pt x="98" y="31"/>
                  <a:pt x="94" y="34"/>
                  <a:pt x="93" y="38"/>
                </a:cubicBezTo>
                <a:cubicBezTo>
                  <a:pt x="92" y="42"/>
                  <a:pt x="95" y="46"/>
                  <a:pt x="99" y="47"/>
                </a:cubicBezTo>
                <a:close/>
                <a:moveTo>
                  <a:pt x="185" y="125"/>
                </a:moveTo>
                <a:cubicBezTo>
                  <a:pt x="185" y="125"/>
                  <a:pt x="184" y="124"/>
                  <a:pt x="183" y="123"/>
                </a:cubicBezTo>
                <a:cubicBezTo>
                  <a:pt x="184" y="122"/>
                  <a:pt x="184" y="120"/>
                  <a:pt x="183" y="119"/>
                </a:cubicBezTo>
                <a:cubicBezTo>
                  <a:pt x="182" y="118"/>
                  <a:pt x="180" y="118"/>
                  <a:pt x="179" y="119"/>
                </a:cubicBezTo>
                <a:cubicBezTo>
                  <a:pt x="179" y="120"/>
                  <a:pt x="179" y="120"/>
                  <a:pt x="179" y="120"/>
                </a:cubicBezTo>
                <a:cubicBezTo>
                  <a:pt x="178" y="120"/>
                  <a:pt x="177" y="120"/>
                  <a:pt x="176" y="120"/>
                </a:cubicBezTo>
                <a:cubicBezTo>
                  <a:pt x="174" y="120"/>
                  <a:pt x="172" y="121"/>
                  <a:pt x="170" y="123"/>
                </a:cubicBezTo>
                <a:cubicBezTo>
                  <a:pt x="169" y="124"/>
                  <a:pt x="168" y="125"/>
                  <a:pt x="168" y="126"/>
                </a:cubicBezTo>
                <a:cubicBezTo>
                  <a:pt x="168" y="128"/>
                  <a:pt x="170" y="130"/>
                  <a:pt x="170" y="130"/>
                </a:cubicBezTo>
                <a:cubicBezTo>
                  <a:pt x="171" y="131"/>
                  <a:pt x="172" y="132"/>
                  <a:pt x="173" y="132"/>
                </a:cubicBezTo>
                <a:cubicBezTo>
                  <a:pt x="173" y="132"/>
                  <a:pt x="174" y="133"/>
                  <a:pt x="174" y="133"/>
                </a:cubicBezTo>
                <a:cubicBezTo>
                  <a:pt x="174" y="133"/>
                  <a:pt x="174" y="133"/>
                  <a:pt x="174" y="133"/>
                </a:cubicBezTo>
                <a:cubicBezTo>
                  <a:pt x="174" y="133"/>
                  <a:pt x="174" y="133"/>
                  <a:pt x="174" y="133"/>
                </a:cubicBezTo>
                <a:cubicBezTo>
                  <a:pt x="174" y="133"/>
                  <a:pt x="174" y="133"/>
                  <a:pt x="174" y="133"/>
                </a:cubicBezTo>
                <a:cubicBezTo>
                  <a:pt x="174" y="133"/>
                  <a:pt x="174" y="134"/>
                  <a:pt x="174" y="134"/>
                </a:cubicBezTo>
                <a:cubicBezTo>
                  <a:pt x="173" y="135"/>
                  <a:pt x="173" y="135"/>
                  <a:pt x="171" y="135"/>
                </a:cubicBezTo>
                <a:cubicBezTo>
                  <a:pt x="171" y="135"/>
                  <a:pt x="170" y="135"/>
                  <a:pt x="170" y="135"/>
                </a:cubicBezTo>
                <a:cubicBezTo>
                  <a:pt x="169" y="135"/>
                  <a:pt x="169" y="135"/>
                  <a:pt x="169" y="134"/>
                </a:cubicBezTo>
                <a:cubicBezTo>
                  <a:pt x="169" y="134"/>
                  <a:pt x="169" y="134"/>
                  <a:pt x="169" y="134"/>
                </a:cubicBezTo>
                <a:cubicBezTo>
                  <a:pt x="169" y="134"/>
                  <a:pt x="169" y="134"/>
                  <a:pt x="169" y="134"/>
                </a:cubicBezTo>
                <a:cubicBezTo>
                  <a:pt x="168" y="134"/>
                  <a:pt x="167" y="134"/>
                  <a:pt x="167" y="133"/>
                </a:cubicBezTo>
                <a:cubicBezTo>
                  <a:pt x="167" y="133"/>
                  <a:pt x="167" y="132"/>
                  <a:pt x="166" y="132"/>
                </a:cubicBezTo>
                <a:cubicBezTo>
                  <a:pt x="166" y="132"/>
                  <a:pt x="166" y="132"/>
                  <a:pt x="166" y="132"/>
                </a:cubicBezTo>
                <a:cubicBezTo>
                  <a:pt x="166" y="131"/>
                  <a:pt x="164" y="130"/>
                  <a:pt x="163" y="131"/>
                </a:cubicBezTo>
                <a:cubicBezTo>
                  <a:pt x="162" y="131"/>
                  <a:pt x="161" y="133"/>
                  <a:pt x="162" y="134"/>
                </a:cubicBezTo>
                <a:cubicBezTo>
                  <a:pt x="162" y="134"/>
                  <a:pt x="162" y="136"/>
                  <a:pt x="164" y="137"/>
                </a:cubicBezTo>
                <a:cubicBezTo>
                  <a:pt x="164" y="137"/>
                  <a:pt x="164" y="137"/>
                  <a:pt x="164" y="137"/>
                </a:cubicBezTo>
                <a:cubicBezTo>
                  <a:pt x="163" y="138"/>
                  <a:pt x="163" y="140"/>
                  <a:pt x="164" y="141"/>
                </a:cubicBezTo>
                <a:cubicBezTo>
                  <a:pt x="165" y="141"/>
                  <a:pt x="165" y="141"/>
                  <a:pt x="166" y="141"/>
                </a:cubicBezTo>
                <a:cubicBezTo>
                  <a:pt x="167" y="141"/>
                  <a:pt x="167" y="141"/>
                  <a:pt x="168" y="141"/>
                </a:cubicBezTo>
                <a:cubicBezTo>
                  <a:pt x="169" y="139"/>
                  <a:pt x="169" y="139"/>
                  <a:pt x="169" y="139"/>
                </a:cubicBezTo>
                <a:cubicBezTo>
                  <a:pt x="169" y="140"/>
                  <a:pt x="170" y="140"/>
                  <a:pt x="171" y="140"/>
                </a:cubicBezTo>
                <a:cubicBezTo>
                  <a:pt x="171" y="140"/>
                  <a:pt x="171" y="140"/>
                  <a:pt x="172" y="140"/>
                </a:cubicBezTo>
                <a:cubicBezTo>
                  <a:pt x="173" y="140"/>
                  <a:pt x="176" y="139"/>
                  <a:pt x="178" y="137"/>
                </a:cubicBezTo>
                <a:cubicBezTo>
                  <a:pt x="178" y="136"/>
                  <a:pt x="179" y="136"/>
                  <a:pt x="179" y="135"/>
                </a:cubicBezTo>
                <a:cubicBezTo>
                  <a:pt x="179" y="134"/>
                  <a:pt x="179" y="134"/>
                  <a:pt x="179" y="133"/>
                </a:cubicBezTo>
                <a:cubicBezTo>
                  <a:pt x="179" y="132"/>
                  <a:pt x="178" y="130"/>
                  <a:pt x="178" y="129"/>
                </a:cubicBezTo>
                <a:cubicBezTo>
                  <a:pt x="177" y="129"/>
                  <a:pt x="176" y="128"/>
                  <a:pt x="175" y="128"/>
                </a:cubicBezTo>
                <a:cubicBezTo>
                  <a:pt x="175" y="127"/>
                  <a:pt x="174" y="127"/>
                  <a:pt x="174" y="127"/>
                </a:cubicBezTo>
                <a:cubicBezTo>
                  <a:pt x="174" y="127"/>
                  <a:pt x="173" y="126"/>
                  <a:pt x="173" y="126"/>
                </a:cubicBezTo>
                <a:cubicBezTo>
                  <a:pt x="173" y="126"/>
                  <a:pt x="174" y="126"/>
                  <a:pt x="174" y="126"/>
                </a:cubicBezTo>
                <a:cubicBezTo>
                  <a:pt x="174" y="125"/>
                  <a:pt x="175" y="125"/>
                  <a:pt x="176" y="125"/>
                </a:cubicBezTo>
                <a:cubicBezTo>
                  <a:pt x="177" y="125"/>
                  <a:pt x="177" y="125"/>
                  <a:pt x="178" y="125"/>
                </a:cubicBezTo>
                <a:cubicBezTo>
                  <a:pt x="178" y="125"/>
                  <a:pt x="178" y="125"/>
                  <a:pt x="178" y="125"/>
                </a:cubicBezTo>
                <a:cubicBezTo>
                  <a:pt x="178" y="125"/>
                  <a:pt x="178" y="125"/>
                  <a:pt x="178" y="125"/>
                </a:cubicBezTo>
                <a:cubicBezTo>
                  <a:pt x="178" y="125"/>
                  <a:pt x="178" y="125"/>
                  <a:pt x="178" y="125"/>
                </a:cubicBezTo>
                <a:cubicBezTo>
                  <a:pt x="180" y="126"/>
                  <a:pt x="180" y="126"/>
                  <a:pt x="180" y="126"/>
                </a:cubicBezTo>
                <a:cubicBezTo>
                  <a:pt x="180" y="127"/>
                  <a:pt x="180" y="127"/>
                  <a:pt x="180" y="127"/>
                </a:cubicBezTo>
                <a:cubicBezTo>
                  <a:pt x="181" y="128"/>
                  <a:pt x="182" y="128"/>
                  <a:pt x="183" y="128"/>
                </a:cubicBezTo>
                <a:cubicBezTo>
                  <a:pt x="185" y="128"/>
                  <a:pt x="185" y="126"/>
                  <a:pt x="185" y="125"/>
                </a:cubicBezTo>
                <a:close/>
                <a:moveTo>
                  <a:pt x="446" y="314"/>
                </a:moveTo>
                <a:cubicBezTo>
                  <a:pt x="448" y="312"/>
                  <a:pt x="449" y="309"/>
                  <a:pt x="449" y="306"/>
                </a:cubicBezTo>
                <a:cubicBezTo>
                  <a:pt x="449" y="301"/>
                  <a:pt x="446" y="297"/>
                  <a:pt x="441" y="295"/>
                </a:cubicBezTo>
                <a:cubicBezTo>
                  <a:pt x="435" y="292"/>
                  <a:pt x="435" y="292"/>
                  <a:pt x="435" y="292"/>
                </a:cubicBezTo>
                <a:cubicBezTo>
                  <a:pt x="446" y="279"/>
                  <a:pt x="446" y="279"/>
                  <a:pt x="446" y="279"/>
                </a:cubicBezTo>
                <a:cubicBezTo>
                  <a:pt x="448" y="277"/>
                  <a:pt x="449" y="274"/>
                  <a:pt x="449" y="271"/>
                </a:cubicBezTo>
                <a:cubicBezTo>
                  <a:pt x="449" y="266"/>
                  <a:pt x="446" y="261"/>
                  <a:pt x="441" y="260"/>
                </a:cubicBezTo>
                <a:cubicBezTo>
                  <a:pt x="435" y="256"/>
                  <a:pt x="435" y="256"/>
                  <a:pt x="435" y="256"/>
                </a:cubicBezTo>
                <a:cubicBezTo>
                  <a:pt x="446" y="244"/>
                  <a:pt x="446" y="244"/>
                  <a:pt x="446" y="244"/>
                </a:cubicBezTo>
                <a:cubicBezTo>
                  <a:pt x="448" y="242"/>
                  <a:pt x="449" y="239"/>
                  <a:pt x="449" y="235"/>
                </a:cubicBezTo>
                <a:cubicBezTo>
                  <a:pt x="449" y="231"/>
                  <a:pt x="446" y="226"/>
                  <a:pt x="441" y="225"/>
                </a:cubicBezTo>
                <a:cubicBezTo>
                  <a:pt x="435" y="221"/>
                  <a:pt x="435" y="221"/>
                  <a:pt x="435" y="221"/>
                </a:cubicBezTo>
                <a:cubicBezTo>
                  <a:pt x="446" y="208"/>
                  <a:pt x="446" y="208"/>
                  <a:pt x="446" y="208"/>
                </a:cubicBezTo>
                <a:cubicBezTo>
                  <a:pt x="448" y="206"/>
                  <a:pt x="449" y="203"/>
                  <a:pt x="449" y="200"/>
                </a:cubicBezTo>
                <a:cubicBezTo>
                  <a:pt x="449" y="195"/>
                  <a:pt x="445" y="191"/>
                  <a:pt x="441" y="189"/>
                </a:cubicBezTo>
                <a:cubicBezTo>
                  <a:pt x="340" y="151"/>
                  <a:pt x="340" y="151"/>
                  <a:pt x="340" y="151"/>
                </a:cubicBezTo>
                <a:cubicBezTo>
                  <a:pt x="338" y="150"/>
                  <a:pt x="336" y="150"/>
                  <a:pt x="334" y="150"/>
                </a:cubicBezTo>
                <a:cubicBezTo>
                  <a:pt x="330" y="150"/>
                  <a:pt x="325" y="152"/>
                  <a:pt x="322" y="156"/>
                </a:cubicBezTo>
                <a:cubicBezTo>
                  <a:pt x="290" y="192"/>
                  <a:pt x="290" y="192"/>
                  <a:pt x="290" y="192"/>
                </a:cubicBezTo>
                <a:cubicBezTo>
                  <a:pt x="288" y="195"/>
                  <a:pt x="287" y="197"/>
                  <a:pt x="287" y="201"/>
                </a:cubicBezTo>
                <a:cubicBezTo>
                  <a:pt x="287" y="206"/>
                  <a:pt x="291" y="210"/>
                  <a:pt x="295" y="212"/>
                </a:cubicBezTo>
                <a:cubicBezTo>
                  <a:pt x="303" y="215"/>
                  <a:pt x="303" y="215"/>
                  <a:pt x="303" y="215"/>
                </a:cubicBezTo>
                <a:cubicBezTo>
                  <a:pt x="290" y="227"/>
                  <a:pt x="290" y="227"/>
                  <a:pt x="290" y="227"/>
                </a:cubicBezTo>
                <a:cubicBezTo>
                  <a:pt x="290" y="228"/>
                  <a:pt x="290" y="228"/>
                  <a:pt x="290" y="228"/>
                </a:cubicBezTo>
                <a:cubicBezTo>
                  <a:pt x="288" y="230"/>
                  <a:pt x="287" y="233"/>
                  <a:pt x="287" y="236"/>
                </a:cubicBezTo>
                <a:cubicBezTo>
                  <a:pt x="287" y="241"/>
                  <a:pt x="291" y="246"/>
                  <a:pt x="295" y="247"/>
                </a:cubicBezTo>
                <a:cubicBezTo>
                  <a:pt x="303" y="250"/>
                  <a:pt x="303" y="250"/>
                  <a:pt x="303" y="250"/>
                </a:cubicBezTo>
                <a:cubicBezTo>
                  <a:pt x="290" y="263"/>
                  <a:pt x="290" y="263"/>
                  <a:pt x="290" y="263"/>
                </a:cubicBezTo>
                <a:cubicBezTo>
                  <a:pt x="290" y="263"/>
                  <a:pt x="290" y="263"/>
                  <a:pt x="290" y="263"/>
                </a:cubicBezTo>
                <a:cubicBezTo>
                  <a:pt x="288" y="265"/>
                  <a:pt x="287" y="268"/>
                  <a:pt x="287" y="271"/>
                </a:cubicBezTo>
                <a:cubicBezTo>
                  <a:pt x="287" y="276"/>
                  <a:pt x="291" y="281"/>
                  <a:pt x="295" y="282"/>
                </a:cubicBezTo>
                <a:cubicBezTo>
                  <a:pt x="303" y="285"/>
                  <a:pt x="303" y="285"/>
                  <a:pt x="303" y="285"/>
                </a:cubicBezTo>
                <a:cubicBezTo>
                  <a:pt x="290" y="298"/>
                  <a:pt x="290" y="298"/>
                  <a:pt x="290" y="298"/>
                </a:cubicBezTo>
                <a:cubicBezTo>
                  <a:pt x="290" y="298"/>
                  <a:pt x="290" y="298"/>
                  <a:pt x="290" y="298"/>
                </a:cubicBezTo>
                <a:cubicBezTo>
                  <a:pt x="288" y="300"/>
                  <a:pt x="287" y="303"/>
                  <a:pt x="287" y="306"/>
                </a:cubicBezTo>
                <a:cubicBezTo>
                  <a:pt x="287" y="311"/>
                  <a:pt x="291" y="316"/>
                  <a:pt x="295" y="317"/>
                </a:cubicBezTo>
                <a:cubicBezTo>
                  <a:pt x="396" y="356"/>
                  <a:pt x="396" y="356"/>
                  <a:pt x="396" y="356"/>
                </a:cubicBezTo>
                <a:cubicBezTo>
                  <a:pt x="398" y="356"/>
                  <a:pt x="400" y="357"/>
                  <a:pt x="401" y="357"/>
                </a:cubicBezTo>
                <a:cubicBezTo>
                  <a:pt x="406" y="357"/>
                  <a:pt x="411" y="355"/>
                  <a:pt x="414" y="351"/>
                </a:cubicBezTo>
                <a:lnTo>
                  <a:pt x="446" y="314"/>
                </a:lnTo>
                <a:close/>
                <a:moveTo>
                  <a:pt x="402" y="305"/>
                </a:moveTo>
                <a:cubicBezTo>
                  <a:pt x="306" y="269"/>
                  <a:pt x="306" y="269"/>
                  <a:pt x="306" y="269"/>
                </a:cubicBezTo>
                <a:cubicBezTo>
                  <a:pt x="319" y="256"/>
                  <a:pt x="319" y="256"/>
                  <a:pt x="319" y="256"/>
                </a:cubicBezTo>
                <a:cubicBezTo>
                  <a:pt x="396" y="285"/>
                  <a:pt x="396" y="285"/>
                  <a:pt x="396" y="285"/>
                </a:cubicBezTo>
                <a:cubicBezTo>
                  <a:pt x="398" y="286"/>
                  <a:pt x="400" y="286"/>
                  <a:pt x="401" y="286"/>
                </a:cubicBezTo>
                <a:cubicBezTo>
                  <a:pt x="406" y="286"/>
                  <a:pt x="411" y="284"/>
                  <a:pt x="414" y="280"/>
                </a:cubicBezTo>
                <a:cubicBezTo>
                  <a:pt x="424" y="269"/>
                  <a:pt x="424" y="269"/>
                  <a:pt x="424" y="269"/>
                </a:cubicBezTo>
                <a:cubicBezTo>
                  <a:pt x="430" y="272"/>
                  <a:pt x="430" y="272"/>
                  <a:pt x="430" y="272"/>
                </a:cubicBezTo>
                <a:cubicBezTo>
                  <a:pt x="402" y="305"/>
                  <a:pt x="402" y="305"/>
                  <a:pt x="402" y="305"/>
                </a:cubicBezTo>
                <a:cubicBezTo>
                  <a:pt x="402" y="305"/>
                  <a:pt x="402" y="305"/>
                  <a:pt x="402" y="305"/>
                </a:cubicBezTo>
                <a:cubicBezTo>
                  <a:pt x="402" y="305"/>
                  <a:pt x="402" y="305"/>
                  <a:pt x="402" y="305"/>
                </a:cubicBezTo>
                <a:close/>
                <a:moveTo>
                  <a:pt x="402" y="270"/>
                </a:moveTo>
                <a:cubicBezTo>
                  <a:pt x="402" y="270"/>
                  <a:pt x="402" y="270"/>
                  <a:pt x="402" y="270"/>
                </a:cubicBezTo>
                <a:cubicBezTo>
                  <a:pt x="306" y="234"/>
                  <a:pt x="306" y="234"/>
                  <a:pt x="306" y="234"/>
                </a:cubicBezTo>
                <a:cubicBezTo>
                  <a:pt x="319" y="221"/>
                  <a:pt x="319" y="221"/>
                  <a:pt x="319" y="221"/>
                </a:cubicBezTo>
                <a:cubicBezTo>
                  <a:pt x="396" y="250"/>
                  <a:pt x="396" y="250"/>
                  <a:pt x="396" y="250"/>
                </a:cubicBezTo>
                <a:cubicBezTo>
                  <a:pt x="398" y="251"/>
                  <a:pt x="400" y="251"/>
                  <a:pt x="401" y="251"/>
                </a:cubicBezTo>
                <a:cubicBezTo>
                  <a:pt x="406" y="251"/>
                  <a:pt x="411" y="249"/>
                  <a:pt x="414" y="245"/>
                </a:cubicBezTo>
                <a:cubicBezTo>
                  <a:pt x="408" y="240"/>
                  <a:pt x="408" y="240"/>
                  <a:pt x="408" y="240"/>
                </a:cubicBezTo>
                <a:cubicBezTo>
                  <a:pt x="414" y="245"/>
                  <a:pt x="414" y="245"/>
                  <a:pt x="414" y="245"/>
                </a:cubicBezTo>
                <a:cubicBezTo>
                  <a:pt x="424" y="234"/>
                  <a:pt x="424" y="234"/>
                  <a:pt x="424" y="234"/>
                </a:cubicBezTo>
                <a:cubicBezTo>
                  <a:pt x="430" y="237"/>
                  <a:pt x="430" y="237"/>
                  <a:pt x="430" y="237"/>
                </a:cubicBezTo>
                <a:lnTo>
                  <a:pt x="402" y="270"/>
                </a:lnTo>
                <a:close/>
                <a:moveTo>
                  <a:pt x="334" y="166"/>
                </a:moveTo>
                <a:cubicBezTo>
                  <a:pt x="334" y="166"/>
                  <a:pt x="334" y="166"/>
                  <a:pt x="334" y="166"/>
                </a:cubicBezTo>
                <a:cubicBezTo>
                  <a:pt x="430" y="202"/>
                  <a:pt x="430" y="202"/>
                  <a:pt x="430" y="202"/>
                </a:cubicBezTo>
                <a:cubicBezTo>
                  <a:pt x="402" y="235"/>
                  <a:pt x="402" y="235"/>
                  <a:pt x="402" y="235"/>
                </a:cubicBezTo>
                <a:cubicBezTo>
                  <a:pt x="402" y="235"/>
                  <a:pt x="402" y="235"/>
                  <a:pt x="402" y="235"/>
                </a:cubicBezTo>
                <a:cubicBezTo>
                  <a:pt x="402" y="235"/>
                  <a:pt x="402" y="235"/>
                  <a:pt x="402" y="235"/>
                </a:cubicBezTo>
                <a:cubicBezTo>
                  <a:pt x="306" y="199"/>
                  <a:pt x="306" y="199"/>
                  <a:pt x="306" y="199"/>
                </a:cubicBezTo>
                <a:lnTo>
                  <a:pt x="334" y="166"/>
                </a:lnTo>
                <a:close/>
                <a:moveTo>
                  <a:pt x="402" y="341"/>
                </a:moveTo>
                <a:cubicBezTo>
                  <a:pt x="306" y="305"/>
                  <a:pt x="306" y="305"/>
                  <a:pt x="306" y="305"/>
                </a:cubicBezTo>
                <a:cubicBezTo>
                  <a:pt x="319" y="291"/>
                  <a:pt x="319" y="291"/>
                  <a:pt x="319" y="291"/>
                </a:cubicBezTo>
                <a:cubicBezTo>
                  <a:pt x="396" y="320"/>
                  <a:pt x="396" y="320"/>
                  <a:pt x="396" y="320"/>
                </a:cubicBezTo>
                <a:cubicBezTo>
                  <a:pt x="398" y="321"/>
                  <a:pt x="400" y="321"/>
                  <a:pt x="401" y="321"/>
                </a:cubicBezTo>
                <a:cubicBezTo>
                  <a:pt x="406" y="321"/>
                  <a:pt x="411" y="320"/>
                  <a:pt x="414" y="316"/>
                </a:cubicBezTo>
                <a:cubicBezTo>
                  <a:pt x="424" y="304"/>
                  <a:pt x="424" y="304"/>
                  <a:pt x="424" y="304"/>
                </a:cubicBezTo>
                <a:cubicBezTo>
                  <a:pt x="430" y="307"/>
                  <a:pt x="430" y="307"/>
                  <a:pt x="430" y="307"/>
                </a:cubicBezTo>
                <a:cubicBezTo>
                  <a:pt x="402" y="340"/>
                  <a:pt x="402" y="340"/>
                  <a:pt x="402" y="340"/>
                </a:cubicBezTo>
                <a:cubicBezTo>
                  <a:pt x="402" y="340"/>
                  <a:pt x="402" y="341"/>
                  <a:pt x="402" y="341"/>
                </a:cubicBezTo>
                <a:close/>
                <a:moveTo>
                  <a:pt x="379" y="196"/>
                </a:moveTo>
                <a:cubicBezTo>
                  <a:pt x="379" y="195"/>
                  <a:pt x="379" y="194"/>
                  <a:pt x="377" y="193"/>
                </a:cubicBezTo>
                <a:cubicBezTo>
                  <a:pt x="378" y="192"/>
                  <a:pt x="378" y="191"/>
                  <a:pt x="377" y="190"/>
                </a:cubicBezTo>
                <a:cubicBezTo>
                  <a:pt x="376" y="189"/>
                  <a:pt x="375" y="189"/>
                  <a:pt x="374" y="190"/>
                </a:cubicBezTo>
                <a:cubicBezTo>
                  <a:pt x="373" y="191"/>
                  <a:pt x="373" y="191"/>
                  <a:pt x="373" y="191"/>
                </a:cubicBezTo>
                <a:cubicBezTo>
                  <a:pt x="372" y="191"/>
                  <a:pt x="371" y="191"/>
                  <a:pt x="370" y="191"/>
                </a:cubicBezTo>
                <a:cubicBezTo>
                  <a:pt x="369" y="191"/>
                  <a:pt x="366" y="191"/>
                  <a:pt x="364" y="193"/>
                </a:cubicBezTo>
                <a:cubicBezTo>
                  <a:pt x="363" y="194"/>
                  <a:pt x="363" y="196"/>
                  <a:pt x="363" y="197"/>
                </a:cubicBezTo>
                <a:cubicBezTo>
                  <a:pt x="363" y="199"/>
                  <a:pt x="364" y="200"/>
                  <a:pt x="365" y="201"/>
                </a:cubicBezTo>
                <a:cubicBezTo>
                  <a:pt x="365" y="202"/>
                  <a:pt x="366" y="202"/>
                  <a:pt x="367" y="202"/>
                </a:cubicBezTo>
                <a:cubicBezTo>
                  <a:pt x="367" y="203"/>
                  <a:pt x="368" y="203"/>
                  <a:pt x="368" y="203"/>
                </a:cubicBezTo>
                <a:cubicBezTo>
                  <a:pt x="369" y="204"/>
                  <a:pt x="369" y="204"/>
                  <a:pt x="369" y="204"/>
                </a:cubicBezTo>
                <a:cubicBezTo>
                  <a:pt x="369" y="204"/>
                  <a:pt x="369" y="204"/>
                  <a:pt x="369" y="204"/>
                </a:cubicBezTo>
                <a:cubicBezTo>
                  <a:pt x="369" y="204"/>
                  <a:pt x="369" y="204"/>
                  <a:pt x="369" y="204"/>
                </a:cubicBezTo>
                <a:cubicBezTo>
                  <a:pt x="369" y="204"/>
                  <a:pt x="369" y="204"/>
                  <a:pt x="368" y="204"/>
                </a:cubicBezTo>
                <a:cubicBezTo>
                  <a:pt x="368" y="205"/>
                  <a:pt x="367" y="205"/>
                  <a:pt x="366" y="205"/>
                </a:cubicBezTo>
                <a:cubicBezTo>
                  <a:pt x="365" y="205"/>
                  <a:pt x="364" y="205"/>
                  <a:pt x="364" y="205"/>
                </a:cubicBezTo>
                <a:cubicBezTo>
                  <a:pt x="363" y="205"/>
                  <a:pt x="363" y="205"/>
                  <a:pt x="363" y="205"/>
                </a:cubicBezTo>
                <a:cubicBezTo>
                  <a:pt x="363" y="205"/>
                  <a:pt x="363" y="205"/>
                  <a:pt x="363" y="205"/>
                </a:cubicBezTo>
                <a:cubicBezTo>
                  <a:pt x="363" y="205"/>
                  <a:pt x="363" y="205"/>
                  <a:pt x="363" y="205"/>
                </a:cubicBezTo>
                <a:cubicBezTo>
                  <a:pt x="362" y="205"/>
                  <a:pt x="362" y="204"/>
                  <a:pt x="361" y="203"/>
                </a:cubicBezTo>
                <a:cubicBezTo>
                  <a:pt x="361" y="203"/>
                  <a:pt x="361" y="203"/>
                  <a:pt x="361" y="203"/>
                </a:cubicBezTo>
                <a:cubicBezTo>
                  <a:pt x="361" y="203"/>
                  <a:pt x="361" y="203"/>
                  <a:pt x="361" y="203"/>
                </a:cubicBezTo>
                <a:cubicBezTo>
                  <a:pt x="361" y="203"/>
                  <a:pt x="361" y="203"/>
                  <a:pt x="361" y="203"/>
                </a:cubicBezTo>
                <a:cubicBezTo>
                  <a:pt x="360" y="201"/>
                  <a:pt x="359" y="201"/>
                  <a:pt x="357" y="201"/>
                </a:cubicBezTo>
                <a:cubicBezTo>
                  <a:pt x="356" y="202"/>
                  <a:pt x="356" y="203"/>
                  <a:pt x="356" y="204"/>
                </a:cubicBezTo>
                <a:cubicBezTo>
                  <a:pt x="356" y="204"/>
                  <a:pt x="357" y="206"/>
                  <a:pt x="358" y="208"/>
                </a:cubicBezTo>
                <a:cubicBezTo>
                  <a:pt x="358" y="208"/>
                  <a:pt x="358" y="208"/>
                  <a:pt x="358" y="208"/>
                </a:cubicBezTo>
                <a:cubicBezTo>
                  <a:pt x="357" y="209"/>
                  <a:pt x="358" y="210"/>
                  <a:pt x="359" y="211"/>
                </a:cubicBezTo>
                <a:cubicBezTo>
                  <a:pt x="359" y="212"/>
                  <a:pt x="360" y="212"/>
                  <a:pt x="360" y="212"/>
                </a:cubicBezTo>
                <a:cubicBezTo>
                  <a:pt x="361" y="212"/>
                  <a:pt x="362" y="212"/>
                  <a:pt x="362" y="211"/>
                </a:cubicBezTo>
                <a:cubicBezTo>
                  <a:pt x="363" y="210"/>
                  <a:pt x="363" y="210"/>
                  <a:pt x="363" y="210"/>
                </a:cubicBezTo>
                <a:cubicBezTo>
                  <a:pt x="364" y="210"/>
                  <a:pt x="365" y="210"/>
                  <a:pt x="366" y="210"/>
                </a:cubicBezTo>
                <a:cubicBezTo>
                  <a:pt x="366" y="210"/>
                  <a:pt x="366" y="210"/>
                  <a:pt x="366" y="210"/>
                </a:cubicBezTo>
                <a:cubicBezTo>
                  <a:pt x="368" y="210"/>
                  <a:pt x="370" y="210"/>
                  <a:pt x="372" y="208"/>
                </a:cubicBezTo>
                <a:cubicBezTo>
                  <a:pt x="373" y="207"/>
                  <a:pt x="373" y="206"/>
                  <a:pt x="373" y="205"/>
                </a:cubicBezTo>
                <a:cubicBezTo>
                  <a:pt x="373" y="205"/>
                  <a:pt x="374" y="204"/>
                  <a:pt x="374" y="204"/>
                </a:cubicBezTo>
                <a:cubicBezTo>
                  <a:pt x="374" y="202"/>
                  <a:pt x="373" y="201"/>
                  <a:pt x="372" y="200"/>
                </a:cubicBezTo>
                <a:cubicBezTo>
                  <a:pt x="371" y="199"/>
                  <a:pt x="370" y="199"/>
                  <a:pt x="370" y="198"/>
                </a:cubicBezTo>
                <a:cubicBezTo>
                  <a:pt x="369" y="198"/>
                  <a:pt x="368" y="197"/>
                  <a:pt x="368" y="197"/>
                </a:cubicBezTo>
                <a:cubicBezTo>
                  <a:pt x="368" y="197"/>
                  <a:pt x="368" y="197"/>
                  <a:pt x="368" y="197"/>
                </a:cubicBezTo>
                <a:cubicBezTo>
                  <a:pt x="368" y="197"/>
                  <a:pt x="368" y="197"/>
                  <a:pt x="368" y="196"/>
                </a:cubicBezTo>
                <a:cubicBezTo>
                  <a:pt x="368" y="196"/>
                  <a:pt x="369" y="196"/>
                  <a:pt x="370" y="196"/>
                </a:cubicBezTo>
                <a:cubicBezTo>
                  <a:pt x="371" y="196"/>
                  <a:pt x="372" y="196"/>
                  <a:pt x="372" y="196"/>
                </a:cubicBezTo>
                <a:cubicBezTo>
                  <a:pt x="372" y="196"/>
                  <a:pt x="372" y="196"/>
                  <a:pt x="373" y="196"/>
                </a:cubicBezTo>
                <a:cubicBezTo>
                  <a:pt x="373" y="196"/>
                  <a:pt x="373" y="196"/>
                  <a:pt x="373" y="196"/>
                </a:cubicBezTo>
                <a:cubicBezTo>
                  <a:pt x="373" y="196"/>
                  <a:pt x="373" y="196"/>
                  <a:pt x="373" y="196"/>
                </a:cubicBezTo>
                <a:cubicBezTo>
                  <a:pt x="374" y="196"/>
                  <a:pt x="374" y="197"/>
                  <a:pt x="375" y="197"/>
                </a:cubicBezTo>
                <a:cubicBezTo>
                  <a:pt x="375" y="197"/>
                  <a:pt x="375" y="197"/>
                  <a:pt x="375" y="197"/>
                </a:cubicBezTo>
                <a:cubicBezTo>
                  <a:pt x="375" y="198"/>
                  <a:pt x="376" y="199"/>
                  <a:pt x="378" y="199"/>
                </a:cubicBezTo>
                <a:cubicBezTo>
                  <a:pt x="379" y="198"/>
                  <a:pt x="380" y="197"/>
                  <a:pt x="379" y="196"/>
                </a:cubicBezTo>
                <a:close/>
                <a:moveTo>
                  <a:pt x="386" y="388"/>
                </a:moveTo>
                <a:cubicBezTo>
                  <a:pt x="37" y="388"/>
                  <a:pt x="37" y="388"/>
                  <a:pt x="37" y="388"/>
                </a:cubicBezTo>
                <a:cubicBezTo>
                  <a:pt x="35" y="388"/>
                  <a:pt x="34" y="387"/>
                  <a:pt x="34" y="385"/>
                </a:cubicBezTo>
                <a:cubicBezTo>
                  <a:pt x="34" y="65"/>
                  <a:pt x="34" y="65"/>
                  <a:pt x="34" y="65"/>
                </a:cubicBezTo>
                <a:cubicBezTo>
                  <a:pt x="43" y="65"/>
                  <a:pt x="43" y="65"/>
                  <a:pt x="43" y="65"/>
                </a:cubicBezTo>
                <a:cubicBezTo>
                  <a:pt x="46" y="65"/>
                  <a:pt x="48" y="64"/>
                  <a:pt x="50" y="62"/>
                </a:cubicBezTo>
                <a:cubicBezTo>
                  <a:pt x="51" y="60"/>
                  <a:pt x="52" y="57"/>
                  <a:pt x="51" y="54"/>
                </a:cubicBezTo>
                <a:cubicBezTo>
                  <a:pt x="33" y="5"/>
                  <a:pt x="33" y="5"/>
                  <a:pt x="33" y="5"/>
                </a:cubicBezTo>
                <a:cubicBezTo>
                  <a:pt x="32" y="2"/>
                  <a:pt x="29" y="0"/>
                  <a:pt x="26" y="0"/>
                </a:cubicBezTo>
                <a:cubicBezTo>
                  <a:pt x="22" y="0"/>
                  <a:pt x="19" y="2"/>
                  <a:pt x="18" y="5"/>
                </a:cubicBezTo>
                <a:cubicBezTo>
                  <a:pt x="1" y="55"/>
                  <a:pt x="1" y="55"/>
                  <a:pt x="1" y="55"/>
                </a:cubicBezTo>
                <a:cubicBezTo>
                  <a:pt x="0" y="57"/>
                  <a:pt x="0" y="60"/>
                  <a:pt x="2" y="62"/>
                </a:cubicBezTo>
                <a:cubicBezTo>
                  <a:pt x="3" y="64"/>
                  <a:pt x="6" y="65"/>
                  <a:pt x="8" y="65"/>
                </a:cubicBezTo>
                <a:cubicBezTo>
                  <a:pt x="8" y="65"/>
                  <a:pt x="8" y="65"/>
                  <a:pt x="8" y="65"/>
                </a:cubicBezTo>
                <a:cubicBezTo>
                  <a:pt x="18" y="65"/>
                  <a:pt x="18" y="65"/>
                  <a:pt x="18" y="65"/>
                </a:cubicBezTo>
                <a:cubicBezTo>
                  <a:pt x="18" y="385"/>
                  <a:pt x="18" y="385"/>
                  <a:pt x="18" y="385"/>
                </a:cubicBezTo>
                <a:cubicBezTo>
                  <a:pt x="18" y="396"/>
                  <a:pt x="26" y="404"/>
                  <a:pt x="37" y="404"/>
                </a:cubicBezTo>
                <a:cubicBezTo>
                  <a:pt x="37" y="404"/>
                  <a:pt x="37" y="404"/>
                  <a:pt x="37" y="404"/>
                </a:cubicBezTo>
                <a:cubicBezTo>
                  <a:pt x="386" y="404"/>
                  <a:pt x="386" y="404"/>
                  <a:pt x="386" y="404"/>
                </a:cubicBezTo>
                <a:cubicBezTo>
                  <a:pt x="390" y="404"/>
                  <a:pt x="394" y="401"/>
                  <a:pt x="394" y="396"/>
                </a:cubicBezTo>
                <a:cubicBezTo>
                  <a:pt x="394" y="392"/>
                  <a:pt x="390" y="388"/>
                  <a:pt x="386" y="388"/>
                </a:cubicBezTo>
                <a:close/>
                <a:moveTo>
                  <a:pt x="255" y="130"/>
                </a:moveTo>
                <a:cubicBezTo>
                  <a:pt x="255" y="125"/>
                  <a:pt x="251" y="120"/>
                  <a:pt x="247" y="119"/>
                </a:cubicBezTo>
                <a:cubicBezTo>
                  <a:pt x="145" y="80"/>
                  <a:pt x="145" y="80"/>
                  <a:pt x="145" y="80"/>
                </a:cubicBezTo>
                <a:cubicBezTo>
                  <a:pt x="144" y="80"/>
                  <a:pt x="142" y="79"/>
                  <a:pt x="140" y="79"/>
                </a:cubicBezTo>
                <a:cubicBezTo>
                  <a:pt x="135" y="80"/>
                  <a:pt x="131" y="81"/>
                  <a:pt x="127" y="85"/>
                </a:cubicBezTo>
                <a:cubicBezTo>
                  <a:pt x="96" y="122"/>
                  <a:pt x="96" y="122"/>
                  <a:pt x="96" y="122"/>
                </a:cubicBezTo>
                <a:cubicBezTo>
                  <a:pt x="94" y="124"/>
                  <a:pt x="93" y="127"/>
                  <a:pt x="93" y="130"/>
                </a:cubicBezTo>
                <a:cubicBezTo>
                  <a:pt x="93" y="135"/>
                  <a:pt x="96" y="140"/>
                  <a:pt x="101" y="141"/>
                </a:cubicBezTo>
                <a:cubicBezTo>
                  <a:pt x="108" y="144"/>
                  <a:pt x="108" y="144"/>
                  <a:pt x="108" y="144"/>
                </a:cubicBezTo>
                <a:cubicBezTo>
                  <a:pt x="96" y="157"/>
                  <a:pt x="96" y="157"/>
                  <a:pt x="96" y="157"/>
                </a:cubicBezTo>
                <a:cubicBezTo>
                  <a:pt x="96" y="157"/>
                  <a:pt x="96" y="157"/>
                  <a:pt x="96" y="157"/>
                </a:cubicBezTo>
                <a:cubicBezTo>
                  <a:pt x="94" y="159"/>
                  <a:pt x="93" y="162"/>
                  <a:pt x="93" y="165"/>
                </a:cubicBezTo>
                <a:cubicBezTo>
                  <a:pt x="93" y="170"/>
                  <a:pt x="96" y="175"/>
                  <a:pt x="100" y="176"/>
                </a:cubicBezTo>
                <a:cubicBezTo>
                  <a:pt x="108" y="179"/>
                  <a:pt x="108" y="179"/>
                  <a:pt x="108" y="179"/>
                </a:cubicBezTo>
                <a:cubicBezTo>
                  <a:pt x="96" y="192"/>
                  <a:pt x="96" y="192"/>
                  <a:pt x="96" y="192"/>
                </a:cubicBezTo>
                <a:cubicBezTo>
                  <a:pt x="96" y="192"/>
                  <a:pt x="96" y="192"/>
                  <a:pt x="96" y="192"/>
                </a:cubicBezTo>
                <a:cubicBezTo>
                  <a:pt x="94" y="195"/>
                  <a:pt x="93" y="197"/>
                  <a:pt x="93" y="201"/>
                </a:cubicBezTo>
                <a:cubicBezTo>
                  <a:pt x="93" y="206"/>
                  <a:pt x="96" y="210"/>
                  <a:pt x="100" y="212"/>
                </a:cubicBezTo>
                <a:cubicBezTo>
                  <a:pt x="108" y="215"/>
                  <a:pt x="108" y="215"/>
                  <a:pt x="108" y="215"/>
                </a:cubicBezTo>
                <a:cubicBezTo>
                  <a:pt x="96" y="227"/>
                  <a:pt x="96" y="227"/>
                  <a:pt x="96" y="227"/>
                </a:cubicBezTo>
                <a:cubicBezTo>
                  <a:pt x="96" y="228"/>
                  <a:pt x="96" y="228"/>
                  <a:pt x="96" y="228"/>
                </a:cubicBezTo>
                <a:cubicBezTo>
                  <a:pt x="94" y="230"/>
                  <a:pt x="93" y="233"/>
                  <a:pt x="93" y="236"/>
                </a:cubicBezTo>
                <a:cubicBezTo>
                  <a:pt x="93" y="241"/>
                  <a:pt x="96" y="246"/>
                  <a:pt x="100" y="247"/>
                </a:cubicBezTo>
                <a:cubicBezTo>
                  <a:pt x="108" y="250"/>
                  <a:pt x="108" y="250"/>
                  <a:pt x="108" y="250"/>
                </a:cubicBezTo>
                <a:cubicBezTo>
                  <a:pt x="96" y="263"/>
                  <a:pt x="96" y="263"/>
                  <a:pt x="96" y="263"/>
                </a:cubicBezTo>
                <a:cubicBezTo>
                  <a:pt x="96" y="263"/>
                  <a:pt x="96" y="263"/>
                  <a:pt x="96" y="263"/>
                </a:cubicBezTo>
                <a:cubicBezTo>
                  <a:pt x="94" y="265"/>
                  <a:pt x="93" y="268"/>
                  <a:pt x="93" y="271"/>
                </a:cubicBezTo>
                <a:cubicBezTo>
                  <a:pt x="93" y="276"/>
                  <a:pt x="96" y="281"/>
                  <a:pt x="100" y="282"/>
                </a:cubicBezTo>
                <a:cubicBezTo>
                  <a:pt x="108" y="285"/>
                  <a:pt x="108" y="285"/>
                  <a:pt x="108" y="285"/>
                </a:cubicBezTo>
                <a:cubicBezTo>
                  <a:pt x="96" y="298"/>
                  <a:pt x="96" y="298"/>
                  <a:pt x="96" y="298"/>
                </a:cubicBezTo>
                <a:cubicBezTo>
                  <a:pt x="96" y="298"/>
                  <a:pt x="96" y="298"/>
                  <a:pt x="96" y="298"/>
                </a:cubicBezTo>
                <a:cubicBezTo>
                  <a:pt x="94" y="300"/>
                  <a:pt x="93" y="303"/>
                  <a:pt x="93" y="306"/>
                </a:cubicBezTo>
                <a:cubicBezTo>
                  <a:pt x="93" y="311"/>
                  <a:pt x="96" y="316"/>
                  <a:pt x="100" y="317"/>
                </a:cubicBezTo>
                <a:cubicBezTo>
                  <a:pt x="202" y="356"/>
                  <a:pt x="202" y="356"/>
                  <a:pt x="202" y="356"/>
                </a:cubicBezTo>
                <a:cubicBezTo>
                  <a:pt x="204" y="356"/>
                  <a:pt x="205" y="357"/>
                  <a:pt x="207" y="357"/>
                </a:cubicBezTo>
                <a:cubicBezTo>
                  <a:pt x="212" y="357"/>
                  <a:pt x="216" y="355"/>
                  <a:pt x="220" y="351"/>
                </a:cubicBezTo>
                <a:cubicBezTo>
                  <a:pt x="252" y="314"/>
                  <a:pt x="252" y="314"/>
                  <a:pt x="252" y="314"/>
                </a:cubicBezTo>
                <a:cubicBezTo>
                  <a:pt x="253" y="312"/>
                  <a:pt x="255" y="309"/>
                  <a:pt x="255" y="306"/>
                </a:cubicBezTo>
                <a:cubicBezTo>
                  <a:pt x="255" y="301"/>
                  <a:pt x="251" y="297"/>
                  <a:pt x="247" y="295"/>
                </a:cubicBezTo>
                <a:cubicBezTo>
                  <a:pt x="241" y="292"/>
                  <a:pt x="241" y="292"/>
                  <a:pt x="241" y="292"/>
                </a:cubicBezTo>
                <a:cubicBezTo>
                  <a:pt x="252" y="279"/>
                  <a:pt x="252" y="279"/>
                  <a:pt x="252" y="279"/>
                </a:cubicBezTo>
                <a:cubicBezTo>
                  <a:pt x="253" y="277"/>
                  <a:pt x="255" y="274"/>
                  <a:pt x="255" y="271"/>
                </a:cubicBezTo>
                <a:cubicBezTo>
                  <a:pt x="255" y="266"/>
                  <a:pt x="251" y="261"/>
                  <a:pt x="247" y="260"/>
                </a:cubicBezTo>
                <a:cubicBezTo>
                  <a:pt x="241" y="256"/>
                  <a:pt x="241" y="256"/>
                  <a:pt x="241" y="256"/>
                </a:cubicBezTo>
                <a:cubicBezTo>
                  <a:pt x="252" y="244"/>
                  <a:pt x="252" y="244"/>
                  <a:pt x="252" y="244"/>
                </a:cubicBezTo>
                <a:cubicBezTo>
                  <a:pt x="253" y="242"/>
                  <a:pt x="255" y="239"/>
                  <a:pt x="255" y="235"/>
                </a:cubicBezTo>
                <a:cubicBezTo>
                  <a:pt x="255" y="231"/>
                  <a:pt x="251" y="226"/>
                  <a:pt x="247" y="225"/>
                </a:cubicBezTo>
                <a:cubicBezTo>
                  <a:pt x="241" y="221"/>
                  <a:pt x="241" y="221"/>
                  <a:pt x="241" y="221"/>
                </a:cubicBezTo>
                <a:cubicBezTo>
                  <a:pt x="252" y="208"/>
                  <a:pt x="252" y="208"/>
                  <a:pt x="252" y="208"/>
                </a:cubicBezTo>
                <a:cubicBezTo>
                  <a:pt x="253" y="206"/>
                  <a:pt x="255" y="203"/>
                  <a:pt x="255" y="200"/>
                </a:cubicBezTo>
                <a:cubicBezTo>
                  <a:pt x="255" y="195"/>
                  <a:pt x="251" y="191"/>
                  <a:pt x="247" y="189"/>
                </a:cubicBezTo>
                <a:cubicBezTo>
                  <a:pt x="241" y="186"/>
                  <a:pt x="241" y="186"/>
                  <a:pt x="241" y="186"/>
                </a:cubicBezTo>
                <a:cubicBezTo>
                  <a:pt x="252" y="173"/>
                  <a:pt x="252" y="173"/>
                  <a:pt x="252" y="173"/>
                </a:cubicBezTo>
                <a:cubicBezTo>
                  <a:pt x="253" y="171"/>
                  <a:pt x="255" y="168"/>
                  <a:pt x="255" y="165"/>
                </a:cubicBezTo>
                <a:cubicBezTo>
                  <a:pt x="255" y="160"/>
                  <a:pt x="251" y="156"/>
                  <a:pt x="247" y="154"/>
                </a:cubicBezTo>
                <a:cubicBezTo>
                  <a:pt x="241" y="151"/>
                  <a:pt x="241" y="151"/>
                  <a:pt x="241" y="151"/>
                </a:cubicBezTo>
                <a:cubicBezTo>
                  <a:pt x="252" y="138"/>
                  <a:pt x="252" y="138"/>
                  <a:pt x="252" y="138"/>
                </a:cubicBezTo>
                <a:cubicBezTo>
                  <a:pt x="253" y="136"/>
                  <a:pt x="255" y="133"/>
                  <a:pt x="255" y="130"/>
                </a:cubicBezTo>
                <a:close/>
                <a:moveTo>
                  <a:pt x="139" y="96"/>
                </a:moveTo>
                <a:cubicBezTo>
                  <a:pt x="140" y="96"/>
                  <a:pt x="140" y="96"/>
                  <a:pt x="140" y="95"/>
                </a:cubicBezTo>
                <a:cubicBezTo>
                  <a:pt x="236" y="132"/>
                  <a:pt x="236" y="132"/>
                  <a:pt x="236" y="132"/>
                </a:cubicBezTo>
                <a:cubicBezTo>
                  <a:pt x="208" y="164"/>
                  <a:pt x="208" y="164"/>
                  <a:pt x="208" y="164"/>
                </a:cubicBezTo>
                <a:cubicBezTo>
                  <a:pt x="208" y="164"/>
                  <a:pt x="207" y="164"/>
                  <a:pt x="207" y="164"/>
                </a:cubicBezTo>
                <a:cubicBezTo>
                  <a:pt x="112" y="128"/>
                  <a:pt x="112" y="128"/>
                  <a:pt x="112" y="128"/>
                </a:cubicBezTo>
                <a:lnTo>
                  <a:pt x="139" y="96"/>
                </a:lnTo>
                <a:close/>
                <a:moveTo>
                  <a:pt x="207" y="235"/>
                </a:moveTo>
                <a:cubicBezTo>
                  <a:pt x="112" y="199"/>
                  <a:pt x="112" y="199"/>
                  <a:pt x="112" y="199"/>
                </a:cubicBezTo>
                <a:cubicBezTo>
                  <a:pt x="125" y="186"/>
                  <a:pt x="125" y="186"/>
                  <a:pt x="125" y="186"/>
                </a:cubicBezTo>
                <a:cubicBezTo>
                  <a:pt x="202" y="215"/>
                  <a:pt x="202" y="215"/>
                  <a:pt x="202" y="215"/>
                </a:cubicBezTo>
                <a:cubicBezTo>
                  <a:pt x="204" y="215"/>
                  <a:pt x="205" y="216"/>
                  <a:pt x="207" y="216"/>
                </a:cubicBezTo>
                <a:cubicBezTo>
                  <a:pt x="212" y="216"/>
                  <a:pt x="216" y="214"/>
                  <a:pt x="220" y="210"/>
                </a:cubicBezTo>
                <a:cubicBezTo>
                  <a:pt x="230" y="198"/>
                  <a:pt x="230" y="198"/>
                  <a:pt x="230" y="198"/>
                </a:cubicBezTo>
                <a:cubicBezTo>
                  <a:pt x="236" y="202"/>
                  <a:pt x="236" y="202"/>
                  <a:pt x="236" y="202"/>
                </a:cubicBezTo>
                <a:cubicBezTo>
                  <a:pt x="208" y="235"/>
                  <a:pt x="208" y="235"/>
                  <a:pt x="208" y="235"/>
                </a:cubicBezTo>
                <a:cubicBezTo>
                  <a:pt x="208" y="235"/>
                  <a:pt x="208" y="235"/>
                  <a:pt x="208" y="235"/>
                </a:cubicBezTo>
                <a:cubicBezTo>
                  <a:pt x="208" y="235"/>
                  <a:pt x="208" y="235"/>
                  <a:pt x="208" y="235"/>
                </a:cubicBezTo>
                <a:cubicBezTo>
                  <a:pt x="208" y="235"/>
                  <a:pt x="207" y="235"/>
                  <a:pt x="207" y="235"/>
                </a:cubicBezTo>
                <a:close/>
                <a:moveTo>
                  <a:pt x="208" y="340"/>
                </a:moveTo>
                <a:cubicBezTo>
                  <a:pt x="208" y="340"/>
                  <a:pt x="208" y="340"/>
                  <a:pt x="208" y="340"/>
                </a:cubicBezTo>
                <a:cubicBezTo>
                  <a:pt x="208" y="340"/>
                  <a:pt x="207" y="341"/>
                  <a:pt x="207" y="341"/>
                </a:cubicBezTo>
                <a:cubicBezTo>
                  <a:pt x="112" y="305"/>
                  <a:pt x="112" y="305"/>
                  <a:pt x="112" y="305"/>
                </a:cubicBezTo>
                <a:cubicBezTo>
                  <a:pt x="125" y="291"/>
                  <a:pt x="125" y="291"/>
                  <a:pt x="125" y="291"/>
                </a:cubicBezTo>
                <a:cubicBezTo>
                  <a:pt x="202" y="320"/>
                  <a:pt x="202" y="320"/>
                  <a:pt x="202" y="320"/>
                </a:cubicBezTo>
                <a:cubicBezTo>
                  <a:pt x="204" y="321"/>
                  <a:pt x="205" y="321"/>
                  <a:pt x="207" y="321"/>
                </a:cubicBezTo>
                <a:cubicBezTo>
                  <a:pt x="212" y="321"/>
                  <a:pt x="216" y="320"/>
                  <a:pt x="220" y="316"/>
                </a:cubicBezTo>
                <a:cubicBezTo>
                  <a:pt x="230" y="304"/>
                  <a:pt x="230" y="304"/>
                  <a:pt x="230" y="304"/>
                </a:cubicBezTo>
                <a:cubicBezTo>
                  <a:pt x="236" y="307"/>
                  <a:pt x="236" y="307"/>
                  <a:pt x="236" y="307"/>
                </a:cubicBezTo>
                <a:lnTo>
                  <a:pt x="208" y="340"/>
                </a:lnTo>
                <a:close/>
                <a:moveTo>
                  <a:pt x="208" y="305"/>
                </a:moveTo>
                <a:cubicBezTo>
                  <a:pt x="208" y="305"/>
                  <a:pt x="208" y="305"/>
                  <a:pt x="208" y="305"/>
                </a:cubicBezTo>
                <a:cubicBezTo>
                  <a:pt x="208" y="305"/>
                  <a:pt x="207" y="305"/>
                  <a:pt x="207" y="305"/>
                </a:cubicBezTo>
                <a:cubicBezTo>
                  <a:pt x="112" y="269"/>
                  <a:pt x="112" y="269"/>
                  <a:pt x="112" y="269"/>
                </a:cubicBezTo>
                <a:cubicBezTo>
                  <a:pt x="125" y="256"/>
                  <a:pt x="125" y="256"/>
                  <a:pt x="125" y="256"/>
                </a:cubicBezTo>
                <a:cubicBezTo>
                  <a:pt x="202" y="285"/>
                  <a:pt x="202" y="285"/>
                  <a:pt x="202" y="285"/>
                </a:cubicBezTo>
                <a:cubicBezTo>
                  <a:pt x="204" y="286"/>
                  <a:pt x="205" y="286"/>
                  <a:pt x="207" y="286"/>
                </a:cubicBezTo>
                <a:cubicBezTo>
                  <a:pt x="212" y="286"/>
                  <a:pt x="216" y="284"/>
                  <a:pt x="220" y="280"/>
                </a:cubicBezTo>
                <a:cubicBezTo>
                  <a:pt x="230" y="269"/>
                  <a:pt x="230" y="269"/>
                  <a:pt x="230" y="269"/>
                </a:cubicBezTo>
                <a:cubicBezTo>
                  <a:pt x="236" y="272"/>
                  <a:pt x="236" y="272"/>
                  <a:pt x="236" y="272"/>
                </a:cubicBezTo>
                <a:lnTo>
                  <a:pt x="208" y="305"/>
                </a:lnTo>
                <a:close/>
                <a:moveTo>
                  <a:pt x="208" y="270"/>
                </a:moveTo>
                <a:cubicBezTo>
                  <a:pt x="208" y="270"/>
                  <a:pt x="208" y="270"/>
                  <a:pt x="208" y="270"/>
                </a:cubicBezTo>
                <a:cubicBezTo>
                  <a:pt x="208" y="270"/>
                  <a:pt x="208" y="270"/>
                  <a:pt x="208" y="270"/>
                </a:cubicBezTo>
                <a:cubicBezTo>
                  <a:pt x="208" y="270"/>
                  <a:pt x="207" y="270"/>
                  <a:pt x="207" y="270"/>
                </a:cubicBezTo>
                <a:cubicBezTo>
                  <a:pt x="112" y="234"/>
                  <a:pt x="112" y="234"/>
                  <a:pt x="112" y="234"/>
                </a:cubicBezTo>
                <a:cubicBezTo>
                  <a:pt x="125" y="221"/>
                  <a:pt x="125" y="221"/>
                  <a:pt x="125" y="221"/>
                </a:cubicBezTo>
                <a:cubicBezTo>
                  <a:pt x="202" y="250"/>
                  <a:pt x="202" y="250"/>
                  <a:pt x="202" y="250"/>
                </a:cubicBezTo>
                <a:cubicBezTo>
                  <a:pt x="204" y="251"/>
                  <a:pt x="205" y="251"/>
                  <a:pt x="207" y="251"/>
                </a:cubicBezTo>
                <a:cubicBezTo>
                  <a:pt x="212" y="251"/>
                  <a:pt x="216" y="249"/>
                  <a:pt x="220" y="245"/>
                </a:cubicBezTo>
                <a:cubicBezTo>
                  <a:pt x="230" y="234"/>
                  <a:pt x="230" y="234"/>
                  <a:pt x="230" y="234"/>
                </a:cubicBezTo>
                <a:cubicBezTo>
                  <a:pt x="236" y="237"/>
                  <a:pt x="236" y="237"/>
                  <a:pt x="236" y="237"/>
                </a:cubicBezTo>
                <a:lnTo>
                  <a:pt x="208" y="270"/>
                </a:lnTo>
                <a:close/>
                <a:moveTo>
                  <a:pt x="208" y="199"/>
                </a:moveTo>
                <a:cubicBezTo>
                  <a:pt x="208" y="199"/>
                  <a:pt x="208" y="199"/>
                  <a:pt x="208" y="199"/>
                </a:cubicBezTo>
                <a:cubicBezTo>
                  <a:pt x="208" y="199"/>
                  <a:pt x="208" y="199"/>
                  <a:pt x="208" y="199"/>
                </a:cubicBezTo>
                <a:cubicBezTo>
                  <a:pt x="208" y="199"/>
                  <a:pt x="207" y="200"/>
                  <a:pt x="207" y="200"/>
                </a:cubicBezTo>
                <a:cubicBezTo>
                  <a:pt x="112" y="164"/>
                  <a:pt x="112" y="164"/>
                  <a:pt x="112" y="164"/>
                </a:cubicBezTo>
                <a:cubicBezTo>
                  <a:pt x="125" y="150"/>
                  <a:pt x="125" y="150"/>
                  <a:pt x="125" y="150"/>
                </a:cubicBezTo>
                <a:cubicBezTo>
                  <a:pt x="202" y="179"/>
                  <a:pt x="202" y="179"/>
                  <a:pt x="202" y="179"/>
                </a:cubicBezTo>
                <a:cubicBezTo>
                  <a:pt x="204" y="180"/>
                  <a:pt x="205" y="180"/>
                  <a:pt x="207" y="180"/>
                </a:cubicBezTo>
                <a:cubicBezTo>
                  <a:pt x="212" y="180"/>
                  <a:pt x="216" y="179"/>
                  <a:pt x="220" y="175"/>
                </a:cubicBezTo>
                <a:cubicBezTo>
                  <a:pt x="230" y="163"/>
                  <a:pt x="230" y="163"/>
                  <a:pt x="230" y="163"/>
                </a:cubicBezTo>
                <a:cubicBezTo>
                  <a:pt x="236" y="166"/>
                  <a:pt x="236" y="166"/>
                  <a:pt x="236" y="166"/>
                </a:cubicBezTo>
                <a:lnTo>
                  <a:pt x="208" y="199"/>
                </a:lnTo>
                <a:close/>
              </a:path>
            </a:pathLst>
          </a:custGeom>
          <a:solidFill>
            <a:schemeClr val="tx1"/>
          </a:solidFill>
          <a:ln>
            <a:noFill/>
          </a:ln>
          <a:extLst/>
        </p:spPr>
        <p:txBody>
          <a:bodyPr/>
          <a:lstStyle/>
          <a:p>
            <a:endParaRPr lang="en-US">
              <a:solidFill>
                <a:schemeClr val="tx1">
                  <a:lumMod val="85000"/>
                </a:schemeClr>
              </a:solidFill>
            </a:endParaRPr>
          </a:p>
        </p:txBody>
      </p:sp>
      <p:sp>
        <p:nvSpPr>
          <p:cNvPr id="51" name="Freeform 10">
            <a:extLst>
              <a:ext uri="{FF2B5EF4-FFF2-40B4-BE49-F238E27FC236}">
                <a16:creationId xmlns:a16="http://schemas.microsoft.com/office/drawing/2014/main" id="{E7D9B8A2-B00E-4E05-A44C-8E446D66EF09}"/>
              </a:ext>
            </a:extLst>
          </p:cNvPr>
          <p:cNvSpPr>
            <a:spLocks noChangeAspect="1" noEditPoints="1"/>
          </p:cNvSpPr>
          <p:nvPr/>
        </p:nvSpPr>
        <p:spPr bwMode="auto">
          <a:xfrm>
            <a:off x="6948672" y="3327651"/>
            <a:ext cx="260550" cy="255838"/>
          </a:xfrm>
          <a:custGeom>
            <a:avLst/>
            <a:gdLst>
              <a:gd name="T0" fmla="*/ 2147483646 w 487"/>
              <a:gd name="T1" fmla="*/ 2147483646 h 478"/>
              <a:gd name="T2" fmla="*/ 2147483646 w 487"/>
              <a:gd name="T3" fmla="*/ 2147483646 h 478"/>
              <a:gd name="T4" fmla="*/ 2147483646 w 487"/>
              <a:gd name="T5" fmla="*/ 2147483646 h 478"/>
              <a:gd name="T6" fmla="*/ 2147483646 w 487"/>
              <a:gd name="T7" fmla="*/ 2147483646 h 478"/>
              <a:gd name="T8" fmla="*/ 2147483646 w 487"/>
              <a:gd name="T9" fmla="*/ 2147483646 h 478"/>
              <a:gd name="T10" fmla="*/ 2147483646 w 487"/>
              <a:gd name="T11" fmla="*/ 2147483646 h 478"/>
              <a:gd name="T12" fmla="*/ 2147483646 w 487"/>
              <a:gd name="T13" fmla="*/ 2147483646 h 478"/>
              <a:gd name="T14" fmla="*/ 2147483646 w 487"/>
              <a:gd name="T15" fmla="*/ 2147483646 h 478"/>
              <a:gd name="T16" fmla="*/ 2147483646 w 487"/>
              <a:gd name="T17" fmla="*/ 2147483646 h 478"/>
              <a:gd name="T18" fmla="*/ 2147483646 w 487"/>
              <a:gd name="T19" fmla="*/ 2147483646 h 478"/>
              <a:gd name="T20" fmla="*/ 2147483646 w 487"/>
              <a:gd name="T21" fmla="*/ 2147483646 h 478"/>
              <a:gd name="T22" fmla="*/ 2147483646 w 487"/>
              <a:gd name="T23" fmla="*/ 2147483646 h 478"/>
              <a:gd name="T24" fmla="*/ 2147483646 w 487"/>
              <a:gd name="T25" fmla="*/ 2147483646 h 478"/>
              <a:gd name="T26" fmla="*/ 2147483646 w 487"/>
              <a:gd name="T27" fmla="*/ 2147483646 h 478"/>
              <a:gd name="T28" fmla="*/ 2147483646 w 487"/>
              <a:gd name="T29" fmla="*/ 2147483646 h 478"/>
              <a:gd name="T30" fmla="*/ 2147483646 w 487"/>
              <a:gd name="T31" fmla="*/ 2147483646 h 478"/>
              <a:gd name="T32" fmla="*/ 2147483646 w 487"/>
              <a:gd name="T33" fmla="*/ 2147483646 h 478"/>
              <a:gd name="T34" fmla="*/ 2147483646 w 487"/>
              <a:gd name="T35" fmla="*/ 2147483646 h 478"/>
              <a:gd name="T36" fmla="*/ 2147483646 w 487"/>
              <a:gd name="T37" fmla="*/ 2147483646 h 478"/>
              <a:gd name="T38" fmla="*/ 2147483646 w 487"/>
              <a:gd name="T39" fmla="*/ 2147483646 h 478"/>
              <a:gd name="T40" fmla="*/ 2147483646 w 487"/>
              <a:gd name="T41" fmla="*/ 2147483646 h 478"/>
              <a:gd name="T42" fmla="*/ 2147483646 w 487"/>
              <a:gd name="T43" fmla="*/ 2147483646 h 478"/>
              <a:gd name="T44" fmla="*/ 2147483646 w 487"/>
              <a:gd name="T45" fmla="*/ 2147483646 h 478"/>
              <a:gd name="T46" fmla="*/ 2147483646 w 487"/>
              <a:gd name="T47" fmla="*/ 2147483646 h 478"/>
              <a:gd name="T48" fmla="*/ 2147483646 w 487"/>
              <a:gd name="T49" fmla="*/ 2147483646 h 478"/>
              <a:gd name="T50" fmla="*/ 2147483646 w 487"/>
              <a:gd name="T51" fmla="*/ 2147483646 h 478"/>
              <a:gd name="T52" fmla="*/ 2147483646 w 487"/>
              <a:gd name="T53" fmla="*/ 2147483646 h 478"/>
              <a:gd name="T54" fmla="*/ 2147483646 w 487"/>
              <a:gd name="T55" fmla="*/ 2147483646 h 478"/>
              <a:gd name="T56" fmla="*/ 2147483646 w 487"/>
              <a:gd name="T57" fmla="*/ 2147483646 h 478"/>
              <a:gd name="T58" fmla="*/ 2147483646 w 487"/>
              <a:gd name="T59" fmla="*/ 2147483646 h 478"/>
              <a:gd name="T60" fmla="*/ 2147483646 w 487"/>
              <a:gd name="T61" fmla="*/ 2147483646 h 478"/>
              <a:gd name="T62" fmla="*/ 2147483646 w 487"/>
              <a:gd name="T63" fmla="*/ 2147483646 h 478"/>
              <a:gd name="T64" fmla="*/ 2147483646 w 487"/>
              <a:gd name="T65" fmla="*/ 2147483646 h 478"/>
              <a:gd name="T66" fmla="*/ 2147483646 w 487"/>
              <a:gd name="T67" fmla="*/ 2147483646 h 478"/>
              <a:gd name="T68" fmla="*/ 2147483646 w 487"/>
              <a:gd name="T69" fmla="*/ 2147483646 h 478"/>
              <a:gd name="T70" fmla="*/ 2147483646 w 487"/>
              <a:gd name="T71" fmla="*/ 2147483646 h 478"/>
              <a:gd name="T72" fmla="*/ 2147483646 w 487"/>
              <a:gd name="T73" fmla="*/ 2147483646 h 478"/>
              <a:gd name="T74" fmla="*/ 2147483646 w 487"/>
              <a:gd name="T75" fmla="*/ 2147483646 h 478"/>
              <a:gd name="T76" fmla="*/ 2147483646 w 487"/>
              <a:gd name="T77" fmla="*/ 2147483646 h 478"/>
              <a:gd name="T78" fmla="*/ 2147483646 w 487"/>
              <a:gd name="T79" fmla="*/ 2147483646 h 478"/>
              <a:gd name="T80" fmla="*/ 2147483646 w 487"/>
              <a:gd name="T81" fmla="*/ 2147483646 h 478"/>
              <a:gd name="T82" fmla="*/ 2147483646 w 487"/>
              <a:gd name="T83" fmla="*/ 2147483646 h 478"/>
              <a:gd name="T84" fmla="*/ 2147483646 w 487"/>
              <a:gd name="T85" fmla="*/ 2147483646 h 478"/>
              <a:gd name="T86" fmla="*/ 2147483646 w 487"/>
              <a:gd name="T87" fmla="*/ 2147483646 h 478"/>
              <a:gd name="T88" fmla="*/ 2147483646 w 487"/>
              <a:gd name="T89" fmla="*/ 2147483646 h 478"/>
              <a:gd name="T90" fmla="*/ 2147483646 w 487"/>
              <a:gd name="T91" fmla="*/ 2147483646 h 478"/>
              <a:gd name="T92" fmla="*/ 2147483646 w 487"/>
              <a:gd name="T93" fmla="*/ 2147483646 h 478"/>
              <a:gd name="T94" fmla="*/ 2147483646 w 487"/>
              <a:gd name="T95" fmla="*/ 2147483646 h 47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87" h="478">
                <a:moveTo>
                  <a:pt x="49" y="10"/>
                </a:moveTo>
                <a:cubicBezTo>
                  <a:pt x="54" y="4"/>
                  <a:pt x="62" y="4"/>
                  <a:pt x="67" y="9"/>
                </a:cubicBezTo>
                <a:cubicBezTo>
                  <a:pt x="106" y="47"/>
                  <a:pt x="106" y="47"/>
                  <a:pt x="106" y="47"/>
                </a:cubicBezTo>
                <a:cubicBezTo>
                  <a:pt x="111" y="52"/>
                  <a:pt x="111" y="60"/>
                  <a:pt x="106" y="66"/>
                </a:cubicBezTo>
                <a:cubicBezTo>
                  <a:pt x="69" y="104"/>
                  <a:pt x="69" y="104"/>
                  <a:pt x="69" y="104"/>
                </a:cubicBezTo>
                <a:cubicBezTo>
                  <a:pt x="63" y="109"/>
                  <a:pt x="55" y="109"/>
                  <a:pt x="50" y="104"/>
                </a:cubicBezTo>
                <a:cubicBezTo>
                  <a:pt x="11" y="67"/>
                  <a:pt x="11" y="67"/>
                  <a:pt x="11" y="67"/>
                </a:cubicBezTo>
                <a:cubicBezTo>
                  <a:pt x="6" y="62"/>
                  <a:pt x="6" y="53"/>
                  <a:pt x="11" y="48"/>
                </a:cubicBezTo>
                <a:lnTo>
                  <a:pt x="49" y="10"/>
                </a:lnTo>
                <a:close/>
                <a:moveTo>
                  <a:pt x="159" y="61"/>
                </a:moveTo>
                <a:cubicBezTo>
                  <a:pt x="156" y="68"/>
                  <a:pt x="160" y="76"/>
                  <a:pt x="167" y="78"/>
                </a:cubicBezTo>
                <a:cubicBezTo>
                  <a:pt x="217" y="97"/>
                  <a:pt x="217" y="97"/>
                  <a:pt x="217" y="97"/>
                </a:cubicBezTo>
                <a:cubicBezTo>
                  <a:pt x="224" y="99"/>
                  <a:pt x="232" y="95"/>
                  <a:pt x="234" y="88"/>
                </a:cubicBezTo>
                <a:cubicBezTo>
                  <a:pt x="252" y="38"/>
                  <a:pt x="252" y="38"/>
                  <a:pt x="252" y="38"/>
                </a:cubicBezTo>
                <a:cubicBezTo>
                  <a:pt x="255" y="31"/>
                  <a:pt x="251" y="23"/>
                  <a:pt x="244" y="21"/>
                </a:cubicBezTo>
                <a:cubicBezTo>
                  <a:pt x="194" y="3"/>
                  <a:pt x="194" y="3"/>
                  <a:pt x="194" y="3"/>
                </a:cubicBezTo>
                <a:cubicBezTo>
                  <a:pt x="187" y="0"/>
                  <a:pt x="179" y="4"/>
                  <a:pt x="177" y="11"/>
                </a:cubicBezTo>
                <a:lnTo>
                  <a:pt x="159" y="61"/>
                </a:lnTo>
                <a:close/>
                <a:moveTo>
                  <a:pt x="288" y="122"/>
                </a:moveTo>
                <a:cubicBezTo>
                  <a:pt x="288" y="129"/>
                  <a:pt x="294" y="135"/>
                  <a:pt x="301" y="135"/>
                </a:cubicBezTo>
                <a:cubicBezTo>
                  <a:pt x="355" y="135"/>
                  <a:pt x="355" y="135"/>
                  <a:pt x="355" y="135"/>
                </a:cubicBezTo>
                <a:cubicBezTo>
                  <a:pt x="362" y="135"/>
                  <a:pt x="368" y="129"/>
                  <a:pt x="368" y="122"/>
                </a:cubicBezTo>
                <a:cubicBezTo>
                  <a:pt x="368" y="68"/>
                  <a:pt x="368" y="68"/>
                  <a:pt x="368" y="68"/>
                </a:cubicBezTo>
                <a:cubicBezTo>
                  <a:pt x="368" y="61"/>
                  <a:pt x="362" y="55"/>
                  <a:pt x="355" y="55"/>
                </a:cubicBezTo>
                <a:cubicBezTo>
                  <a:pt x="301" y="55"/>
                  <a:pt x="301" y="55"/>
                  <a:pt x="301" y="55"/>
                </a:cubicBezTo>
                <a:cubicBezTo>
                  <a:pt x="294" y="55"/>
                  <a:pt x="288" y="61"/>
                  <a:pt x="288" y="68"/>
                </a:cubicBezTo>
                <a:lnTo>
                  <a:pt x="288" y="122"/>
                </a:lnTo>
                <a:close/>
                <a:moveTo>
                  <a:pt x="21" y="240"/>
                </a:moveTo>
                <a:cubicBezTo>
                  <a:pt x="23" y="247"/>
                  <a:pt x="31" y="251"/>
                  <a:pt x="38" y="248"/>
                </a:cubicBezTo>
                <a:cubicBezTo>
                  <a:pt x="88" y="230"/>
                  <a:pt x="88" y="230"/>
                  <a:pt x="88" y="230"/>
                </a:cubicBezTo>
                <a:cubicBezTo>
                  <a:pt x="95" y="227"/>
                  <a:pt x="98" y="220"/>
                  <a:pt x="96" y="213"/>
                </a:cubicBezTo>
                <a:cubicBezTo>
                  <a:pt x="77" y="162"/>
                  <a:pt x="77" y="162"/>
                  <a:pt x="77" y="162"/>
                </a:cubicBezTo>
                <a:cubicBezTo>
                  <a:pt x="75" y="155"/>
                  <a:pt x="67" y="152"/>
                  <a:pt x="60" y="154"/>
                </a:cubicBezTo>
                <a:cubicBezTo>
                  <a:pt x="10" y="173"/>
                  <a:pt x="10" y="173"/>
                  <a:pt x="10" y="173"/>
                </a:cubicBezTo>
                <a:cubicBezTo>
                  <a:pt x="3" y="175"/>
                  <a:pt x="0" y="183"/>
                  <a:pt x="2" y="190"/>
                </a:cubicBezTo>
                <a:lnTo>
                  <a:pt x="21" y="240"/>
                </a:lnTo>
                <a:close/>
                <a:moveTo>
                  <a:pt x="151" y="211"/>
                </a:moveTo>
                <a:cubicBezTo>
                  <a:pt x="151" y="218"/>
                  <a:pt x="157" y="224"/>
                  <a:pt x="165" y="224"/>
                </a:cubicBezTo>
                <a:cubicBezTo>
                  <a:pt x="218" y="224"/>
                  <a:pt x="218" y="224"/>
                  <a:pt x="218" y="224"/>
                </a:cubicBezTo>
                <a:cubicBezTo>
                  <a:pt x="225" y="224"/>
                  <a:pt x="231" y="218"/>
                  <a:pt x="231" y="211"/>
                </a:cubicBezTo>
                <a:cubicBezTo>
                  <a:pt x="231" y="157"/>
                  <a:pt x="231" y="157"/>
                  <a:pt x="231" y="157"/>
                </a:cubicBezTo>
                <a:cubicBezTo>
                  <a:pt x="231" y="150"/>
                  <a:pt x="225" y="144"/>
                  <a:pt x="218" y="144"/>
                </a:cubicBezTo>
                <a:cubicBezTo>
                  <a:pt x="165" y="144"/>
                  <a:pt x="165" y="144"/>
                  <a:pt x="165" y="144"/>
                </a:cubicBezTo>
                <a:cubicBezTo>
                  <a:pt x="157" y="144"/>
                  <a:pt x="151" y="150"/>
                  <a:pt x="151" y="157"/>
                </a:cubicBezTo>
                <a:lnTo>
                  <a:pt x="151" y="211"/>
                </a:lnTo>
                <a:close/>
                <a:moveTo>
                  <a:pt x="289" y="234"/>
                </a:moveTo>
                <a:cubicBezTo>
                  <a:pt x="289" y="241"/>
                  <a:pt x="295" y="247"/>
                  <a:pt x="302" y="247"/>
                </a:cubicBezTo>
                <a:cubicBezTo>
                  <a:pt x="356" y="247"/>
                  <a:pt x="356" y="247"/>
                  <a:pt x="356" y="247"/>
                </a:cubicBezTo>
                <a:cubicBezTo>
                  <a:pt x="363" y="247"/>
                  <a:pt x="369" y="241"/>
                  <a:pt x="369" y="234"/>
                </a:cubicBezTo>
                <a:cubicBezTo>
                  <a:pt x="369" y="180"/>
                  <a:pt x="369" y="180"/>
                  <a:pt x="369" y="180"/>
                </a:cubicBezTo>
                <a:cubicBezTo>
                  <a:pt x="369" y="172"/>
                  <a:pt x="363" y="166"/>
                  <a:pt x="356" y="166"/>
                </a:cubicBezTo>
                <a:cubicBezTo>
                  <a:pt x="302" y="166"/>
                  <a:pt x="302" y="166"/>
                  <a:pt x="302" y="166"/>
                </a:cubicBezTo>
                <a:cubicBezTo>
                  <a:pt x="295" y="166"/>
                  <a:pt x="289" y="172"/>
                  <a:pt x="289" y="180"/>
                </a:cubicBezTo>
                <a:lnTo>
                  <a:pt x="289" y="234"/>
                </a:lnTo>
                <a:close/>
                <a:moveTo>
                  <a:pt x="59" y="349"/>
                </a:moveTo>
                <a:cubicBezTo>
                  <a:pt x="59" y="357"/>
                  <a:pt x="65" y="363"/>
                  <a:pt x="72" y="363"/>
                </a:cubicBezTo>
                <a:cubicBezTo>
                  <a:pt x="126" y="363"/>
                  <a:pt x="126" y="363"/>
                  <a:pt x="126" y="363"/>
                </a:cubicBezTo>
                <a:cubicBezTo>
                  <a:pt x="133" y="363"/>
                  <a:pt x="139" y="357"/>
                  <a:pt x="139" y="349"/>
                </a:cubicBezTo>
                <a:cubicBezTo>
                  <a:pt x="139" y="296"/>
                  <a:pt x="139" y="296"/>
                  <a:pt x="139" y="296"/>
                </a:cubicBezTo>
                <a:cubicBezTo>
                  <a:pt x="139" y="289"/>
                  <a:pt x="133" y="283"/>
                  <a:pt x="126" y="283"/>
                </a:cubicBezTo>
                <a:cubicBezTo>
                  <a:pt x="72" y="283"/>
                  <a:pt x="72" y="283"/>
                  <a:pt x="72" y="283"/>
                </a:cubicBezTo>
                <a:cubicBezTo>
                  <a:pt x="65" y="283"/>
                  <a:pt x="59" y="289"/>
                  <a:pt x="59" y="296"/>
                </a:cubicBezTo>
                <a:lnTo>
                  <a:pt x="59" y="349"/>
                </a:lnTo>
                <a:close/>
                <a:moveTo>
                  <a:pt x="174" y="349"/>
                </a:moveTo>
                <a:cubicBezTo>
                  <a:pt x="174" y="357"/>
                  <a:pt x="180" y="363"/>
                  <a:pt x="187" y="363"/>
                </a:cubicBezTo>
                <a:cubicBezTo>
                  <a:pt x="241" y="363"/>
                  <a:pt x="241" y="363"/>
                  <a:pt x="241" y="363"/>
                </a:cubicBezTo>
                <a:cubicBezTo>
                  <a:pt x="248" y="363"/>
                  <a:pt x="254" y="357"/>
                  <a:pt x="254" y="349"/>
                </a:cubicBezTo>
                <a:cubicBezTo>
                  <a:pt x="254" y="295"/>
                  <a:pt x="254" y="295"/>
                  <a:pt x="254" y="295"/>
                </a:cubicBezTo>
                <a:cubicBezTo>
                  <a:pt x="254" y="288"/>
                  <a:pt x="248" y="282"/>
                  <a:pt x="241" y="282"/>
                </a:cubicBezTo>
                <a:cubicBezTo>
                  <a:pt x="187" y="282"/>
                  <a:pt x="187" y="282"/>
                  <a:pt x="187" y="282"/>
                </a:cubicBezTo>
                <a:cubicBezTo>
                  <a:pt x="180" y="282"/>
                  <a:pt x="174" y="288"/>
                  <a:pt x="174" y="295"/>
                </a:cubicBezTo>
                <a:lnTo>
                  <a:pt x="174" y="349"/>
                </a:lnTo>
                <a:close/>
                <a:moveTo>
                  <a:pt x="289" y="349"/>
                </a:moveTo>
                <a:cubicBezTo>
                  <a:pt x="289" y="357"/>
                  <a:pt x="295" y="363"/>
                  <a:pt x="302" y="363"/>
                </a:cubicBezTo>
                <a:cubicBezTo>
                  <a:pt x="356" y="363"/>
                  <a:pt x="356" y="363"/>
                  <a:pt x="356" y="363"/>
                </a:cubicBezTo>
                <a:cubicBezTo>
                  <a:pt x="363" y="363"/>
                  <a:pt x="369" y="357"/>
                  <a:pt x="369" y="349"/>
                </a:cubicBezTo>
                <a:cubicBezTo>
                  <a:pt x="369" y="295"/>
                  <a:pt x="369" y="295"/>
                  <a:pt x="369" y="295"/>
                </a:cubicBezTo>
                <a:cubicBezTo>
                  <a:pt x="369" y="288"/>
                  <a:pt x="363" y="282"/>
                  <a:pt x="356" y="282"/>
                </a:cubicBezTo>
                <a:cubicBezTo>
                  <a:pt x="302" y="282"/>
                  <a:pt x="302" y="282"/>
                  <a:pt x="302" y="282"/>
                </a:cubicBezTo>
                <a:cubicBezTo>
                  <a:pt x="295" y="282"/>
                  <a:pt x="289" y="288"/>
                  <a:pt x="289" y="295"/>
                </a:cubicBezTo>
                <a:lnTo>
                  <a:pt x="289" y="349"/>
                </a:lnTo>
                <a:close/>
                <a:moveTo>
                  <a:pt x="406" y="119"/>
                </a:moveTo>
                <a:cubicBezTo>
                  <a:pt x="406" y="127"/>
                  <a:pt x="412" y="133"/>
                  <a:pt x="419" y="133"/>
                </a:cubicBezTo>
                <a:cubicBezTo>
                  <a:pt x="473" y="133"/>
                  <a:pt x="473" y="133"/>
                  <a:pt x="473" y="133"/>
                </a:cubicBezTo>
                <a:cubicBezTo>
                  <a:pt x="480" y="133"/>
                  <a:pt x="486" y="127"/>
                  <a:pt x="486" y="119"/>
                </a:cubicBezTo>
                <a:cubicBezTo>
                  <a:pt x="486" y="66"/>
                  <a:pt x="486" y="66"/>
                  <a:pt x="486" y="66"/>
                </a:cubicBezTo>
                <a:cubicBezTo>
                  <a:pt x="486" y="59"/>
                  <a:pt x="480" y="53"/>
                  <a:pt x="473" y="53"/>
                </a:cubicBezTo>
                <a:cubicBezTo>
                  <a:pt x="419" y="53"/>
                  <a:pt x="419" y="53"/>
                  <a:pt x="419" y="53"/>
                </a:cubicBezTo>
                <a:cubicBezTo>
                  <a:pt x="412" y="53"/>
                  <a:pt x="406" y="59"/>
                  <a:pt x="406" y="66"/>
                </a:cubicBezTo>
                <a:lnTo>
                  <a:pt x="406" y="119"/>
                </a:lnTo>
                <a:close/>
                <a:moveTo>
                  <a:pt x="407" y="231"/>
                </a:moveTo>
                <a:cubicBezTo>
                  <a:pt x="407" y="239"/>
                  <a:pt x="412" y="245"/>
                  <a:pt x="420" y="245"/>
                </a:cubicBezTo>
                <a:cubicBezTo>
                  <a:pt x="473" y="245"/>
                  <a:pt x="473" y="245"/>
                  <a:pt x="473" y="245"/>
                </a:cubicBezTo>
                <a:cubicBezTo>
                  <a:pt x="481" y="245"/>
                  <a:pt x="487" y="239"/>
                  <a:pt x="487" y="231"/>
                </a:cubicBezTo>
                <a:cubicBezTo>
                  <a:pt x="487" y="178"/>
                  <a:pt x="487" y="178"/>
                  <a:pt x="487" y="178"/>
                </a:cubicBezTo>
                <a:cubicBezTo>
                  <a:pt x="487" y="170"/>
                  <a:pt x="481" y="164"/>
                  <a:pt x="473" y="164"/>
                </a:cubicBezTo>
                <a:cubicBezTo>
                  <a:pt x="420" y="164"/>
                  <a:pt x="420" y="164"/>
                  <a:pt x="420" y="164"/>
                </a:cubicBezTo>
                <a:cubicBezTo>
                  <a:pt x="412" y="164"/>
                  <a:pt x="407" y="170"/>
                  <a:pt x="407" y="178"/>
                </a:cubicBezTo>
                <a:lnTo>
                  <a:pt x="407" y="231"/>
                </a:lnTo>
                <a:close/>
                <a:moveTo>
                  <a:pt x="407" y="347"/>
                </a:moveTo>
                <a:cubicBezTo>
                  <a:pt x="407" y="354"/>
                  <a:pt x="412" y="360"/>
                  <a:pt x="420" y="360"/>
                </a:cubicBezTo>
                <a:cubicBezTo>
                  <a:pt x="473" y="360"/>
                  <a:pt x="473" y="360"/>
                  <a:pt x="473" y="360"/>
                </a:cubicBezTo>
                <a:cubicBezTo>
                  <a:pt x="481" y="360"/>
                  <a:pt x="487" y="354"/>
                  <a:pt x="487" y="347"/>
                </a:cubicBezTo>
                <a:cubicBezTo>
                  <a:pt x="487" y="293"/>
                  <a:pt x="487" y="293"/>
                  <a:pt x="487" y="293"/>
                </a:cubicBezTo>
                <a:cubicBezTo>
                  <a:pt x="487" y="286"/>
                  <a:pt x="481" y="280"/>
                  <a:pt x="473" y="280"/>
                </a:cubicBezTo>
                <a:cubicBezTo>
                  <a:pt x="420" y="280"/>
                  <a:pt x="420" y="280"/>
                  <a:pt x="420" y="280"/>
                </a:cubicBezTo>
                <a:cubicBezTo>
                  <a:pt x="412" y="280"/>
                  <a:pt x="407" y="286"/>
                  <a:pt x="407" y="293"/>
                </a:cubicBezTo>
                <a:lnTo>
                  <a:pt x="407" y="347"/>
                </a:lnTo>
                <a:close/>
                <a:moveTo>
                  <a:pt x="59" y="465"/>
                </a:moveTo>
                <a:cubicBezTo>
                  <a:pt x="59" y="472"/>
                  <a:pt x="65" y="478"/>
                  <a:pt x="72" y="478"/>
                </a:cubicBezTo>
                <a:cubicBezTo>
                  <a:pt x="126" y="478"/>
                  <a:pt x="126" y="478"/>
                  <a:pt x="126" y="478"/>
                </a:cubicBezTo>
                <a:cubicBezTo>
                  <a:pt x="133" y="478"/>
                  <a:pt x="139" y="472"/>
                  <a:pt x="139" y="465"/>
                </a:cubicBezTo>
                <a:cubicBezTo>
                  <a:pt x="139" y="412"/>
                  <a:pt x="139" y="412"/>
                  <a:pt x="139" y="412"/>
                </a:cubicBezTo>
                <a:cubicBezTo>
                  <a:pt x="139" y="404"/>
                  <a:pt x="133" y="398"/>
                  <a:pt x="126" y="398"/>
                </a:cubicBezTo>
                <a:cubicBezTo>
                  <a:pt x="72" y="398"/>
                  <a:pt x="72" y="398"/>
                  <a:pt x="72" y="398"/>
                </a:cubicBezTo>
                <a:cubicBezTo>
                  <a:pt x="65" y="398"/>
                  <a:pt x="59" y="404"/>
                  <a:pt x="59" y="412"/>
                </a:cubicBezTo>
                <a:lnTo>
                  <a:pt x="59" y="465"/>
                </a:lnTo>
                <a:close/>
                <a:moveTo>
                  <a:pt x="174" y="465"/>
                </a:moveTo>
                <a:cubicBezTo>
                  <a:pt x="174" y="472"/>
                  <a:pt x="180" y="478"/>
                  <a:pt x="187" y="478"/>
                </a:cubicBezTo>
                <a:cubicBezTo>
                  <a:pt x="241" y="478"/>
                  <a:pt x="241" y="478"/>
                  <a:pt x="241" y="478"/>
                </a:cubicBezTo>
                <a:cubicBezTo>
                  <a:pt x="248" y="478"/>
                  <a:pt x="254" y="472"/>
                  <a:pt x="254" y="465"/>
                </a:cubicBezTo>
                <a:cubicBezTo>
                  <a:pt x="254" y="411"/>
                  <a:pt x="254" y="411"/>
                  <a:pt x="254" y="411"/>
                </a:cubicBezTo>
                <a:cubicBezTo>
                  <a:pt x="254" y="404"/>
                  <a:pt x="248" y="398"/>
                  <a:pt x="241" y="398"/>
                </a:cubicBezTo>
                <a:cubicBezTo>
                  <a:pt x="187" y="398"/>
                  <a:pt x="187" y="398"/>
                  <a:pt x="187" y="398"/>
                </a:cubicBezTo>
                <a:cubicBezTo>
                  <a:pt x="180" y="398"/>
                  <a:pt x="174" y="404"/>
                  <a:pt x="174" y="411"/>
                </a:cubicBezTo>
                <a:lnTo>
                  <a:pt x="174" y="465"/>
                </a:lnTo>
                <a:close/>
                <a:moveTo>
                  <a:pt x="289" y="465"/>
                </a:moveTo>
                <a:cubicBezTo>
                  <a:pt x="289" y="472"/>
                  <a:pt x="295" y="478"/>
                  <a:pt x="302" y="478"/>
                </a:cubicBezTo>
                <a:cubicBezTo>
                  <a:pt x="356" y="478"/>
                  <a:pt x="356" y="478"/>
                  <a:pt x="356" y="478"/>
                </a:cubicBezTo>
                <a:cubicBezTo>
                  <a:pt x="363" y="478"/>
                  <a:pt x="369" y="472"/>
                  <a:pt x="369" y="465"/>
                </a:cubicBezTo>
                <a:cubicBezTo>
                  <a:pt x="369" y="411"/>
                  <a:pt x="369" y="411"/>
                  <a:pt x="369" y="411"/>
                </a:cubicBezTo>
                <a:cubicBezTo>
                  <a:pt x="369" y="404"/>
                  <a:pt x="363" y="398"/>
                  <a:pt x="356" y="398"/>
                </a:cubicBezTo>
                <a:cubicBezTo>
                  <a:pt x="302" y="398"/>
                  <a:pt x="302" y="398"/>
                  <a:pt x="302" y="398"/>
                </a:cubicBezTo>
                <a:cubicBezTo>
                  <a:pt x="295" y="398"/>
                  <a:pt x="289" y="404"/>
                  <a:pt x="289" y="411"/>
                </a:cubicBezTo>
                <a:lnTo>
                  <a:pt x="289" y="465"/>
                </a:lnTo>
                <a:close/>
                <a:moveTo>
                  <a:pt x="407" y="463"/>
                </a:moveTo>
                <a:cubicBezTo>
                  <a:pt x="407" y="470"/>
                  <a:pt x="412" y="476"/>
                  <a:pt x="420" y="476"/>
                </a:cubicBezTo>
                <a:cubicBezTo>
                  <a:pt x="473" y="476"/>
                  <a:pt x="473" y="476"/>
                  <a:pt x="473" y="476"/>
                </a:cubicBezTo>
                <a:cubicBezTo>
                  <a:pt x="481" y="476"/>
                  <a:pt x="487" y="470"/>
                  <a:pt x="487" y="463"/>
                </a:cubicBezTo>
                <a:cubicBezTo>
                  <a:pt x="487" y="409"/>
                  <a:pt x="487" y="409"/>
                  <a:pt x="487" y="409"/>
                </a:cubicBezTo>
                <a:cubicBezTo>
                  <a:pt x="487" y="402"/>
                  <a:pt x="481" y="396"/>
                  <a:pt x="473" y="396"/>
                </a:cubicBezTo>
                <a:cubicBezTo>
                  <a:pt x="420" y="396"/>
                  <a:pt x="420" y="396"/>
                  <a:pt x="420" y="396"/>
                </a:cubicBezTo>
                <a:cubicBezTo>
                  <a:pt x="412" y="396"/>
                  <a:pt x="407" y="402"/>
                  <a:pt x="407" y="409"/>
                </a:cubicBezTo>
                <a:lnTo>
                  <a:pt x="407" y="463"/>
                </a:lnTo>
                <a:close/>
              </a:path>
            </a:pathLst>
          </a:custGeom>
          <a:solidFill>
            <a:schemeClr val="tx1"/>
          </a:solidFill>
          <a:ln>
            <a:noFill/>
          </a:ln>
          <a:extLst/>
        </p:spPr>
        <p:txBody>
          <a:bodyPr/>
          <a:lstStyle/>
          <a:p>
            <a:endParaRPr lang="en-US">
              <a:solidFill>
                <a:schemeClr val="tx1">
                  <a:lumMod val="85000"/>
                </a:schemeClr>
              </a:solidFill>
            </a:endParaRPr>
          </a:p>
        </p:txBody>
      </p:sp>
      <p:sp>
        <p:nvSpPr>
          <p:cNvPr id="54" name="Rectangle 115">
            <a:extLst>
              <a:ext uri="{FF2B5EF4-FFF2-40B4-BE49-F238E27FC236}">
                <a16:creationId xmlns:a16="http://schemas.microsoft.com/office/drawing/2014/main" id="{8C19E7D4-BDDA-48D4-80EA-3D2347878612}"/>
              </a:ext>
            </a:extLst>
          </p:cNvPr>
          <p:cNvSpPr/>
          <p:nvPr/>
        </p:nvSpPr>
        <p:spPr>
          <a:xfrm>
            <a:off x="7337214" y="3849877"/>
            <a:ext cx="2393565" cy="323165"/>
          </a:xfrm>
          <a:prstGeom prst="rect">
            <a:avLst/>
          </a:prstGeom>
        </p:spPr>
        <p:txBody>
          <a:bodyPr wrap="square">
            <a:spAutoFit/>
          </a:bodyPr>
          <a:lstStyle/>
          <a:p>
            <a:r>
              <a:rPr lang="en-US" sz="1500" kern="0" dirty="0">
                <a:solidFill>
                  <a:schemeClr val="tx1">
                    <a:lumMod val="85000"/>
                  </a:schemeClr>
                </a:solidFill>
              </a:rPr>
              <a:t>QUALITY OF SERVICE</a:t>
            </a:r>
          </a:p>
        </p:txBody>
      </p:sp>
      <p:sp>
        <p:nvSpPr>
          <p:cNvPr id="55" name="Freeform 3">
            <a:extLst>
              <a:ext uri="{FF2B5EF4-FFF2-40B4-BE49-F238E27FC236}">
                <a16:creationId xmlns:a16="http://schemas.microsoft.com/office/drawing/2014/main" id="{97C8F577-E13D-42D5-9A97-6395AA23F89C}"/>
              </a:ext>
            </a:extLst>
          </p:cNvPr>
          <p:cNvSpPr>
            <a:spLocks noChangeAspect="1" noEditPoints="1"/>
          </p:cNvSpPr>
          <p:nvPr/>
        </p:nvSpPr>
        <p:spPr bwMode="auto">
          <a:xfrm>
            <a:off x="6888245" y="3816146"/>
            <a:ext cx="444790" cy="336729"/>
          </a:xfrm>
          <a:custGeom>
            <a:avLst/>
            <a:gdLst>
              <a:gd name="T0" fmla="*/ 2147483647 w 420"/>
              <a:gd name="T1" fmla="*/ 2147483647 h 318"/>
              <a:gd name="T2" fmla="*/ 2147483647 w 420"/>
              <a:gd name="T3" fmla="*/ 2147483647 h 318"/>
              <a:gd name="T4" fmla="*/ 2147483647 w 420"/>
              <a:gd name="T5" fmla="*/ 2147483647 h 318"/>
              <a:gd name="T6" fmla="*/ 2147483647 w 420"/>
              <a:gd name="T7" fmla="*/ 2147483647 h 318"/>
              <a:gd name="T8" fmla="*/ 2147483647 w 420"/>
              <a:gd name="T9" fmla="*/ 2147483647 h 318"/>
              <a:gd name="T10" fmla="*/ 2147483647 w 420"/>
              <a:gd name="T11" fmla="*/ 2147483647 h 318"/>
              <a:gd name="T12" fmla="*/ 2147483647 w 420"/>
              <a:gd name="T13" fmla="*/ 2147483647 h 318"/>
              <a:gd name="T14" fmla="*/ 2147483647 w 420"/>
              <a:gd name="T15" fmla="*/ 2147483647 h 318"/>
              <a:gd name="T16" fmla="*/ 2147483647 w 420"/>
              <a:gd name="T17" fmla="*/ 2147483647 h 318"/>
              <a:gd name="T18" fmla="*/ 2147483647 w 420"/>
              <a:gd name="T19" fmla="*/ 2147483647 h 318"/>
              <a:gd name="T20" fmla="*/ 2147483647 w 420"/>
              <a:gd name="T21" fmla="*/ 2147483647 h 318"/>
              <a:gd name="T22" fmla="*/ 2147483647 w 420"/>
              <a:gd name="T23" fmla="*/ 2147483647 h 318"/>
              <a:gd name="T24" fmla="*/ 2147483647 w 420"/>
              <a:gd name="T25" fmla="*/ 2147483647 h 318"/>
              <a:gd name="T26" fmla="*/ 2147483647 w 420"/>
              <a:gd name="T27" fmla="*/ 2147483647 h 318"/>
              <a:gd name="T28" fmla="*/ 2147483647 w 420"/>
              <a:gd name="T29" fmla="*/ 2147483647 h 318"/>
              <a:gd name="T30" fmla="*/ 2147483647 w 420"/>
              <a:gd name="T31" fmla="*/ 2147483647 h 318"/>
              <a:gd name="T32" fmla="*/ 2147483647 w 420"/>
              <a:gd name="T33" fmla="*/ 2147483647 h 318"/>
              <a:gd name="T34" fmla="*/ 0 w 420"/>
              <a:gd name="T35" fmla="*/ 2147483647 h 318"/>
              <a:gd name="T36" fmla="*/ 2147483647 w 420"/>
              <a:gd name="T37" fmla="*/ 2147483647 h 318"/>
              <a:gd name="T38" fmla="*/ 2147483647 w 420"/>
              <a:gd name="T39" fmla="*/ 2147483647 h 318"/>
              <a:gd name="T40" fmla="*/ 2147483647 w 420"/>
              <a:gd name="T41" fmla="*/ 2147483647 h 318"/>
              <a:gd name="T42" fmla="*/ 2147483647 w 420"/>
              <a:gd name="T43" fmla="*/ 2147483647 h 318"/>
              <a:gd name="T44" fmla="*/ 2147483647 w 420"/>
              <a:gd name="T45" fmla="*/ 2147483647 h 318"/>
              <a:gd name="T46" fmla="*/ 2147483647 w 420"/>
              <a:gd name="T47" fmla="*/ 2147483647 h 318"/>
              <a:gd name="T48" fmla="*/ 2147483647 w 420"/>
              <a:gd name="T49" fmla="*/ 2147483647 h 318"/>
              <a:gd name="T50" fmla="*/ 2147483647 w 420"/>
              <a:gd name="T51" fmla="*/ 2147483647 h 318"/>
              <a:gd name="T52" fmla="*/ 2147483647 w 420"/>
              <a:gd name="T53" fmla="*/ 2147483647 h 318"/>
              <a:gd name="T54" fmla="*/ 2147483647 w 420"/>
              <a:gd name="T55" fmla="*/ 2147483647 h 318"/>
              <a:gd name="T56" fmla="*/ 2147483647 w 420"/>
              <a:gd name="T57" fmla="*/ 2147483647 h 318"/>
              <a:gd name="T58" fmla="*/ 2147483647 w 420"/>
              <a:gd name="T59" fmla="*/ 2147483647 h 318"/>
              <a:gd name="T60" fmla="*/ 2147483647 w 420"/>
              <a:gd name="T61" fmla="*/ 2147483647 h 318"/>
              <a:gd name="T62" fmla="*/ 2147483647 w 420"/>
              <a:gd name="T63" fmla="*/ 2147483647 h 318"/>
              <a:gd name="T64" fmla="*/ 2147483647 w 420"/>
              <a:gd name="T65" fmla="*/ 2147483647 h 318"/>
              <a:gd name="T66" fmla="*/ 2147483647 w 420"/>
              <a:gd name="T67" fmla="*/ 2147483647 h 318"/>
              <a:gd name="T68" fmla="*/ 2147483647 w 420"/>
              <a:gd name="T69" fmla="*/ 2147483647 h 318"/>
              <a:gd name="T70" fmla="*/ 2147483647 w 420"/>
              <a:gd name="T71" fmla="*/ 2147483647 h 318"/>
              <a:gd name="T72" fmla="*/ 2147483647 w 420"/>
              <a:gd name="T73" fmla="*/ 2147483647 h 318"/>
              <a:gd name="T74" fmla="*/ 2147483647 w 420"/>
              <a:gd name="T75" fmla="*/ 2147483647 h 318"/>
              <a:gd name="T76" fmla="*/ 2147483647 w 420"/>
              <a:gd name="T77" fmla="*/ 2147483647 h 318"/>
              <a:gd name="T78" fmla="*/ 2147483647 w 420"/>
              <a:gd name="T79" fmla="*/ 2147483647 h 318"/>
              <a:gd name="T80" fmla="*/ 2147483647 w 420"/>
              <a:gd name="T81" fmla="*/ 2147483647 h 318"/>
              <a:gd name="T82" fmla="*/ 2147483647 w 420"/>
              <a:gd name="T83" fmla="*/ 2147483647 h 318"/>
              <a:gd name="T84" fmla="*/ 2147483647 w 420"/>
              <a:gd name="T85" fmla="*/ 2147483647 h 318"/>
              <a:gd name="T86" fmla="*/ 2147483647 w 420"/>
              <a:gd name="T87" fmla="*/ 2147483647 h 318"/>
              <a:gd name="T88" fmla="*/ 2147483647 w 420"/>
              <a:gd name="T89" fmla="*/ 2147483647 h 318"/>
              <a:gd name="T90" fmla="*/ 2147483647 w 420"/>
              <a:gd name="T91" fmla="*/ 2147483647 h 318"/>
              <a:gd name="T92" fmla="*/ 2147483647 w 420"/>
              <a:gd name="T93" fmla="*/ 2147483647 h 318"/>
              <a:gd name="T94" fmla="*/ 2147483647 w 420"/>
              <a:gd name="T95" fmla="*/ 2147483647 h 318"/>
              <a:gd name="T96" fmla="*/ 2147483647 w 420"/>
              <a:gd name="T97" fmla="*/ 2147483647 h 318"/>
              <a:gd name="T98" fmla="*/ 2147483647 w 420"/>
              <a:gd name="T99" fmla="*/ 2147483647 h 318"/>
              <a:gd name="T100" fmla="*/ 2147483647 w 420"/>
              <a:gd name="T101" fmla="*/ 2147483647 h 31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20" h="318">
                <a:moveTo>
                  <a:pt x="96" y="127"/>
                </a:moveTo>
                <a:cubicBezTo>
                  <a:pt x="97" y="126"/>
                  <a:pt x="99" y="125"/>
                  <a:pt x="99" y="123"/>
                </a:cubicBezTo>
                <a:cubicBezTo>
                  <a:pt x="103" y="102"/>
                  <a:pt x="103" y="102"/>
                  <a:pt x="103" y="102"/>
                </a:cubicBezTo>
                <a:cubicBezTo>
                  <a:pt x="124" y="98"/>
                  <a:pt x="124" y="98"/>
                  <a:pt x="124" y="98"/>
                </a:cubicBezTo>
                <a:cubicBezTo>
                  <a:pt x="125" y="98"/>
                  <a:pt x="126" y="97"/>
                  <a:pt x="127" y="97"/>
                </a:cubicBezTo>
                <a:cubicBezTo>
                  <a:pt x="127" y="96"/>
                  <a:pt x="128" y="96"/>
                  <a:pt x="128" y="95"/>
                </a:cubicBezTo>
                <a:cubicBezTo>
                  <a:pt x="128" y="93"/>
                  <a:pt x="127" y="91"/>
                  <a:pt x="126" y="90"/>
                </a:cubicBezTo>
                <a:cubicBezTo>
                  <a:pt x="107" y="80"/>
                  <a:pt x="107" y="80"/>
                  <a:pt x="107" y="80"/>
                </a:cubicBezTo>
                <a:cubicBezTo>
                  <a:pt x="110" y="58"/>
                  <a:pt x="110" y="58"/>
                  <a:pt x="110" y="58"/>
                </a:cubicBezTo>
                <a:cubicBezTo>
                  <a:pt x="110" y="57"/>
                  <a:pt x="109" y="55"/>
                  <a:pt x="107" y="54"/>
                </a:cubicBezTo>
                <a:cubicBezTo>
                  <a:pt x="106" y="53"/>
                  <a:pt x="104" y="54"/>
                  <a:pt x="103" y="55"/>
                </a:cubicBezTo>
                <a:cubicBezTo>
                  <a:pt x="87" y="70"/>
                  <a:pt x="87" y="70"/>
                  <a:pt x="87" y="70"/>
                </a:cubicBezTo>
                <a:cubicBezTo>
                  <a:pt x="67" y="60"/>
                  <a:pt x="67" y="60"/>
                  <a:pt x="67" y="60"/>
                </a:cubicBezTo>
                <a:cubicBezTo>
                  <a:pt x="66" y="60"/>
                  <a:pt x="64" y="60"/>
                  <a:pt x="63" y="61"/>
                </a:cubicBezTo>
                <a:cubicBezTo>
                  <a:pt x="61" y="62"/>
                  <a:pt x="61" y="64"/>
                  <a:pt x="62" y="66"/>
                </a:cubicBezTo>
                <a:cubicBezTo>
                  <a:pt x="71" y="86"/>
                  <a:pt x="71" y="86"/>
                  <a:pt x="71" y="86"/>
                </a:cubicBezTo>
                <a:cubicBezTo>
                  <a:pt x="56" y="101"/>
                  <a:pt x="56" y="101"/>
                  <a:pt x="56" y="101"/>
                </a:cubicBezTo>
                <a:cubicBezTo>
                  <a:pt x="55" y="102"/>
                  <a:pt x="55" y="104"/>
                  <a:pt x="55" y="106"/>
                </a:cubicBezTo>
                <a:cubicBezTo>
                  <a:pt x="56" y="107"/>
                  <a:pt x="58" y="108"/>
                  <a:pt x="60" y="108"/>
                </a:cubicBezTo>
                <a:cubicBezTo>
                  <a:pt x="81" y="105"/>
                  <a:pt x="81" y="105"/>
                  <a:pt x="81" y="105"/>
                </a:cubicBezTo>
                <a:cubicBezTo>
                  <a:pt x="91" y="124"/>
                  <a:pt x="91" y="124"/>
                  <a:pt x="91" y="124"/>
                </a:cubicBezTo>
                <a:cubicBezTo>
                  <a:pt x="92" y="126"/>
                  <a:pt x="94" y="127"/>
                  <a:pt x="96" y="127"/>
                </a:cubicBezTo>
                <a:close/>
                <a:moveTo>
                  <a:pt x="193" y="44"/>
                </a:moveTo>
                <a:cubicBezTo>
                  <a:pt x="186" y="65"/>
                  <a:pt x="186" y="65"/>
                  <a:pt x="186" y="65"/>
                </a:cubicBezTo>
                <a:cubicBezTo>
                  <a:pt x="186" y="67"/>
                  <a:pt x="187" y="69"/>
                  <a:pt x="188" y="70"/>
                </a:cubicBezTo>
                <a:cubicBezTo>
                  <a:pt x="189" y="71"/>
                  <a:pt x="191" y="71"/>
                  <a:pt x="193" y="70"/>
                </a:cubicBezTo>
                <a:cubicBezTo>
                  <a:pt x="211" y="57"/>
                  <a:pt x="211" y="57"/>
                  <a:pt x="211" y="57"/>
                </a:cubicBezTo>
                <a:cubicBezTo>
                  <a:pt x="228" y="70"/>
                  <a:pt x="228" y="70"/>
                  <a:pt x="228" y="70"/>
                </a:cubicBezTo>
                <a:cubicBezTo>
                  <a:pt x="229" y="70"/>
                  <a:pt x="230" y="70"/>
                  <a:pt x="231" y="70"/>
                </a:cubicBezTo>
                <a:cubicBezTo>
                  <a:pt x="232" y="70"/>
                  <a:pt x="232" y="70"/>
                  <a:pt x="233" y="70"/>
                </a:cubicBezTo>
                <a:cubicBezTo>
                  <a:pt x="235" y="69"/>
                  <a:pt x="235" y="67"/>
                  <a:pt x="235" y="65"/>
                </a:cubicBezTo>
                <a:cubicBezTo>
                  <a:pt x="228" y="44"/>
                  <a:pt x="228" y="44"/>
                  <a:pt x="228" y="44"/>
                </a:cubicBezTo>
                <a:cubicBezTo>
                  <a:pt x="246" y="31"/>
                  <a:pt x="246" y="31"/>
                  <a:pt x="246" y="31"/>
                </a:cubicBezTo>
                <a:cubicBezTo>
                  <a:pt x="247" y="30"/>
                  <a:pt x="248" y="28"/>
                  <a:pt x="247" y="27"/>
                </a:cubicBezTo>
                <a:cubicBezTo>
                  <a:pt x="247" y="25"/>
                  <a:pt x="245" y="24"/>
                  <a:pt x="243" y="24"/>
                </a:cubicBezTo>
                <a:cubicBezTo>
                  <a:pt x="222" y="23"/>
                  <a:pt x="222" y="23"/>
                  <a:pt x="222" y="23"/>
                </a:cubicBezTo>
                <a:cubicBezTo>
                  <a:pt x="214" y="3"/>
                  <a:pt x="214" y="3"/>
                  <a:pt x="214" y="3"/>
                </a:cubicBezTo>
                <a:cubicBezTo>
                  <a:pt x="214" y="1"/>
                  <a:pt x="212" y="0"/>
                  <a:pt x="211" y="0"/>
                </a:cubicBezTo>
                <a:cubicBezTo>
                  <a:pt x="209" y="0"/>
                  <a:pt x="207" y="1"/>
                  <a:pt x="207" y="3"/>
                </a:cubicBezTo>
                <a:cubicBezTo>
                  <a:pt x="200" y="23"/>
                  <a:pt x="200" y="23"/>
                  <a:pt x="200" y="23"/>
                </a:cubicBezTo>
                <a:cubicBezTo>
                  <a:pt x="178" y="24"/>
                  <a:pt x="178" y="24"/>
                  <a:pt x="178" y="24"/>
                </a:cubicBezTo>
                <a:cubicBezTo>
                  <a:pt x="176" y="24"/>
                  <a:pt x="174" y="25"/>
                  <a:pt x="174" y="27"/>
                </a:cubicBezTo>
                <a:cubicBezTo>
                  <a:pt x="173" y="28"/>
                  <a:pt x="174" y="30"/>
                  <a:pt x="175" y="31"/>
                </a:cubicBezTo>
                <a:lnTo>
                  <a:pt x="193" y="44"/>
                </a:lnTo>
                <a:close/>
                <a:moveTo>
                  <a:pt x="71" y="190"/>
                </a:moveTo>
                <a:cubicBezTo>
                  <a:pt x="71" y="189"/>
                  <a:pt x="71" y="188"/>
                  <a:pt x="70" y="187"/>
                </a:cubicBezTo>
                <a:cubicBezTo>
                  <a:pt x="69" y="186"/>
                  <a:pt x="67" y="185"/>
                  <a:pt x="66" y="186"/>
                </a:cubicBezTo>
                <a:cubicBezTo>
                  <a:pt x="45" y="192"/>
                  <a:pt x="45" y="192"/>
                  <a:pt x="45" y="192"/>
                </a:cubicBezTo>
                <a:cubicBezTo>
                  <a:pt x="32" y="174"/>
                  <a:pt x="32" y="174"/>
                  <a:pt x="32" y="174"/>
                </a:cubicBezTo>
                <a:cubicBezTo>
                  <a:pt x="31" y="173"/>
                  <a:pt x="29" y="172"/>
                  <a:pt x="27" y="173"/>
                </a:cubicBezTo>
                <a:cubicBezTo>
                  <a:pt x="26" y="173"/>
                  <a:pt x="25" y="175"/>
                  <a:pt x="25" y="177"/>
                </a:cubicBezTo>
                <a:cubicBezTo>
                  <a:pt x="24" y="198"/>
                  <a:pt x="24" y="198"/>
                  <a:pt x="24" y="198"/>
                </a:cubicBezTo>
                <a:cubicBezTo>
                  <a:pt x="3" y="205"/>
                  <a:pt x="3" y="205"/>
                  <a:pt x="3" y="205"/>
                </a:cubicBezTo>
                <a:cubicBezTo>
                  <a:pt x="1" y="206"/>
                  <a:pt x="0" y="207"/>
                  <a:pt x="0" y="209"/>
                </a:cubicBezTo>
                <a:cubicBezTo>
                  <a:pt x="0" y="211"/>
                  <a:pt x="1" y="212"/>
                  <a:pt x="3" y="213"/>
                </a:cubicBezTo>
                <a:cubicBezTo>
                  <a:pt x="24" y="221"/>
                  <a:pt x="24" y="221"/>
                  <a:pt x="24" y="221"/>
                </a:cubicBezTo>
                <a:cubicBezTo>
                  <a:pt x="24" y="242"/>
                  <a:pt x="24" y="242"/>
                  <a:pt x="24" y="242"/>
                </a:cubicBezTo>
                <a:cubicBezTo>
                  <a:pt x="24" y="244"/>
                  <a:pt x="25" y="246"/>
                  <a:pt x="26" y="246"/>
                </a:cubicBezTo>
                <a:cubicBezTo>
                  <a:pt x="28" y="247"/>
                  <a:pt x="30" y="246"/>
                  <a:pt x="31" y="245"/>
                </a:cubicBezTo>
                <a:cubicBezTo>
                  <a:pt x="44" y="228"/>
                  <a:pt x="44" y="228"/>
                  <a:pt x="44" y="228"/>
                </a:cubicBezTo>
                <a:cubicBezTo>
                  <a:pt x="65" y="234"/>
                  <a:pt x="65" y="234"/>
                  <a:pt x="65" y="234"/>
                </a:cubicBezTo>
                <a:cubicBezTo>
                  <a:pt x="67" y="235"/>
                  <a:pt x="69" y="234"/>
                  <a:pt x="70" y="233"/>
                </a:cubicBezTo>
                <a:cubicBezTo>
                  <a:pt x="71" y="231"/>
                  <a:pt x="71" y="229"/>
                  <a:pt x="70" y="228"/>
                </a:cubicBezTo>
                <a:cubicBezTo>
                  <a:pt x="58" y="210"/>
                  <a:pt x="58" y="210"/>
                  <a:pt x="58" y="210"/>
                </a:cubicBezTo>
                <a:cubicBezTo>
                  <a:pt x="70" y="192"/>
                  <a:pt x="70" y="192"/>
                  <a:pt x="70" y="192"/>
                </a:cubicBezTo>
                <a:cubicBezTo>
                  <a:pt x="71" y="191"/>
                  <a:pt x="71" y="191"/>
                  <a:pt x="71" y="190"/>
                </a:cubicBezTo>
                <a:close/>
                <a:moveTo>
                  <a:pt x="417" y="205"/>
                </a:moveTo>
                <a:cubicBezTo>
                  <a:pt x="397" y="198"/>
                  <a:pt x="397" y="198"/>
                  <a:pt x="397" y="198"/>
                </a:cubicBezTo>
                <a:cubicBezTo>
                  <a:pt x="396" y="177"/>
                  <a:pt x="396" y="177"/>
                  <a:pt x="396" y="177"/>
                </a:cubicBezTo>
                <a:cubicBezTo>
                  <a:pt x="396" y="175"/>
                  <a:pt x="395" y="173"/>
                  <a:pt x="393" y="173"/>
                </a:cubicBezTo>
                <a:cubicBezTo>
                  <a:pt x="391" y="172"/>
                  <a:pt x="390" y="173"/>
                  <a:pt x="389" y="174"/>
                </a:cubicBezTo>
                <a:cubicBezTo>
                  <a:pt x="376" y="192"/>
                  <a:pt x="376" y="192"/>
                  <a:pt x="376" y="192"/>
                </a:cubicBezTo>
                <a:cubicBezTo>
                  <a:pt x="355" y="186"/>
                  <a:pt x="355" y="186"/>
                  <a:pt x="355" y="186"/>
                </a:cubicBezTo>
                <a:cubicBezTo>
                  <a:pt x="353" y="185"/>
                  <a:pt x="351" y="186"/>
                  <a:pt x="350" y="187"/>
                </a:cubicBezTo>
                <a:cubicBezTo>
                  <a:pt x="350" y="188"/>
                  <a:pt x="349" y="189"/>
                  <a:pt x="349" y="190"/>
                </a:cubicBezTo>
                <a:cubicBezTo>
                  <a:pt x="349" y="191"/>
                  <a:pt x="350" y="191"/>
                  <a:pt x="350" y="192"/>
                </a:cubicBezTo>
                <a:cubicBezTo>
                  <a:pt x="363" y="210"/>
                  <a:pt x="363" y="210"/>
                  <a:pt x="363" y="210"/>
                </a:cubicBezTo>
                <a:cubicBezTo>
                  <a:pt x="351" y="228"/>
                  <a:pt x="351" y="228"/>
                  <a:pt x="351" y="228"/>
                </a:cubicBezTo>
                <a:cubicBezTo>
                  <a:pt x="350" y="229"/>
                  <a:pt x="350" y="231"/>
                  <a:pt x="351" y="233"/>
                </a:cubicBezTo>
                <a:cubicBezTo>
                  <a:pt x="352" y="234"/>
                  <a:pt x="354" y="235"/>
                  <a:pt x="355" y="234"/>
                </a:cubicBezTo>
                <a:cubicBezTo>
                  <a:pt x="376" y="228"/>
                  <a:pt x="376" y="228"/>
                  <a:pt x="376" y="228"/>
                </a:cubicBezTo>
                <a:cubicBezTo>
                  <a:pt x="389" y="245"/>
                  <a:pt x="389" y="245"/>
                  <a:pt x="389" y="245"/>
                </a:cubicBezTo>
                <a:cubicBezTo>
                  <a:pt x="390" y="246"/>
                  <a:pt x="392" y="247"/>
                  <a:pt x="394" y="246"/>
                </a:cubicBezTo>
                <a:cubicBezTo>
                  <a:pt x="396" y="246"/>
                  <a:pt x="397" y="244"/>
                  <a:pt x="397" y="242"/>
                </a:cubicBezTo>
                <a:cubicBezTo>
                  <a:pt x="397" y="221"/>
                  <a:pt x="397" y="221"/>
                  <a:pt x="397" y="221"/>
                </a:cubicBezTo>
                <a:cubicBezTo>
                  <a:pt x="417" y="213"/>
                  <a:pt x="417" y="213"/>
                  <a:pt x="417" y="213"/>
                </a:cubicBezTo>
                <a:cubicBezTo>
                  <a:pt x="419" y="212"/>
                  <a:pt x="420" y="211"/>
                  <a:pt x="420" y="209"/>
                </a:cubicBezTo>
                <a:cubicBezTo>
                  <a:pt x="420" y="207"/>
                  <a:pt x="419" y="206"/>
                  <a:pt x="417" y="205"/>
                </a:cubicBezTo>
                <a:close/>
                <a:moveTo>
                  <a:pt x="371" y="108"/>
                </a:moveTo>
                <a:cubicBezTo>
                  <a:pt x="373" y="108"/>
                  <a:pt x="375" y="107"/>
                  <a:pt x="376" y="106"/>
                </a:cubicBezTo>
                <a:cubicBezTo>
                  <a:pt x="376" y="104"/>
                  <a:pt x="376" y="102"/>
                  <a:pt x="375" y="101"/>
                </a:cubicBezTo>
                <a:cubicBezTo>
                  <a:pt x="360" y="86"/>
                  <a:pt x="360" y="86"/>
                  <a:pt x="360" y="86"/>
                </a:cubicBezTo>
                <a:cubicBezTo>
                  <a:pt x="369" y="66"/>
                  <a:pt x="369" y="66"/>
                  <a:pt x="369" y="66"/>
                </a:cubicBezTo>
                <a:cubicBezTo>
                  <a:pt x="370" y="64"/>
                  <a:pt x="370" y="62"/>
                  <a:pt x="368" y="61"/>
                </a:cubicBezTo>
                <a:cubicBezTo>
                  <a:pt x="367" y="60"/>
                  <a:pt x="365" y="60"/>
                  <a:pt x="364" y="60"/>
                </a:cubicBezTo>
                <a:cubicBezTo>
                  <a:pt x="344" y="70"/>
                  <a:pt x="344" y="70"/>
                  <a:pt x="344" y="70"/>
                </a:cubicBezTo>
                <a:cubicBezTo>
                  <a:pt x="328" y="55"/>
                  <a:pt x="328" y="55"/>
                  <a:pt x="328" y="55"/>
                </a:cubicBezTo>
                <a:cubicBezTo>
                  <a:pt x="327" y="54"/>
                  <a:pt x="325" y="53"/>
                  <a:pt x="324" y="54"/>
                </a:cubicBezTo>
                <a:cubicBezTo>
                  <a:pt x="322" y="55"/>
                  <a:pt x="321" y="57"/>
                  <a:pt x="321" y="58"/>
                </a:cubicBezTo>
                <a:cubicBezTo>
                  <a:pt x="324" y="80"/>
                  <a:pt x="324" y="80"/>
                  <a:pt x="324" y="80"/>
                </a:cubicBezTo>
                <a:cubicBezTo>
                  <a:pt x="305" y="90"/>
                  <a:pt x="305" y="90"/>
                  <a:pt x="305" y="90"/>
                </a:cubicBezTo>
                <a:cubicBezTo>
                  <a:pt x="304" y="91"/>
                  <a:pt x="303" y="93"/>
                  <a:pt x="303" y="95"/>
                </a:cubicBezTo>
                <a:cubicBezTo>
                  <a:pt x="303" y="96"/>
                  <a:pt x="304" y="96"/>
                  <a:pt x="304" y="97"/>
                </a:cubicBezTo>
                <a:cubicBezTo>
                  <a:pt x="305" y="97"/>
                  <a:pt x="306" y="98"/>
                  <a:pt x="307" y="98"/>
                </a:cubicBezTo>
                <a:cubicBezTo>
                  <a:pt x="328" y="102"/>
                  <a:pt x="328" y="102"/>
                  <a:pt x="328" y="102"/>
                </a:cubicBezTo>
                <a:cubicBezTo>
                  <a:pt x="332" y="123"/>
                  <a:pt x="332" y="123"/>
                  <a:pt x="332" y="123"/>
                </a:cubicBezTo>
                <a:cubicBezTo>
                  <a:pt x="332" y="125"/>
                  <a:pt x="334" y="126"/>
                  <a:pt x="335" y="127"/>
                </a:cubicBezTo>
                <a:cubicBezTo>
                  <a:pt x="337" y="127"/>
                  <a:pt x="339" y="126"/>
                  <a:pt x="340" y="124"/>
                </a:cubicBezTo>
                <a:cubicBezTo>
                  <a:pt x="350" y="105"/>
                  <a:pt x="350" y="105"/>
                  <a:pt x="350" y="105"/>
                </a:cubicBezTo>
                <a:lnTo>
                  <a:pt x="371" y="108"/>
                </a:lnTo>
                <a:close/>
                <a:moveTo>
                  <a:pt x="320" y="173"/>
                </a:moveTo>
                <a:cubicBezTo>
                  <a:pt x="242" y="173"/>
                  <a:pt x="242" y="173"/>
                  <a:pt x="242" y="173"/>
                </a:cubicBezTo>
                <a:cubicBezTo>
                  <a:pt x="240" y="167"/>
                  <a:pt x="240" y="167"/>
                  <a:pt x="240" y="167"/>
                </a:cubicBezTo>
                <a:cubicBezTo>
                  <a:pt x="239" y="162"/>
                  <a:pt x="234" y="160"/>
                  <a:pt x="230" y="161"/>
                </a:cubicBezTo>
                <a:cubicBezTo>
                  <a:pt x="226" y="163"/>
                  <a:pt x="223" y="167"/>
                  <a:pt x="225" y="171"/>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29"/>
                  <a:pt x="245" y="233"/>
                </a:cubicBezTo>
                <a:cubicBezTo>
                  <a:pt x="263" y="289"/>
                  <a:pt x="263" y="289"/>
                  <a:pt x="263" y="289"/>
                </a:cubicBezTo>
                <a:cubicBezTo>
                  <a:pt x="215" y="254"/>
                  <a:pt x="215" y="254"/>
                  <a:pt x="215" y="254"/>
                </a:cubicBezTo>
                <a:cubicBezTo>
                  <a:pt x="212" y="252"/>
                  <a:pt x="209" y="252"/>
                  <a:pt x="206" y="254"/>
                </a:cubicBezTo>
                <a:cubicBezTo>
                  <a:pt x="158" y="289"/>
                  <a:pt x="158" y="289"/>
                  <a:pt x="158" y="289"/>
                </a:cubicBezTo>
                <a:cubicBezTo>
                  <a:pt x="176" y="233"/>
                  <a:pt x="176" y="233"/>
                  <a:pt x="176" y="233"/>
                </a:cubicBezTo>
                <a:cubicBezTo>
                  <a:pt x="177" y="229"/>
                  <a:pt x="176" y="226"/>
                  <a:pt x="173"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7"/>
                  <a:pt x="225" y="146"/>
                </a:cubicBezTo>
                <a:cubicBezTo>
                  <a:pt x="229" y="145"/>
                  <a:pt x="231"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5"/>
                  <a:pt x="94" y="179"/>
                </a:cubicBezTo>
                <a:cubicBezTo>
                  <a:pt x="92" y="182"/>
                  <a:pt x="94" y="186"/>
                  <a:pt x="96" y="188"/>
                </a:cubicBezTo>
                <a:cubicBezTo>
                  <a:pt x="159" y="233"/>
                  <a:pt x="159" y="233"/>
                  <a:pt x="159" y="233"/>
                </a:cubicBezTo>
                <a:cubicBezTo>
                  <a:pt x="135" y="307"/>
                  <a:pt x="135" y="307"/>
                  <a:pt x="135" y="307"/>
                </a:cubicBezTo>
                <a:cubicBezTo>
                  <a:pt x="134" y="311"/>
                  <a:pt x="135" y="314"/>
                  <a:pt x="138" y="316"/>
                </a:cubicBezTo>
                <a:cubicBezTo>
                  <a:pt x="140" y="317"/>
                  <a:pt x="141" y="318"/>
                  <a:pt x="143" y="318"/>
                </a:cubicBezTo>
                <a:cubicBezTo>
                  <a:pt x="145" y="318"/>
                  <a:pt x="146" y="317"/>
                  <a:pt x="148" y="316"/>
                </a:cubicBezTo>
                <a:cubicBezTo>
                  <a:pt x="211" y="270"/>
                  <a:pt x="211" y="270"/>
                  <a:pt x="211" y="270"/>
                </a:cubicBezTo>
                <a:cubicBezTo>
                  <a:pt x="273" y="316"/>
                  <a:pt x="273" y="316"/>
                  <a:pt x="273"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7" y="186"/>
                  <a:pt x="329" y="182"/>
                  <a:pt x="328" y="179"/>
                </a:cubicBezTo>
                <a:cubicBezTo>
                  <a:pt x="326" y="175"/>
                  <a:pt x="323" y="173"/>
                  <a:pt x="320" y="173"/>
                </a:cubicBezTo>
                <a:close/>
              </a:path>
            </a:pathLst>
          </a:custGeom>
          <a:solidFill>
            <a:schemeClr val="tx1"/>
          </a:solidFill>
          <a:ln>
            <a:noFill/>
          </a:ln>
        </p:spPr>
        <p:txBody>
          <a:bodyPr/>
          <a:lstStyle/>
          <a:p>
            <a:endParaRPr lang="en-US" sz="1600">
              <a:solidFill>
                <a:schemeClr val="tx1">
                  <a:lumMod val="85000"/>
                </a:schemeClr>
              </a:solidFill>
            </a:endParaRPr>
          </a:p>
        </p:txBody>
      </p:sp>
      <p:sp>
        <p:nvSpPr>
          <p:cNvPr id="56" name="Rectangle 115">
            <a:extLst>
              <a:ext uri="{FF2B5EF4-FFF2-40B4-BE49-F238E27FC236}">
                <a16:creationId xmlns:a16="http://schemas.microsoft.com/office/drawing/2014/main" id="{0F6D7452-40DD-422E-8673-E184F8192FB3}"/>
              </a:ext>
            </a:extLst>
          </p:cNvPr>
          <p:cNvSpPr/>
          <p:nvPr/>
        </p:nvSpPr>
        <p:spPr>
          <a:xfrm>
            <a:off x="7337214" y="4954087"/>
            <a:ext cx="3228714" cy="323165"/>
          </a:xfrm>
          <a:prstGeom prst="rect">
            <a:avLst/>
          </a:prstGeom>
        </p:spPr>
        <p:txBody>
          <a:bodyPr wrap="square">
            <a:spAutoFit/>
          </a:bodyPr>
          <a:lstStyle/>
          <a:p>
            <a:r>
              <a:rPr lang="en-US" sz="1500" kern="0" dirty="0">
                <a:solidFill>
                  <a:schemeClr val="tx1">
                    <a:lumMod val="85000"/>
                  </a:schemeClr>
                </a:solidFill>
              </a:rPr>
              <a:t>TOTAL COST OF OWNERSHIP</a:t>
            </a:r>
          </a:p>
        </p:txBody>
      </p:sp>
      <p:sp>
        <p:nvSpPr>
          <p:cNvPr id="22" name="Title 1">
            <a:extLst>
              <a:ext uri="{FF2B5EF4-FFF2-40B4-BE49-F238E27FC236}">
                <a16:creationId xmlns:a16="http://schemas.microsoft.com/office/drawing/2014/main" id="{EB996B68-C352-4858-BA20-7B610E74E100}"/>
              </a:ext>
            </a:extLst>
          </p:cNvPr>
          <p:cNvSpPr txBox="1">
            <a:spLocks/>
          </p:cNvSpPr>
          <p:nvPr/>
        </p:nvSpPr>
        <p:spPr>
          <a:xfrm>
            <a:off x="810000" y="447188"/>
            <a:ext cx="5590800" cy="970450"/>
          </a:xfrm>
          <a:prstGeom prst="rect">
            <a:avLst/>
          </a:prstGeom>
          <a:effectLst>
            <a:outerShdw blurRad="50800" dir="14400000">
              <a:srgbClr val="000000">
                <a:alpha val="60000"/>
              </a:srgbClr>
            </a:outerShdw>
          </a:effectLst>
        </p:spPr>
        <p:txBody>
          <a:bodyPr vert="horz" lIns="91440" tIns="45720" rIns="91440" bIns="45720" rtlCol="0" anchor="b">
            <a:noAutofit/>
          </a:bodyPr>
          <a:lst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sv-SE" dirty="0" smtClean="0"/>
              <a:t>Cellular facilitates IoT</a:t>
            </a:r>
            <a:endParaRPr lang="sv-SE" dirty="0"/>
          </a:p>
        </p:txBody>
      </p:sp>
    </p:spTree>
    <p:extLst>
      <p:ext uri="{BB962C8B-B14F-4D97-AF65-F5344CB8AC3E}">
        <p14:creationId xmlns:p14="http://schemas.microsoft.com/office/powerpoint/2010/main" val="41021467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48"/>
          <p:cNvSpPr/>
          <p:nvPr/>
        </p:nvSpPr>
        <p:spPr bwMode="auto">
          <a:xfrm>
            <a:off x="524936" y="5428630"/>
            <a:ext cx="10829914" cy="1235139"/>
          </a:xfrm>
          <a:prstGeom prst="roundRect">
            <a:avLst>
              <a:gd name="adj" fmla="val 0"/>
            </a:avLst>
          </a:prstGeom>
          <a:solidFill>
            <a:srgbClr val="FFFFFF">
              <a:alpha val="10000"/>
            </a:srgb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effectLst/>
              <a:latin typeface="Arial" charset="0"/>
            </a:endParaRPr>
          </a:p>
        </p:txBody>
      </p:sp>
      <p:sp>
        <p:nvSpPr>
          <p:cNvPr id="5" name="Rektangel med rundade hörn 207"/>
          <p:cNvSpPr/>
          <p:nvPr/>
        </p:nvSpPr>
        <p:spPr bwMode="auto">
          <a:xfrm>
            <a:off x="2344701" y="2497506"/>
            <a:ext cx="795647" cy="2577007"/>
          </a:xfrm>
          <a:prstGeom prst="roundRect">
            <a:avLst>
              <a:gd name="adj" fmla="val 0"/>
            </a:avLst>
          </a:prstGeom>
          <a:solidFill>
            <a:srgbClr val="FFFFFF">
              <a:alpha val="10000"/>
            </a:srgb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effectLst/>
              <a:latin typeface="Arial" charset="0"/>
            </a:endParaRPr>
          </a:p>
        </p:txBody>
      </p:sp>
      <p:sp>
        <p:nvSpPr>
          <p:cNvPr id="6" name="Freeform 23"/>
          <p:cNvSpPr>
            <a:spLocks noChangeAspect="1"/>
          </p:cNvSpPr>
          <p:nvPr/>
        </p:nvSpPr>
        <p:spPr bwMode="auto">
          <a:xfrm>
            <a:off x="9940397" y="2497507"/>
            <a:ext cx="1897188" cy="2577006"/>
          </a:xfrm>
          <a:custGeom>
            <a:avLst/>
            <a:gdLst>
              <a:gd name="T0" fmla="*/ 2147483647 w 259"/>
              <a:gd name="T1" fmla="*/ 2147483647 h 439"/>
              <a:gd name="T2" fmla="*/ 2147483647 w 259"/>
              <a:gd name="T3" fmla="*/ 2147483647 h 439"/>
              <a:gd name="T4" fmla="*/ 2147483647 w 259"/>
              <a:gd name="T5" fmla="*/ 0 h 439"/>
              <a:gd name="T6" fmla="*/ 2147483647 w 259"/>
              <a:gd name="T7" fmla="*/ 0 h 439"/>
              <a:gd name="T8" fmla="*/ 0 w 259"/>
              <a:gd name="T9" fmla="*/ 2147483647 h 439"/>
              <a:gd name="T10" fmla="*/ 0 w 259"/>
              <a:gd name="T11" fmla="*/ 2147483647 h 439"/>
              <a:gd name="T12" fmla="*/ 2147483647 w 259"/>
              <a:gd name="T13" fmla="*/ 2147483647 h 439"/>
              <a:gd name="T14" fmla="*/ 2147483647 w 259"/>
              <a:gd name="T15" fmla="*/ 2147483647 h 439"/>
              <a:gd name="T16" fmla="*/ 2147483647 w 259"/>
              <a:gd name="T17" fmla="*/ 2147483647 h 439"/>
              <a:gd name="T18" fmla="*/ 2147483647 w 259"/>
              <a:gd name="T19" fmla="*/ 2147483647 h 439"/>
              <a:gd name="T20" fmla="*/ 2147483647 w 259"/>
              <a:gd name="T21" fmla="*/ 2147483647 h 4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9"/>
              <a:gd name="T34" fmla="*/ 0 h 439"/>
              <a:gd name="T35" fmla="*/ 259 w 259"/>
              <a:gd name="T36" fmla="*/ 439 h 4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9" h="439">
                <a:moveTo>
                  <a:pt x="248" y="197"/>
                </a:moveTo>
                <a:cubicBezTo>
                  <a:pt x="163" y="21"/>
                  <a:pt x="163" y="21"/>
                  <a:pt x="163" y="21"/>
                </a:cubicBezTo>
                <a:cubicBezTo>
                  <a:pt x="163" y="21"/>
                  <a:pt x="153" y="0"/>
                  <a:pt x="136" y="0"/>
                </a:cubicBezTo>
                <a:cubicBezTo>
                  <a:pt x="136" y="0"/>
                  <a:pt x="21" y="0"/>
                  <a:pt x="21" y="0"/>
                </a:cubicBezTo>
                <a:cubicBezTo>
                  <a:pt x="9" y="0"/>
                  <a:pt x="0" y="10"/>
                  <a:pt x="0" y="21"/>
                </a:cubicBezTo>
                <a:cubicBezTo>
                  <a:pt x="0" y="418"/>
                  <a:pt x="0" y="418"/>
                  <a:pt x="0" y="418"/>
                </a:cubicBezTo>
                <a:cubicBezTo>
                  <a:pt x="0" y="430"/>
                  <a:pt x="9" y="439"/>
                  <a:pt x="21" y="439"/>
                </a:cubicBezTo>
                <a:cubicBezTo>
                  <a:pt x="21" y="439"/>
                  <a:pt x="136" y="439"/>
                  <a:pt x="136" y="439"/>
                </a:cubicBezTo>
                <a:cubicBezTo>
                  <a:pt x="152" y="439"/>
                  <a:pt x="163" y="418"/>
                  <a:pt x="163" y="418"/>
                </a:cubicBezTo>
                <a:cubicBezTo>
                  <a:pt x="163" y="418"/>
                  <a:pt x="236" y="267"/>
                  <a:pt x="248" y="243"/>
                </a:cubicBezTo>
                <a:cubicBezTo>
                  <a:pt x="259" y="218"/>
                  <a:pt x="248" y="197"/>
                  <a:pt x="248" y="197"/>
                </a:cubicBezTo>
                <a:close/>
              </a:path>
            </a:pathLst>
          </a:custGeom>
          <a:gradFill flip="none" rotWithShape="1">
            <a:gsLst>
              <a:gs pos="23000">
                <a:srgbClr val="C2C2C2">
                  <a:alpha val="0"/>
                </a:srgbClr>
              </a:gs>
              <a:gs pos="100000">
                <a:schemeClr val="bg1">
                  <a:alpha val="18000"/>
                </a:schemeClr>
              </a:gs>
            </a:gsLst>
            <a:lin ang="0" scaled="1"/>
            <a:tileRect/>
          </a:gradFill>
          <a:ln>
            <a:noFill/>
          </a:ln>
        </p:spPr>
        <p:txBody>
          <a:bodyPr anchor="ctr"/>
          <a:lstStyle/>
          <a:p>
            <a:pPr>
              <a:spcBef>
                <a:spcPct val="50000"/>
              </a:spcBef>
            </a:pPr>
            <a:endParaRPr lang="sv-SE" dirty="0">
              <a:ea typeface="MS PGothic" charset="0"/>
              <a:cs typeface="MS PGothic" charset="0"/>
            </a:endParaRPr>
          </a:p>
        </p:txBody>
      </p:sp>
      <p:sp>
        <p:nvSpPr>
          <p:cNvPr id="7" name="Freeform 23"/>
          <p:cNvSpPr>
            <a:spLocks noChangeAspect="1"/>
          </p:cNvSpPr>
          <p:nvPr/>
        </p:nvSpPr>
        <p:spPr bwMode="auto">
          <a:xfrm>
            <a:off x="4196996" y="2497507"/>
            <a:ext cx="1897188" cy="2577006"/>
          </a:xfrm>
          <a:custGeom>
            <a:avLst/>
            <a:gdLst>
              <a:gd name="T0" fmla="*/ 2147483647 w 259"/>
              <a:gd name="T1" fmla="*/ 2147483647 h 439"/>
              <a:gd name="T2" fmla="*/ 2147483647 w 259"/>
              <a:gd name="T3" fmla="*/ 2147483647 h 439"/>
              <a:gd name="T4" fmla="*/ 2147483647 w 259"/>
              <a:gd name="T5" fmla="*/ 0 h 439"/>
              <a:gd name="T6" fmla="*/ 2147483647 w 259"/>
              <a:gd name="T7" fmla="*/ 0 h 439"/>
              <a:gd name="T8" fmla="*/ 0 w 259"/>
              <a:gd name="T9" fmla="*/ 2147483647 h 439"/>
              <a:gd name="T10" fmla="*/ 0 w 259"/>
              <a:gd name="T11" fmla="*/ 2147483647 h 439"/>
              <a:gd name="T12" fmla="*/ 2147483647 w 259"/>
              <a:gd name="T13" fmla="*/ 2147483647 h 439"/>
              <a:gd name="T14" fmla="*/ 2147483647 w 259"/>
              <a:gd name="T15" fmla="*/ 2147483647 h 439"/>
              <a:gd name="T16" fmla="*/ 2147483647 w 259"/>
              <a:gd name="T17" fmla="*/ 2147483647 h 439"/>
              <a:gd name="T18" fmla="*/ 2147483647 w 259"/>
              <a:gd name="T19" fmla="*/ 2147483647 h 439"/>
              <a:gd name="T20" fmla="*/ 2147483647 w 259"/>
              <a:gd name="T21" fmla="*/ 2147483647 h 4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9"/>
              <a:gd name="T34" fmla="*/ 0 h 439"/>
              <a:gd name="T35" fmla="*/ 259 w 259"/>
              <a:gd name="T36" fmla="*/ 439 h 4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9" h="439">
                <a:moveTo>
                  <a:pt x="248" y="197"/>
                </a:moveTo>
                <a:cubicBezTo>
                  <a:pt x="163" y="21"/>
                  <a:pt x="163" y="21"/>
                  <a:pt x="163" y="21"/>
                </a:cubicBezTo>
                <a:cubicBezTo>
                  <a:pt x="163" y="21"/>
                  <a:pt x="153" y="0"/>
                  <a:pt x="136" y="0"/>
                </a:cubicBezTo>
                <a:cubicBezTo>
                  <a:pt x="136" y="0"/>
                  <a:pt x="21" y="0"/>
                  <a:pt x="21" y="0"/>
                </a:cubicBezTo>
                <a:cubicBezTo>
                  <a:pt x="9" y="0"/>
                  <a:pt x="0" y="10"/>
                  <a:pt x="0" y="21"/>
                </a:cubicBezTo>
                <a:cubicBezTo>
                  <a:pt x="0" y="418"/>
                  <a:pt x="0" y="418"/>
                  <a:pt x="0" y="418"/>
                </a:cubicBezTo>
                <a:cubicBezTo>
                  <a:pt x="0" y="430"/>
                  <a:pt x="9" y="439"/>
                  <a:pt x="21" y="439"/>
                </a:cubicBezTo>
                <a:cubicBezTo>
                  <a:pt x="21" y="439"/>
                  <a:pt x="136" y="439"/>
                  <a:pt x="136" y="439"/>
                </a:cubicBezTo>
                <a:cubicBezTo>
                  <a:pt x="152" y="439"/>
                  <a:pt x="163" y="418"/>
                  <a:pt x="163" y="418"/>
                </a:cubicBezTo>
                <a:cubicBezTo>
                  <a:pt x="163" y="418"/>
                  <a:pt x="236" y="267"/>
                  <a:pt x="248" y="243"/>
                </a:cubicBezTo>
                <a:cubicBezTo>
                  <a:pt x="259" y="218"/>
                  <a:pt x="248" y="197"/>
                  <a:pt x="248" y="197"/>
                </a:cubicBezTo>
                <a:close/>
              </a:path>
            </a:pathLst>
          </a:custGeom>
          <a:gradFill flip="none" rotWithShape="1">
            <a:gsLst>
              <a:gs pos="23000">
                <a:srgbClr val="C2C2C2">
                  <a:alpha val="0"/>
                </a:srgbClr>
              </a:gs>
              <a:gs pos="100000">
                <a:schemeClr val="bg1">
                  <a:alpha val="18000"/>
                </a:schemeClr>
              </a:gs>
            </a:gsLst>
            <a:lin ang="0" scaled="1"/>
            <a:tileRect/>
          </a:gradFill>
          <a:ln>
            <a:noFill/>
          </a:ln>
        </p:spPr>
        <p:txBody>
          <a:bodyPr anchor="ctr"/>
          <a:lstStyle/>
          <a:p>
            <a:pPr>
              <a:spcBef>
                <a:spcPct val="50000"/>
              </a:spcBef>
            </a:pPr>
            <a:endParaRPr lang="sv-SE" dirty="0">
              <a:ea typeface="MS PGothic" charset="0"/>
              <a:cs typeface="MS PGothic" charset="0"/>
            </a:endParaRPr>
          </a:p>
        </p:txBody>
      </p:sp>
      <p:sp>
        <p:nvSpPr>
          <p:cNvPr id="8" name="Freeform 23"/>
          <p:cNvSpPr>
            <a:spLocks noChangeAspect="1"/>
          </p:cNvSpPr>
          <p:nvPr/>
        </p:nvSpPr>
        <p:spPr bwMode="auto">
          <a:xfrm>
            <a:off x="7066066" y="2497507"/>
            <a:ext cx="1897188" cy="2577006"/>
          </a:xfrm>
          <a:custGeom>
            <a:avLst/>
            <a:gdLst>
              <a:gd name="T0" fmla="*/ 2147483647 w 259"/>
              <a:gd name="T1" fmla="*/ 2147483647 h 439"/>
              <a:gd name="T2" fmla="*/ 2147483647 w 259"/>
              <a:gd name="T3" fmla="*/ 2147483647 h 439"/>
              <a:gd name="T4" fmla="*/ 2147483647 w 259"/>
              <a:gd name="T5" fmla="*/ 0 h 439"/>
              <a:gd name="T6" fmla="*/ 2147483647 w 259"/>
              <a:gd name="T7" fmla="*/ 0 h 439"/>
              <a:gd name="T8" fmla="*/ 0 w 259"/>
              <a:gd name="T9" fmla="*/ 2147483647 h 439"/>
              <a:gd name="T10" fmla="*/ 0 w 259"/>
              <a:gd name="T11" fmla="*/ 2147483647 h 439"/>
              <a:gd name="T12" fmla="*/ 2147483647 w 259"/>
              <a:gd name="T13" fmla="*/ 2147483647 h 439"/>
              <a:gd name="T14" fmla="*/ 2147483647 w 259"/>
              <a:gd name="T15" fmla="*/ 2147483647 h 439"/>
              <a:gd name="T16" fmla="*/ 2147483647 w 259"/>
              <a:gd name="T17" fmla="*/ 2147483647 h 439"/>
              <a:gd name="T18" fmla="*/ 2147483647 w 259"/>
              <a:gd name="T19" fmla="*/ 2147483647 h 439"/>
              <a:gd name="T20" fmla="*/ 2147483647 w 259"/>
              <a:gd name="T21" fmla="*/ 2147483647 h 4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9"/>
              <a:gd name="T34" fmla="*/ 0 h 439"/>
              <a:gd name="T35" fmla="*/ 259 w 259"/>
              <a:gd name="T36" fmla="*/ 439 h 4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9" h="439">
                <a:moveTo>
                  <a:pt x="248" y="197"/>
                </a:moveTo>
                <a:cubicBezTo>
                  <a:pt x="163" y="21"/>
                  <a:pt x="163" y="21"/>
                  <a:pt x="163" y="21"/>
                </a:cubicBezTo>
                <a:cubicBezTo>
                  <a:pt x="163" y="21"/>
                  <a:pt x="153" y="0"/>
                  <a:pt x="136" y="0"/>
                </a:cubicBezTo>
                <a:cubicBezTo>
                  <a:pt x="136" y="0"/>
                  <a:pt x="21" y="0"/>
                  <a:pt x="21" y="0"/>
                </a:cubicBezTo>
                <a:cubicBezTo>
                  <a:pt x="9" y="0"/>
                  <a:pt x="0" y="10"/>
                  <a:pt x="0" y="21"/>
                </a:cubicBezTo>
                <a:cubicBezTo>
                  <a:pt x="0" y="418"/>
                  <a:pt x="0" y="418"/>
                  <a:pt x="0" y="418"/>
                </a:cubicBezTo>
                <a:cubicBezTo>
                  <a:pt x="0" y="430"/>
                  <a:pt x="9" y="439"/>
                  <a:pt x="21" y="439"/>
                </a:cubicBezTo>
                <a:cubicBezTo>
                  <a:pt x="21" y="439"/>
                  <a:pt x="136" y="439"/>
                  <a:pt x="136" y="439"/>
                </a:cubicBezTo>
                <a:cubicBezTo>
                  <a:pt x="152" y="439"/>
                  <a:pt x="163" y="418"/>
                  <a:pt x="163" y="418"/>
                </a:cubicBezTo>
                <a:cubicBezTo>
                  <a:pt x="163" y="418"/>
                  <a:pt x="236" y="267"/>
                  <a:pt x="248" y="243"/>
                </a:cubicBezTo>
                <a:cubicBezTo>
                  <a:pt x="259" y="218"/>
                  <a:pt x="248" y="197"/>
                  <a:pt x="248" y="197"/>
                </a:cubicBezTo>
                <a:close/>
              </a:path>
            </a:pathLst>
          </a:custGeom>
          <a:gradFill flip="none" rotWithShape="1">
            <a:gsLst>
              <a:gs pos="23000">
                <a:srgbClr val="C2C2C2">
                  <a:alpha val="0"/>
                </a:srgbClr>
              </a:gs>
              <a:gs pos="100000">
                <a:schemeClr val="bg1">
                  <a:alpha val="18000"/>
                </a:schemeClr>
              </a:gs>
            </a:gsLst>
            <a:lin ang="0" scaled="1"/>
            <a:tileRect/>
          </a:gradFill>
          <a:ln>
            <a:noFill/>
          </a:ln>
        </p:spPr>
        <p:txBody>
          <a:bodyPr anchor="ctr"/>
          <a:lstStyle/>
          <a:p>
            <a:pPr>
              <a:spcBef>
                <a:spcPct val="50000"/>
              </a:spcBef>
            </a:pPr>
            <a:endParaRPr lang="sv-SE" dirty="0">
              <a:ea typeface="MS PGothic" charset="0"/>
              <a:cs typeface="MS PGothic" charset="0"/>
            </a:endParaRPr>
          </a:p>
        </p:txBody>
      </p:sp>
      <p:sp>
        <p:nvSpPr>
          <p:cNvPr id="9" name="Freeform 3"/>
          <p:cNvSpPr>
            <a:spLocks noChangeAspect="1"/>
          </p:cNvSpPr>
          <p:nvPr/>
        </p:nvSpPr>
        <p:spPr bwMode="auto">
          <a:xfrm>
            <a:off x="9433027" y="4524408"/>
            <a:ext cx="242077" cy="153545"/>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FFFF"/>
          </a:solidFill>
          <a:ln>
            <a:noFill/>
          </a:ln>
        </p:spPr>
        <p:txBody>
          <a:bodyPr/>
          <a:lstStyle/>
          <a:p>
            <a:endParaRPr lang="sv-SE"/>
          </a:p>
        </p:txBody>
      </p:sp>
      <p:sp>
        <p:nvSpPr>
          <p:cNvPr id="10" name="Title 2"/>
          <p:cNvSpPr>
            <a:spLocks noGrp="1"/>
          </p:cNvSpPr>
          <p:nvPr>
            <p:ph type="title"/>
          </p:nvPr>
        </p:nvSpPr>
        <p:spPr>
          <a:xfrm>
            <a:off x="334748" y="295208"/>
            <a:ext cx="11667065" cy="1085371"/>
          </a:xfrm>
        </p:spPr>
        <p:txBody>
          <a:bodyPr>
            <a:normAutofit/>
          </a:bodyPr>
          <a:lstStyle/>
          <a:p>
            <a:r>
              <a:rPr lang="en-US" sz="3200" dirty="0">
                <a:solidFill>
                  <a:srgbClr val="FFFFFF"/>
                </a:solidFill>
              </a:rPr>
              <a:t>Cellular IoT Use case evolution with supporting technology</a:t>
            </a:r>
          </a:p>
        </p:txBody>
      </p:sp>
      <p:cxnSp>
        <p:nvCxnSpPr>
          <p:cNvPr id="11" name="Rak 116"/>
          <p:cNvCxnSpPr/>
          <p:nvPr/>
        </p:nvCxnSpPr>
        <p:spPr bwMode="auto">
          <a:xfrm>
            <a:off x="3696368" y="5599919"/>
            <a:ext cx="0" cy="917758"/>
          </a:xfrm>
          <a:prstGeom prst="line">
            <a:avLst/>
          </a:prstGeom>
          <a:solidFill>
            <a:schemeClr val="accent1"/>
          </a:solidFill>
          <a:ln w="12700" cap="flat" cmpd="sng" algn="ctr">
            <a:solidFill>
              <a:srgbClr val="FFFFFF"/>
            </a:solidFill>
            <a:prstDash val="solid"/>
            <a:round/>
            <a:headEnd type="none" w="med" len="med"/>
            <a:tailEnd type="none" w="med" len="med"/>
          </a:ln>
          <a:effectLst/>
        </p:spPr>
      </p:cxnSp>
      <p:cxnSp>
        <p:nvCxnSpPr>
          <p:cNvPr id="12" name="Rak 117"/>
          <p:cNvCxnSpPr/>
          <p:nvPr/>
        </p:nvCxnSpPr>
        <p:spPr bwMode="auto">
          <a:xfrm>
            <a:off x="6169681" y="5599919"/>
            <a:ext cx="0" cy="917758"/>
          </a:xfrm>
          <a:prstGeom prst="line">
            <a:avLst/>
          </a:prstGeom>
          <a:solidFill>
            <a:schemeClr val="accent1"/>
          </a:solidFill>
          <a:ln w="12700" cap="flat" cmpd="sng" algn="ctr">
            <a:solidFill>
              <a:srgbClr val="FFFFFF"/>
            </a:solidFill>
            <a:prstDash val="solid"/>
            <a:round/>
            <a:headEnd type="none" w="med" len="med"/>
            <a:tailEnd type="none" w="med" len="med"/>
          </a:ln>
          <a:effectLst/>
        </p:spPr>
      </p:cxnSp>
      <p:cxnSp>
        <p:nvCxnSpPr>
          <p:cNvPr id="13" name="Rak 119"/>
          <p:cNvCxnSpPr/>
          <p:nvPr/>
        </p:nvCxnSpPr>
        <p:spPr bwMode="auto">
          <a:xfrm>
            <a:off x="8875294" y="5599919"/>
            <a:ext cx="0" cy="917758"/>
          </a:xfrm>
          <a:prstGeom prst="line">
            <a:avLst/>
          </a:prstGeom>
          <a:solidFill>
            <a:schemeClr val="accent1"/>
          </a:solidFill>
          <a:ln w="12700" cap="flat" cmpd="sng" algn="ctr">
            <a:solidFill>
              <a:srgbClr val="FFFFFF"/>
            </a:solidFill>
            <a:prstDash val="solid"/>
            <a:round/>
            <a:headEnd type="none" w="med" len="med"/>
            <a:tailEnd type="none" w="med" len="med"/>
          </a:ln>
          <a:effectLst/>
        </p:spPr>
      </p:cxnSp>
      <p:sp>
        <p:nvSpPr>
          <p:cNvPr id="14" name="TextBox 67"/>
          <p:cNvSpPr txBox="1"/>
          <p:nvPr/>
        </p:nvSpPr>
        <p:spPr>
          <a:xfrm>
            <a:off x="3814178" y="5586551"/>
            <a:ext cx="2127883" cy="1077218"/>
          </a:xfrm>
          <a:prstGeom prst="rect">
            <a:avLst/>
          </a:prstGeom>
          <a:noFill/>
          <a:ln>
            <a:noFill/>
          </a:ln>
          <a:extLst>
            <a:ext uri="{91240B29-F687-4f45-9708-019B960494DF}">
              <a14:hiddenLine xmlns:a14="http://schemas.microsoft.com/office/drawing/2010/main" xmlns=""/>
            </a:ext>
          </a:extLst>
        </p:spPr>
        <p:txBody>
          <a:bodyPr wrap="square" lIns="0" tIns="0" rIns="0" bIns="0" rtlCol="0" anchor="t" anchorCtr="0">
            <a:noAutofit/>
          </a:bodyPr>
          <a:lstStyle/>
          <a:p>
            <a:pPr>
              <a:spcBef>
                <a:spcPts val="300"/>
              </a:spcBef>
            </a:pPr>
            <a:r>
              <a:rPr lang="en-US" sz="1200" dirty="0"/>
              <a:t>Multi-standard network</a:t>
            </a:r>
            <a:br>
              <a:rPr lang="en-US" sz="1200" dirty="0"/>
            </a:br>
            <a:r>
              <a:rPr lang="en-US" sz="1200" dirty="0"/>
              <a:t>Cat-M1/NB-IoT</a:t>
            </a:r>
            <a:br>
              <a:rPr lang="en-US" sz="1200" dirty="0"/>
            </a:br>
            <a:r>
              <a:rPr lang="en-US" sz="1200" dirty="0"/>
              <a:t>Cloud optimized network functions</a:t>
            </a:r>
            <a:br>
              <a:rPr lang="en-US" sz="1200" dirty="0"/>
            </a:br>
            <a:r>
              <a:rPr lang="en-US" sz="1200" dirty="0"/>
              <a:t>VNF orchestration</a:t>
            </a:r>
          </a:p>
        </p:txBody>
      </p:sp>
      <p:sp>
        <p:nvSpPr>
          <p:cNvPr id="15" name="TextBox 68"/>
          <p:cNvSpPr txBox="1"/>
          <p:nvPr/>
        </p:nvSpPr>
        <p:spPr>
          <a:xfrm>
            <a:off x="6284676" y="5586551"/>
            <a:ext cx="2403524" cy="943156"/>
          </a:xfrm>
          <a:prstGeom prst="rect">
            <a:avLst/>
          </a:prstGeom>
          <a:noFill/>
          <a:ln>
            <a:noFill/>
          </a:ln>
          <a:extLst>
            <a:ext uri="{91240B29-F687-4f45-9708-019B960494DF}">
              <a14:hiddenLine xmlns:a14="http://schemas.microsoft.com/office/drawing/2010/main" xmlns=""/>
            </a:ext>
          </a:extLst>
        </p:spPr>
        <p:txBody>
          <a:bodyPr wrap="square" lIns="0" tIns="0" rIns="0" bIns="0" rtlCol="0" anchor="t" anchorCtr="0">
            <a:noAutofit/>
          </a:bodyPr>
          <a:lstStyle/>
          <a:p>
            <a:pPr>
              <a:spcBef>
                <a:spcPts val="300"/>
              </a:spcBef>
            </a:pPr>
            <a:r>
              <a:rPr lang="en-US" sz="1200" dirty="0"/>
              <a:t>Gigabit LTE (TDD, FDD, LAA)</a:t>
            </a:r>
            <a:br>
              <a:rPr lang="en-US" sz="1200" dirty="0"/>
            </a:br>
            <a:r>
              <a:rPr lang="en-US" sz="1200" dirty="0"/>
              <a:t>Massive MIMO </a:t>
            </a:r>
            <a:br>
              <a:rPr lang="en-US" sz="1200" dirty="0"/>
            </a:br>
            <a:r>
              <a:rPr lang="en-US" sz="1200" dirty="0"/>
              <a:t>Network Slicing </a:t>
            </a:r>
            <a:br>
              <a:rPr lang="en-US" sz="1200" dirty="0"/>
            </a:br>
            <a:r>
              <a:rPr lang="en-US" sz="1200" dirty="0"/>
              <a:t>Dynamic service orchestration</a:t>
            </a:r>
            <a:br>
              <a:rPr lang="en-US" sz="1200" dirty="0"/>
            </a:br>
            <a:r>
              <a:rPr lang="en-US" sz="1200" dirty="0"/>
              <a:t>Predictive analytics</a:t>
            </a:r>
          </a:p>
        </p:txBody>
      </p:sp>
      <p:sp>
        <p:nvSpPr>
          <p:cNvPr id="16" name="TextBox 69"/>
          <p:cNvSpPr txBox="1"/>
          <p:nvPr/>
        </p:nvSpPr>
        <p:spPr>
          <a:xfrm>
            <a:off x="8987351" y="5586551"/>
            <a:ext cx="2301296" cy="1003313"/>
          </a:xfrm>
          <a:prstGeom prst="rect">
            <a:avLst/>
          </a:prstGeom>
          <a:noFill/>
          <a:ln>
            <a:noFill/>
          </a:ln>
          <a:extLst>
            <a:ext uri="{91240B29-F687-4f45-9708-019B960494DF}">
              <a14:hiddenLine xmlns:a14="http://schemas.microsoft.com/office/drawing/2010/main" xmlns=""/>
            </a:ext>
          </a:extLst>
        </p:spPr>
        <p:txBody>
          <a:bodyPr wrap="square" lIns="0" tIns="0" rIns="0" bIns="0" rtlCol="0" anchor="t" anchorCtr="0">
            <a:noAutofit/>
          </a:bodyPr>
          <a:lstStyle/>
          <a:p>
            <a:pPr>
              <a:spcBef>
                <a:spcPts val="300"/>
              </a:spcBef>
            </a:pPr>
            <a:r>
              <a:rPr lang="en-US" sz="1200" dirty="0"/>
              <a:t>5G NR</a:t>
            </a:r>
            <a:br>
              <a:rPr lang="en-US" sz="1200" dirty="0"/>
            </a:br>
            <a:r>
              <a:rPr lang="en-US" sz="1200" dirty="0"/>
              <a:t>Virtualized RAN </a:t>
            </a:r>
            <a:br>
              <a:rPr lang="en-US" sz="1200" dirty="0"/>
            </a:br>
            <a:r>
              <a:rPr lang="en-US" sz="1200" dirty="0"/>
              <a:t>Federated network slicing</a:t>
            </a:r>
            <a:br>
              <a:rPr lang="en-US" sz="1200" dirty="0"/>
            </a:br>
            <a:r>
              <a:rPr lang="en-US" sz="1200" dirty="0"/>
              <a:t>Distributed Cloud</a:t>
            </a:r>
            <a:br>
              <a:rPr lang="en-US" sz="1200" dirty="0"/>
            </a:br>
            <a:r>
              <a:rPr lang="en-US" sz="1200" dirty="0"/>
              <a:t>Real time machine learning/AI </a:t>
            </a:r>
          </a:p>
        </p:txBody>
      </p:sp>
      <p:grpSp>
        <p:nvGrpSpPr>
          <p:cNvPr id="17" name="Grupp 4"/>
          <p:cNvGrpSpPr/>
          <p:nvPr/>
        </p:nvGrpSpPr>
        <p:grpSpPr>
          <a:xfrm>
            <a:off x="524935" y="2497507"/>
            <a:ext cx="10829915" cy="2577006"/>
            <a:chOff x="785286" y="2248117"/>
            <a:chExt cx="10577538" cy="2577006"/>
          </a:xfrm>
        </p:grpSpPr>
        <p:cxnSp>
          <p:nvCxnSpPr>
            <p:cNvPr id="18" name="Rak 156"/>
            <p:cNvCxnSpPr/>
            <p:nvPr/>
          </p:nvCxnSpPr>
          <p:spPr bwMode="auto">
            <a:xfrm>
              <a:off x="785286" y="2248117"/>
              <a:ext cx="1057753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9" name="Rak 156"/>
            <p:cNvCxnSpPr/>
            <p:nvPr/>
          </p:nvCxnSpPr>
          <p:spPr bwMode="auto">
            <a:xfrm>
              <a:off x="785286" y="2892369"/>
              <a:ext cx="1057753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0" name="Rak 156"/>
            <p:cNvCxnSpPr/>
            <p:nvPr/>
          </p:nvCxnSpPr>
          <p:spPr bwMode="auto">
            <a:xfrm flipV="1">
              <a:off x="785286" y="3536619"/>
              <a:ext cx="10577538" cy="2"/>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1" name="Rak 156"/>
            <p:cNvCxnSpPr/>
            <p:nvPr/>
          </p:nvCxnSpPr>
          <p:spPr bwMode="auto">
            <a:xfrm>
              <a:off x="785286" y="4180873"/>
              <a:ext cx="1057753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2" name="Rak 156"/>
            <p:cNvCxnSpPr/>
            <p:nvPr/>
          </p:nvCxnSpPr>
          <p:spPr bwMode="auto">
            <a:xfrm>
              <a:off x="785286" y="4825123"/>
              <a:ext cx="10183169"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sp>
        <p:nvSpPr>
          <p:cNvPr id="23" name="Freeform 3"/>
          <p:cNvSpPr>
            <a:spLocks noChangeAspect="1" noEditPoints="1"/>
          </p:cNvSpPr>
          <p:nvPr/>
        </p:nvSpPr>
        <p:spPr bwMode="auto">
          <a:xfrm>
            <a:off x="3898506" y="2871743"/>
            <a:ext cx="191945" cy="193032"/>
          </a:xfrm>
          <a:custGeom>
            <a:avLst/>
            <a:gdLst>
              <a:gd name="T0" fmla="*/ 2147483647 w 374"/>
              <a:gd name="T1" fmla="*/ 2147483647 h 376"/>
              <a:gd name="T2" fmla="*/ 2147483647 w 374"/>
              <a:gd name="T3" fmla="*/ 2147483647 h 376"/>
              <a:gd name="T4" fmla="*/ 2147483647 w 374"/>
              <a:gd name="T5" fmla="*/ 2147483647 h 376"/>
              <a:gd name="T6" fmla="*/ 2147483647 w 374"/>
              <a:gd name="T7" fmla="*/ 2147483647 h 376"/>
              <a:gd name="T8" fmla="*/ 2147483647 w 374"/>
              <a:gd name="T9" fmla="*/ 2147483647 h 376"/>
              <a:gd name="T10" fmla="*/ 2147483647 w 374"/>
              <a:gd name="T11" fmla="*/ 2147483647 h 376"/>
              <a:gd name="T12" fmla="*/ 2147483647 w 374"/>
              <a:gd name="T13" fmla="*/ 2147483647 h 376"/>
              <a:gd name="T14" fmla="*/ 2147483647 w 374"/>
              <a:gd name="T15" fmla="*/ 2147483647 h 376"/>
              <a:gd name="T16" fmla="*/ 2147483647 w 374"/>
              <a:gd name="T17" fmla="*/ 2147483647 h 376"/>
              <a:gd name="T18" fmla="*/ 2147483647 w 374"/>
              <a:gd name="T19" fmla="*/ 2147483647 h 376"/>
              <a:gd name="T20" fmla="*/ 2147483647 w 374"/>
              <a:gd name="T21" fmla="*/ 2147483647 h 376"/>
              <a:gd name="T22" fmla="*/ 2147483647 w 374"/>
              <a:gd name="T23" fmla="*/ 2147483647 h 376"/>
              <a:gd name="T24" fmla="*/ 2147483647 w 374"/>
              <a:gd name="T25" fmla="*/ 2147483647 h 376"/>
              <a:gd name="T26" fmla="*/ 2147483647 w 374"/>
              <a:gd name="T27" fmla="*/ 2147483647 h 376"/>
              <a:gd name="T28" fmla="*/ 2147483647 w 374"/>
              <a:gd name="T29" fmla="*/ 2147483647 h 376"/>
              <a:gd name="T30" fmla="*/ 2147483647 w 374"/>
              <a:gd name="T31" fmla="*/ 2147483647 h 376"/>
              <a:gd name="T32" fmla="*/ 2147483647 w 374"/>
              <a:gd name="T33" fmla="*/ 2147483647 h 376"/>
              <a:gd name="T34" fmla="*/ 2147483647 w 374"/>
              <a:gd name="T35" fmla="*/ 2147483647 h 376"/>
              <a:gd name="T36" fmla="*/ 2147483647 w 374"/>
              <a:gd name="T37" fmla="*/ 2147483647 h 376"/>
              <a:gd name="T38" fmla="*/ 2147483647 w 374"/>
              <a:gd name="T39" fmla="*/ 2147483647 h 376"/>
              <a:gd name="T40" fmla="*/ 2147483647 w 374"/>
              <a:gd name="T41" fmla="*/ 2147483647 h 376"/>
              <a:gd name="T42" fmla="*/ 2147483647 w 374"/>
              <a:gd name="T43" fmla="*/ 2147483647 h 376"/>
              <a:gd name="T44" fmla="*/ 2147483647 w 374"/>
              <a:gd name="T45" fmla="*/ 2147483647 h 376"/>
              <a:gd name="T46" fmla="*/ 2147483647 w 374"/>
              <a:gd name="T47" fmla="*/ 2147483647 h 376"/>
              <a:gd name="T48" fmla="*/ 2147483647 w 374"/>
              <a:gd name="T49" fmla="*/ 2147483647 h 376"/>
              <a:gd name="T50" fmla="*/ 2147483647 w 374"/>
              <a:gd name="T51" fmla="*/ 2147483647 h 376"/>
              <a:gd name="T52" fmla="*/ 2147483647 w 374"/>
              <a:gd name="T53" fmla="*/ 2147483647 h 376"/>
              <a:gd name="T54" fmla="*/ 2147483647 w 374"/>
              <a:gd name="T55" fmla="*/ 2147483647 h 376"/>
              <a:gd name="T56" fmla="*/ 2147483647 w 374"/>
              <a:gd name="T57" fmla="*/ 2147483647 h 376"/>
              <a:gd name="T58" fmla="*/ 2147483647 w 374"/>
              <a:gd name="T59" fmla="*/ 2147483647 h 376"/>
              <a:gd name="T60" fmla="*/ 2147483647 w 374"/>
              <a:gd name="T61" fmla="*/ 2147483647 h 376"/>
              <a:gd name="T62" fmla="*/ 2147483647 w 374"/>
              <a:gd name="T63" fmla="*/ 2147483647 h 376"/>
              <a:gd name="T64" fmla="*/ 0 w 374"/>
              <a:gd name="T65" fmla="*/ 2147483647 h 376"/>
              <a:gd name="T66" fmla="*/ 2147483647 w 374"/>
              <a:gd name="T67" fmla="*/ 2147483647 h 376"/>
              <a:gd name="T68" fmla="*/ 2147483647 w 374"/>
              <a:gd name="T69" fmla="*/ 2147483647 h 376"/>
              <a:gd name="T70" fmla="*/ 2147483647 w 374"/>
              <a:gd name="T71" fmla="*/ 2147483647 h 376"/>
              <a:gd name="T72" fmla="*/ 2147483647 w 374"/>
              <a:gd name="T73" fmla="*/ 2147483647 h 376"/>
              <a:gd name="T74" fmla="*/ 2147483647 w 374"/>
              <a:gd name="T75" fmla="*/ 2147483647 h 376"/>
              <a:gd name="T76" fmla="*/ 2147483647 w 374"/>
              <a:gd name="T77" fmla="*/ 2147483647 h 376"/>
              <a:gd name="T78" fmla="*/ 2147483647 w 374"/>
              <a:gd name="T79" fmla="*/ 2147483647 h 376"/>
              <a:gd name="T80" fmla="*/ 2147483647 w 374"/>
              <a:gd name="T81" fmla="*/ 2147483647 h 376"/>
              <a:gd name="T82" fmla="*/ 2147483647 w 374"/>
              <a:gd name="T83" fmla="*/ 2147483647 h 376"/>
              <a:gd name="T84" fmla="*/ 2147483647 w 374"/>
              <a:gd name="T85" fmla="*/ 2147483647 h 376"/>
              <a:gd name="T86" fmla="*/ 2147483647 w 374"/>
              <a:gd name="T87" fmla="*/ 2147483647 h 376"/>
              <a:gd name="T88" fmla="*/ 2147483647 w 374"/>
              <a:gd name="T89" fmla="*/ 2147483647 h 376"/>
              <a:gd name="T90" fmla="*/ 2147483647 w 374"/>
              <a:gd name="T91" fmla="*/ 2147483647 h 376"/>
              <a:gd name="T92" fmla="*/ 2147483647 w 374"/>
              <a:gd name="T93" fmla="*/ 2147483647 h 376"/>
              <a:gd name="T94" fmla="*/ 2147483647 w 374"/>
              <a:gd name="T95" fmla="*/ 2147483647 h 37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4" h="376">
                <a:moveTo>
                  <a:pt x="239" y="252"/>
                </a:moveTo>
                <a:cubicBezTo>
                  <a:pt x="236" y="249"/>
                  <a:pt x="231" y="249"/>
                  <a:pt x="228" y="252"/>
                </a:cubicBezTo>
                <a:cubicBezTo>
                  <a:pt x="225" y="255"/>
                  <a:pt x="225" y="260"/>
                  <a:pt x="228" y="263"/>
                </a:cubicBezTo>
                <a:cubicBezTo>
                  <a:pt x="306" y="341"/>
                  <a:pt x="306" y="341"/>
                  <a:pt x="306" y="341"/>
                </a:cubicBezTo>
                <a:cubicBezTo>
                  <a:pt x="309" y="345"/>
                  <a:pt x="314" y="345"/>
                  <a:pt x="317" y="341"/>
                </a:cubicBezTo>
                <a:cubicBezTo>
                  <a:pt x="320" y="338"/>
                  <a:pt x="320" y="333"/>
                  <a:pt x="317" y="330"/>
                </a:cubicBezTo>
                <a:lnTo>
                  <a:pt x="239" y="252"/>
                </a:lnTo>
                <a:close/>
                <a:moveTo>
                  <a:pt x="34" y="297"/>
                </a:moveTo>
                <a:cubicBezTo>
                  <a:pt x="29" y="303"/>
                  <a:pt x="29" y="312"/>
                  <a:pt x="34" y="317"/>
                </a:cubicBezTo>
                <a:cubicBezTo>
                  <a:pt x="39" y="322"/>
                  <a:pt x="48" y="322"/>
                  <a:pt x="54" y="317"/>
                </a:cubicBezTo>
                <a:cubicBezTo>
                  <a:pt x="59" y="312"/>
                  <a:pt x="59" y="303"/>
                  <a:pt x="54" y="297"/>
                </a:cubicBezTo>
                <a:cubicBezTo>
                  <a:pt x="48" y="292"/>
                  <a:pt x="39" y="292"/>
                  <a:pt x="34" y="297"/>
                </a:cubicBezTo>
                <a:close/>
                <a:moveTo>
                  <a:pt x="242" y="83"/>
                </a:moveTo>
                <a:cubicBezTo>
                  <a:pt x="236" y="80"/>
                  <a:pt x="228" y="81"/>
                  <a:pt x="225" y="86"/>
                </a:cubicBezTo>
                <a:cubicBezTo>
                  <a:pt x="221" y="93"/>
                  <a:pt x="221" y="93"/>
                  <a:pt x="221" y="93"/>
                </a:cubicBezTo>
                <a:cubicBezTo>
                  <a:pt x="218" y="97"/>
                  <a:pt x="219" y="103"/>
                  <a:pt x="223" y="107"/>
                </a:cubicBezTo>
                <a:cubicBezTo>
                  <a:pt x="224" y="108"/>
                  <a:pt x="224" y="109"/>
                  <a:pt x="225" y="109"/>
                </a:cubicBezTo>
                <a:cubicBezTo>
                  <a:pt x="238" y="118"/>
                  <a:pt x="238" y="118"/>
                  <a:pt x="238" y="118"/>
                </a:cubicBezTo>
                <a:cubicBezTo>
                  <a:pt x="241" y="119"/>
                  <a:pt x="244" y="120"/>
                  <a:pt x="247" y="120"/>
                </a:cubicBezTo>
                <a:cubicBezTo>
                  <a:pt x="250" y="120"/>
                  <a:pt x="253" y="118"/>
                  <a:pt x="255" y="115"/>
                </a:cubicBezTo>
                <a:cubicBezTo>
                  <a:pt x="259" y="109"/>
                  <a:pt x="259" y="109"/>
                  <a:pt x="259" y="109"/>
                </a:cubicBezTo>
                <a:cubicBezTo>
                  <a:pt x="262" y="104"/>
                  <a:pt x="261" y="98"/>
                  <a:pt x="257" y="94"/>
                </a:cubicBezTo>
                <a:cubicBezTo>
                  <a:pt x="257" y="93"/>
                  <a:pt x="256" y="92"/>
                  <a:pt x="255" y="92"/>
                </a:cubicBezTo>
                <a:lnTo>
                  <a:pt x="242" y="83"/>
                </a:lnTo>
                <a:close/>
                <a:moveTo>
                  <a:pt x="356" y="282"/>
                </a:moveTo>
                <a:cubicBezTo>
                  <a:pt x="274" y="200"/>
                  <a:pt x="274" y="200"/>
                  <a:pt x="274" y="200"/>
                </a:cubicBezTo>
                <a:cubicBezTo>
                  <a:pt x="266" y="191"/>
                  <a:pt x="255" y="193"/>
                  <a:pt x="247" y="195"/>
                </a:cubicBezTo>
                <a:cubicBezTo>
                  <a:pt x="238" y="196"/>
                  <a:pt x="233" y="197"/>
                  <a:pt x="229" y="193"/>
                </a:cubicBezTo>
                <a:cubicBezTo>
                  <a:pt x="215" y="179"/>
                  <a:pt x="215" y="179"/>
                  <a:pt x="215" y="179"/>
                </a:cubicBezTo>
                <a:cubicBezTo>
                  <a:pt x="219" y="174"/>
                  <a:pt x="222" y="171"/>
                  <a:pt x="222" y="171"/>
                </a:cubicBezTo>
                <a:cubicBezTo>
                  <a:pt x="245" y="148"/>
                  <a:pt x="258" y="146"/>
                  <a:pt x="271" y="145"/>
                </a:cubicBezTo>
                <a:cubicBezTo>
                  <a:pt x="284" y="144"/>
                  <a:pt x="298" y="143"/>
                  <a:pt x="317" y="123"/>
                </a:cubicBezTo>
                <a:cubicBezTo>
                  <a:pt x="323" y="117"/>
                  <a:pt x="328" y="110"/>
                  <a:pt x="331" y="103"/>
                </a:cubicBezTo>
                <a:cubicBezTo>
                  <a:pt x="331" y="103"/>
                  <a:pt x="331" y="103"/>
                  <a:pt x="331" y="103"/>
                </a:cubicBezTo>
                <a:cubicBezTo>
                  <a:pt x="331" y="103"/>
                  <a:pt x="331" y="103"/>
                  <a:pt x="331" y="103"/>
                </a:cubicBezTo>
                <a:cubicBezTo>
                  <a:pt x="333" y="99"/>
                  <a:pt x="332" y="94"/>
                  <a:pt x="328" y="92"/>
                </a:cubicBezTo>
                <a:cubicBezTo>
                  <a:pt x="324" y="90"/>
                  <a:pt x="319" y="92"/>
                  <a:pt x="317" y="96"/>
                </a:cubicBezTo>
                <a:cubicBezTo>
                  <a:pt x="317" y="96"/>
                  <a:pt x="317" y="96"/>
                  <a:pt x="317" y="96"/>
                </a:cubicBezTo>
                <a:cubicBezTo>
                  <a:pt x="317" y="96"/>
                  <a:pt x="317" y="96"/>
                  <a:pt x="317" y="96"/>
                </a:cubicBezTo>
                <a:cubicBezTo>
                  <a:pt x="317" y="96"/>
                  <a:pt x="317" y="96"/>
                  <a:pt x="317" y="96"/>
                </a:cubicBezTo>
                <a:cubicBezTo>
                  <a:pt x="317" y="96"/>
                  <a:pt x="317" y="96"/>
                  <a:pt x="317" y="96"/>
                </a:cubicBezTo>
                <a:cubicBezTo>
                  <a:pt x="314" y="102"/>
                  <a:pt x="311" y="107"/>
                  <a:pt x="306" y="112"/>
                </a:cubicBezTo>
                <a:cubicBezTo>
                  <a:pt x="291" y="127"/>
                  <a:pt x="281" y="128"/>
                  <a:pt x="270" y="129"/>
                </a:cubicBezTo>
                <a:cubicBezTo>
                  <a:pt x="255" y="130"/>
                  <a:pt x="237" y="133"/>
                  <a:pt x="210" y="160"/>
                </a:cubicBezTo>
                <a:cubicBezTo>
                  <a:pt x="209" y="162"/>
                  <a:pt x="71" y="316"/>
                  <a:pt x="64" y="323"/>
                </a:cubicBezTo>
                <a:cubicBezTo>
                  <a:pt x="64" y="323"/>
                  <a:pt x="64" y="323"/>
                  <a:pt x="64" y="323"/>
                </a:cubicBezTo>
                <a:cubicBezTo>
                  <a:pt x="60" y="327"/>
                  <a:pt x="54" y="335"/>
                  <a:pt x="45" y="335"/>
                </a:cubicBezTo>
                <a:cubicBezTo>
                  <a:pt x="39" y="335"/>
                  <a:pt x="33" y="332"/>
                  <a:pt x="26" y="325"/>
                </a:cubicBezTo>
                <a:cubicBezTo>
                  <a:pt x="19" y="318"/>
                  <a:pt x="16" y="312"/>
                  <a:pt x="16" y="306"/>
                </a:cubicBezTo>
                <a:cubicBezTo>
                  <a:pt x="16" y="299"/>
                  <a:pt x="22" y="293"/>
                  <a:pt x="26" y="289"/>
                </a:cubicBezTo>
                <a:cubicBezTo>
                  <a:pt x="27" y="287"/>
                  <a:pt x="27" y="287"/>
                  <a:pt x="27" y="287"/>
                </a:cubicBezTo>
                <a:cubicBezTo>
                  <a:pt x="182" y="133"/>
                  <a:pt x="182" y="133"/>
                  <a:pt x="182" y="133"/>
                </a:cubicBezTo>
                <a:cubicBezTo>
                  <a:pt x="183" y="131"/>
                  <a:pt x="216" y="100"/>
                  <a:pt x="210" y="49"/>
                </a:cubicBezTo>
                <a:cubicBezTo>
                  <a:pt x="221" y="55"/>
                  <a:pt x="221" y="55"/>
                  <a:pt x="221" y="55"/>
                </a:cubicBezTo>
                <a:cubicBezTo>
                  <a:pt x="223" y="56"/>
                  <a:pt x="225" y="56"/>
                  <a:pt x="227" y="56"/>
                </a:cubicBezTo>
                <a:cubicBezTo>
                  <a:pt x="229" y="55"/>
                  <a:pt x="231" y="53"/>
                  <a:pt x="232" y="51"/>
                </a:cubicBezTo>
                <a:cubicBezTo>
                  <a:pt x="232" y="50"/>
                  <a:pt x="242" y="27"/>
                  <a:pt x="266" y="19"/>
                </a:cubicBezTo>
                <a:cubicBezTo>
                  <a:pt x="252" y="46"/>
                  <a:pt x="252" y="46"/>
                  <a:pt x="252" y="46"/>
                </a:cubicBezTo>
                <a:cubicBezTo>
                  <a:pt x="251" y="48"/>
                  <a:pt x="251" y="51"/>
                  <a:pt x="252" y="53"/>
                </a:cubicBezTo>
                <a:cubicBezTo>
                  <a:pt x="264" y="79"/>
                  <a:pt x="264" y="79"/>
                  <a:pt x="264" y="79"/>
                </a:cubicBezTo>
                <a:cubicBezTo>
                  <a:pt x="266" y="82"/>
                  <a:pt x="269" y="84"/>
                  <a:pt x="272" y="84"/>
                </a:cubicBezTo>
                <a:cubicBezTo>
                  <a:pt x="297" y="82"/>
                  <a:pt x="297" y="82"/>
                  <a:pt x="297" y="82"/>
                </a:cubicBezTo>
                <a:cubicBezTo>
                  <a:pt x="300" y="82"/>
                  <a:pt x="302" y="80"/>
                  <a:pt x="303" y="78"/>
                </a:cubicBezTo>
                <a:cubicBezTo>
                  <a:pt x="320" y="52"/>
                  <a:pt x="320" y="52"/>
                  <a:pt x="320" y="52"/>
                </a:cubicBezTo>
                <a:cubicBezTo>
                  <a:pt x="321" y="57"/>
                  <a:pt x="322" y="62"/>
                  <a:pt x="322" y="69"/>
                </a:cubicBezTo>
                <a:cubicBezTo>
                  <a:pt x="322" y="68"/>
                  <a:pt x="322" y="68"/>
                  <a:pt x="322" y="68"/>
                </a:cubicBezTo>
                <a:cubicBezTo>
                  <a:pt x="322" y="73"/>
                  <a:pt x="326" y="76"/>
                  <a:pt x="330" y="76"/>
                </a:cubicBezTo>
                <a:cubicBezTo>
                  <a:pt x="331" y="76"/>
                  <a:pt x="331" y="76"/>
                  <a:pt x="331" y="76"/>
                </a:cubicBezTo>
                <a:cubicBezTo>
                  <a:pt x="335" y="76"/>
                  <a:pt x="338" y="73"/>
                  <a:pt x="338" y="68"/>
                </a:cubicBezTo>
                <a:cubicBezTo>
                  <a:pt x="338" y="68"/>
                  <a:pt x="338" y="68"/>
                  <a:pt x="338" y="68"/>
                </a:cubicBezTo>
                <a:cubicBezTo>
                  <a:pt x="338" y="48"/>
                  <a:pt x="330" y="31"/>
                  <a:pt x="330" y="30"/>
                </a:cubicBezTo>
                <a:cubicBezTo>
                  <a:pt x="329" y="28"/>
                  <a:pt x="326" y="26"/>
                  <a:pt x="323" y="26"/>
                </a:cubicBezTo>
                <a:cubicBezTo>
                  <a:pt x="320" y="25"/>
                  <a:pt x="318" y="27"/>
                  <a:pt x="316" y="29"/>
                </a:cubicBezTo>
                <a:cubicBezTo>
                  <a:pt x="292" y="66"/>
                  <a:pt x="292" y="66"/>
                  <a:pt x="292" y="66"/>
                </a:cubicBezTo>
                <a:cubicBezTo>
                  <a:pt x="276" y="67"/>
                  <a:pt x="276" y="67"/>
                  <a:pt x="276" y="67"/>
                </a:cubicBezTo>
                <a:cubicBezTo>
                  <a:pt x="268" y="50"/>
                  <a:pt x="268" y="50"/>
                  <a:pt x="268" y="50"/>
                </a:cubicBezTo>
                <a:cubicBezTo>
                  <a:pt x="288" y="12"/>
                  <a:pt x="288" y="12"/>
                  <a:pt x="288" y="12"/>
                </a:cubicBezTo>
                <a:cubicBezTo>
                  <a:pt x="290" y="10"/>
                  <a:pt x="290" y="7"/>
                  <a:pt x="288" y="4"/>
                </a:cubicBezTo>
                <a:cubicBezTo>
                  <a:pt x="287" y="2"/>
                  <a:pt x="284" y="0"/>
                  <a:pt x="281" y="0"/>
                </a:cubicBezTo>
                <a:cubicBezTo>
                  <a:pt x="247" y="2"/>
                  <a:pt x="229" y="24"/>
                  <a:pt x="221" y="37"/>
                </a:cubicBezTo>
                <a:cubicBezTo>
                  <a:pt x="202" y="26"/>
                  <a:pt x="202" y="26"/>
                  <a:pt x="202" y="26"/>
                </a:cubicBezTo>
                <a:cubicBezTo>
                  <a:pt x="199" y="24"/>
                  <a:pt x="196" y="25"/>
                  <a:pt x="193" y="27"/>
                </a:cubicBezTo>
                <a:cubicBezTo>
                  <a:pt x="191" y="29"/>
                  <a:pt x="190" y="32"/>
                  <a:pt x="191" y="35"/>
                </a:cubicBezTo>
                <a:cubicBezTo>
                  <a:pt x="206" y="87"/>
                  <a:pt x="172" y="120"/>
                  <a:pt x="171" y="121"/>
                </a:cubicBezTo>
                <a:cubicBezTo>
                  <a:pt x="164" y="128"/>
                  <a:pt x="164" y="128"/>
                  <a:pt x="164" y="128"/>
                </a:cubicBezTo>
                <a:cubicBezTo>
                  <a:pt x="96" y="60"/>
                  <a:pt x="96" y="60"/>
                  <a:pt x="96" y="60"/>
                </a:cubicBezTo>
                <a:cubicBezTo>
                  <a:pt x="89" y="52"/>
                  <a:pt x="92" y="39"/>
                  <a:pt x="92" y="39"/>
                </a:cubicBezTo>
                <a:cubicBezTo>
                  <a:pt x="93" y="35"/>
                  <a:pt x="91" y="31"/>
                  <a:pt x="87" y="30"/>
                </a:cubicBezTo>
                <a:cubicBezTo>
                  <a:pt x="34" y="10"/>
                  <a:pt x="34" y="10"/>
                  <a:pt x="34" y="10"/>
                </a:cubicBezTo>
                <a:cubicBezTo>
                  <a:pt x="31" y="9"/>
                  <a:pt x="28" y="10"/>
                  <a:pt x="26" y="12"/>
                </a:cubicBezTo>
                <a:cubicBezTo>
                  <a:pt x="10" y="28"/>
                  <a:pt x="10" y="28"/>
                  <a:pt x="10" y="28"/>
                </a:cubicBezTo>
                <a:cubicBezTo>
                  <a:pt x="7" y="31"/>
                  <a:pt x="7" y="34"/>
                  <a:pt x="8" y="37"/>
                </a:cubicBezTo>
                <a:cubicBezTo>
                  <a:pt x="27" y="89"/>
                  <a:pt x="27" y="89"/>
                  <a:pt x="27" y="89"/>
                </a:cubicBezTo>
                <a:cubicBezTo>
                  <a:pt x="29" y="93"/>
                  <a:pt x="33" y="95"/>
                  <a:pt x="37" y="94"/>
                </a:cubicBezTo>
                <a:cubicBezTo>
                  <a:pt x="37" y="94"/>
                  <a:pt x="50" y="91"/>
                  <a:pt x="57" y="99"/>
                </a:cubicBezTo>
                <a:cubicBezTo>
                  <a:pt x="125" y="167"/>
                  <a:pt x="125" y="167"/>
                  <a:pt x="125" y="167"/>
                </a:cubicBezTo>
                <a:cubicBezTo>
                  <a:pt x="16" y="276"/>
                  <a:pt x="16" y="276"/>
                  <a:pt x="16" y="276"/>
                </a:cubicBezTo>
                <a:cubicBezTo>
                  <a:pt x="15" y="277"/>
                  <a:pt x="15" y="277"/>
                  <a:pt x="15" y="277"/>
                </a:cubicBezTo>
                <a:cubicBezTo>
                  <a:pt x="9" y="283"/>
                  <a:pt x="0" y="292"/>
                  <a:pt x="0" y="306"/>
                </a:cubicBezTo>
                <a:cubicBezTo>
                  <a:pt x="0" y="316"/>
                  <a:pt x="5" y="326"/>
                  <a:pt x="15" y="336"/>
                </a:cubicBezTo>
                <a:cubicBezTo>
                  <a:pt x="25" y="346"/>
                  <a:pt x="35" y="351"/>
                  <a:pt x="46" y="351"/>
                </a:cubicBezTo>
                <a:cubicBezTo>
                  <a:pt x="61" y="351"/>
                  <a:pt x="71" y="339"/>
                  <a:pt x="76" y="334"/>
                </a:cubicBezTo>
                <a:cubicBezTo>
                  <a:pt x="76" y="334"/>
                  <a:pt x="76" y="334"/>
                  <a:pt x="76" y="334"/>
                </a:cubicBezTo>
                <a:cubicBezTo>
                  <a:pt x="80" y="329"/>
                  <a:pt x="137" y="266"/>
                  <a:pt x="178" y="220"/>
                </a:cubicBezTo>
                <a:cubicBezTo>
                  <a:pt x="190" y="231"/>
                  <a:pt x="190" y="231"/>
                  <a:pt x="190" y="231"/>
                </a:cubicBezTo>
                <a:cubicBezTo>
                  <a:pt x="193" y="234"/>
                  <a:pt x="192" y="239"/>
                  <a:pt x="191" y="248"/>
                </a:cubicBezTo>
                <a:cubicBezTo>
                  <a:pt x="190" y="257"/>
                  <a:pt x="189" y="268"/>
                  <a:pt x="197" y="277"/>
                </a:cubicBezTo>
                <a:cubicBezTo>
                  <a:pt x="279" y="359"/>
                  <a:pt x="279" y="359"/>
                  <a:pt x="279" y="359"/>
                </a:cubicBezTo>
                <a:cubicBezTo>
                  <a:pt x="287" y="367"/>
                  <a:pt x="299" y="376"/>
                  <a:pt x="312" y="375"/>
                </a:cubicBezTo>
                <a:cubicBezTo>
                  <a:pt x="322" y="375"/>
                  <a:pt x="335" y="366"/>
                  <a:pt x="344" y="357"/>
                </a:cubicBezTo>
                <a:cubicBezTo>
                  <a:pt x="347" y="355"/>
                  <a:pt x="372" y="331"/>
                  <a:pt x="373" y="315"/>
                </a:cubicBezTo>
                <a:cubicBezTo>
                  <a:pt x="374" y="302"/>
                  <a:pt x="365" y="290"/>
                  <a:pt x="356" y="282"/>
                </a:cubicBezTo>
                <a:close/>
                <a:moveTo>
                  <a:pt x="69" y="88"/>
                </a:moveTo>
                <a:cubicBezTo>
                  <a:pt x="60" y="78"/>
                  <a:pt x="48" y="77"/>
                  <a:pt x="40" y="78"/>
                </a:cubicBezTo>
                <a:cubicBezTo>
                  <a:pt x="25" y="36"/>
                  <a:pt x="25" y="36"/>
                  <a:pt x="25" y="36"/>
                </a:cubicBezTo>
                <a:cubicBezTo>
                  <a:pt x="33" y="27"/>
                  <a:pt x="33" y="27"/>
                  <a:pt x="33" y="27"/>
                </a:cubicBezTo>
                <a:cubicBezTo>
                  <a:pt x="75" y="43"/>
                  <a:pt x="75" y="43"/>
                  <a:pt x="75" y="43"/>
                </a:cubicBezTo>
                <a:cubicBezTo>
                  <a:pt x="75" y="50"/>
                  <a:pt x="76" y="62"/>
                  <a:pt x="85" y="71"/>
                </a:cubicBezTo>
                <a:cubicBezTo>
                  <a:pt x="153" y="139"/>
                  <a:pt x="153" y="139"/>
                  <a:pt x="153" y="139"/>
                </a:cubicBezTo>
                <a:cubicBezTo>
                  <a:pt x="137" y="155"/>
                  <a:pt x="137" y="155"/>
                  <a:pt x="137" y="155"/>
                </a:cubicBezTo>
                <a:lnTo>
                  <a:pt x="69" y="88"/>
                </a:lnTo>
                <a:close/>
                <a:moveTo>
                  <a:pt x="357" y="313"/>
                </a:moveTo>
                <a:cubicBezTo>
                  <a:pt x="357" y="313"/>
                  <a:pt x="357" y="313"/>
                  <a:pt x="357" y="314"/>
                </a:cubicBezTo>
                <a:cubicBezTo>
                  <a:pt x="357" y="318"/>
                  <a:pt x="349" y="330"/>
                  <a:pt x="335" y="344"/>
                </a:cubicBezTo>
                <a:cubicBezTo>
                  <a:pt x="322" y="356"/>
                  <a:pt x="314" y="359"/>
                  <a:pt x="312" y="359"/>
                </a:cubicBezTo>
                <a:cubicBezTo>
                  <a:pt x="312" y="359"/>
                  <a:pt x="311" y="359"/>
                  <a:pt x="311" y="359"/>
                </a:cubicBezTo>
                <a:cubicBezTo>
                  <a:pt x="306" y="360"/>
                  <a:pt x="298" y="355"/>
                  <a:pt x="290" y="347"/>
                </a:cubicBezTo>
                <a:cubicBezTo>
                  <a:pt x="209" y="266"/>
                  <a:pt x="209" y="266"/>
                  <a:pt x="209" y="266"/>
                </a:cubicBezTo>
                <a:cubicBezTo>
                  <a:pt x="206" y="263"/>
                  <a:pt x="206" y="258"/>
                  <a:pt x="207" y="249"/>
                </a:cubicBezTo>
                <a:cubicBezTo>
                  <a:pt x="208" y="240"/>
                  <a:pt x="210" y="228"/>
                  <a:pt x="201" y="220"/>
                </a:cubicBezTo>
                <a:cubicBezTo>
                  <a:pt x="189" y="208"/>
                  <a:pt x="189" y="208"/>
                  <a:pt x="189" y="208"/>
                </a:cubicBezTo>
                <a:cubicBezTo>
                  <a:pt x="195" y="201"/>
                  <a:pt x="200" y="196"/>
                  <a:pt x="204" y="191"/>
                </a:cubicBezTo>
                <a:cubicBezTo>
                  <a:pt x="218" y="204"/>
                  <a:pt x="218" y="204"/>
                  <a:pt x="218" y="204"/>
                </a:cubicBezTo>
                <a:cubicBezTo>
                  <a:pt x="228" y="214"/>
                  <a:pt x="241" y="212"/>
                  <a:pt x="250" y="211"/>
                </a:cubicBezTo>
                <a:cubicBezTo>
                  <a:pt x="257" y="209"/>
                  <a:pt x="261" y="209"/>
                  <a:pt x="263" y="211"/>
                </a:cubicBezTo>
                <a:cubicBezTo>
                  <a:pt x="345" y="293"/>
                  <a:pt x="345" y="293"/>
                  <a:pt x="345" y="293"/>
                </a:cubicBezTo>
                <a:cubicBezTo>
                  <a:pt x="353" y="302"/>
                  <a:pt x="357" y="308"/>
                  <a:pt x="357" y="313"/>
                </a:cubicBezTo>
                <a:close/>
                <a:moveTo>
                  <a:pt x="261" y="230"/>
                </a:moveTo>
                <a:cubicBezTo>
                  <a:pt x="258" y="227"/>
                  <a:pt x="253" y="227"/>
                  <a:pt x="250" y="230"/>
                </a:cubicBezTo>
                <a:cubicBezTo>
                  <a:pt x="247" y="233"/>
                  <a:pt x="247" y="238"/>
                  <a:pt x="250" y="242"/>
                </a:cubicBezTo>
                <a:cubicBezTo>
                  <a:pt x="328" y="320"/>
                  <a:pt x="328" y="320"/>
                  <a:pt x="328" y="320"/>
                </a:cubicBezTo>
                <a:cubicBezTo>
                  <a:pt x="331" y="323"/>
                  <a:pt x="336" y="323"/>
                  <a:pt x="339" y="320"/>
                </a:cubicBezTo>
                <a:cubicBezTo>
                  <a:pt x="342" y="316"/>
                  <a:pt x="342" y="311"/>
                  <a:pt x="339" y="308"/>
                </a:cubicBezTo>
                <a:lnTo>
                  <a:pt x="261" y="230"/>
                </a:lnTo>
                <a:close/>
              </a:path>
            </a:pathLst>
          </a:custGeom>
          <a:solidFill>
            <a:srgbClr val="FFFFFF"/>
          </a:solidFill>
          <a:ln>
            <a:noFill/>
          </a:ln>
        </p:spPr>
        <p:txBody>
          <a:bodyPr/>
          <a:lstStyle/>
          <a:p>
            <a:endParaRPr lang="sv-SE"/>
          </a:p>
        </p:txBody>
      </p:sp>
      <p:sp>
        <p:nvSpPr>
          <p:cNvPr id="24" name="Freeform 3"/>
          <p:cNvSpPr>
            <a:spLocks noChangeAspect="1" noEditPoints="1"/>
          </p:cNvSpPr>
          <p:nvPr/>
        </p:nvSpPr>
        <p:spPr bwMode="auto">
          <a:xfrm>
            <a:off x="4173913" y="2868777"/>
            <a:ext cx="198826" cy="200729"/>
          </a:xfrm>
          <a:custGeom>
            <a:avLst/>
            <a:gdLst>
              <a:gd name="T0" fmla="*/ 2147483647 w 354"/>
              <a:gd name="T1" fmla="*/ 2147483647 h 357"/>
              <a:gd name="T2" fmla="*/ 2147483647 w 354"/>
              <a:gd name="T3" fmla="*/ 2147483647 h 357"/>
              <a:gd name="T4" fmla="*/ 2147483647 w 354"/>
              <a:gd name="T5" fmla="*/ 2147483647 h 357"/>
              <a:gd name="T6" fmla="*/ 2147483647 w 354"/>
              <a:gd name="T7" fmla="*/ 2147483647 h 357"/>
              <a:gd name="T8" fmla="*/ 2147483647 w 354"/>
              <a:gd name="T9" fmla="*/ 2147483647 h 357"/>
              <a:gd name="T10" fmla="*/ 2147483647 w 354"/>
              <a:gd name="T11" fmla="*/ 2147483647 h 357"/>
              <a:gd name="T12" fmla="*/ 2147483647 w 354"/>
              <a:gd name="T13" fmla="*/ 2147483647 h 357"/>
              <a:gd name="T14" fmla="*/ 2147483647 w 354"/>
              <a:gd name="T15" fmla="*/ 2147483647 h 357"/>
              <a:gd name="T16" fmla="*/ 2147483647 w 354"/>
              <a:gd name="T17" fmla="*/ 2147483647 h 357"/>
              <a:gd name="T18" fmla="*/ 2147483647 w 354"/>
              <a:gd name="T19" fmla="*/ 2147483647 h 357"/>
              <a:gd name="T20" fmla="*/ 2147483647 w 354"/>
              <a:gd name="T21" fmla="*/ 2147483647 h 357"/>
              <a:gd name="T22" fmla="*/ 2147483647 w 354"/>
              <a:gd name="T23" fmla="*/ 2147483647 h 357"/>
              <a:gd name="T24" fmla="*/ 2147483647 w 354"/>
              <a:gd name="T25" fmla="*/ 2147483647 h 357"/>
              <a:gd name="T26" fmla="*/ 2147483647 w 354"/>
              <a:gd name="T27" fmla="*/ 2147483647 h 357"/>
              <a:gd name="T28" fmla="*/ 0 w 354"/>
              <a:gd name="T29" fmla="*/ 2147483647 h 357"/>
              <a:gd name="T30" fmla="*/ 2147483647 w 354"/>
              <a:gd name="T31" fmla="*/ 2147483647 h 357"/>
              <a:gd name="T32" fmla="*/ 2147483647 w 354"/>
              <a:gd name="T33" fmla="*/ 2147483647 h 357"/>
              <a:gd name="T34" fmla="*/ 2147483647 w 354"/>
              <a:gd name="T35" fmla="*/ 2147483647 h 357"/>
              <a:gd name="T36" fmla="*/ 2147483647 w 354"/>
              <a:gd name="T37" fmla="*/ 2147483647 h 357"/>
              <a:gd name="T38" fmla="*/ 2147483647 w 354"/>
              <a:gd name="T39" fmla="*/ 2147483647 h 357"/>
              <a:gd name="T40" fmla="*/ 2147483647 w 354"/>
              <a:gd name="T41" fmla="*/ 2147483647 h 357"/>
              <a:gd name="T42" fmla="*/ 2147483647 w 354"/>
              <a:gd name="T43" fmla="*/ 2147483647 h 357"/>
              <a:gd name="T44" fmla="*/ 2147483647 w 354"/>
              <a:gd name="T45" fmla="*/ 2147483647 h 357"/>
              <a:gd name="T46" fmla="*/ 2147483647 w 354"/>
              <a:gd name="T47" fmla="*/ 2147483647 h 357"/>
              <a:gd name="T48" fmla="*/ 2147483647 w 354"/>
              <a:gd name="T49" fmla="*/ 2147483647 h 357"/>
              <a:gd name="T50" fmla="*/ 2147483647 w 354"/>
              <a:gd name="T51" fmla="*/ 2147483647 h 357"/>
              <a:gd name="T52" fmla="*/ 2147483647 w 354"/>
              <a:gd name="T53" fmla="*/ 2147483647 h 357"/>
              <a:gd name="T54" fmla="*/ 2147483647 w 354"/>
              <a:gd name="T55" fmla="*/ 2147483647 h 357"/>
              <a:gd name="T56" fmla="*/ 2147483647 w 354"/>
              <a:gd name="T57" fmla="*/ 2147483647 h 357"/>
              <a:gd name="T58" fmla="*/ 2147483647 w 354"/>
              <a:gd name="T59" fmla="*/ 2147483647 h 357"/>
              <a:gd name="T60" fmla="*/ 2147483647 w 354"/>
              <a:gd name="T61" fmla="*/ 2147483647 h 357"/>
              <a:gd name="T62" fmla="*/ 2147483647 w 354"/>
              <a:gd name="T63" fmla="*/ 2147483647 h 357"/>
              <a:gd name="T64" fmla="*/ 2147483647 w 354"/>
              <a:gd name="T65" fmla="*/ 2147483647 h 357"/>
              <a:gd name="T66" fmla="*/ 2147483647 w 354"/>
              <a:gd name="T67" fmla="*/ 2147483647 h 357"/>
              <a:gd name="T68" fmla="*/ 2147483647 w 354"/>
              <a:gd name="T69" fmla="*/ 2147483647 h 3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54" h="357">
                <a:moveTo>
                  <a:pt x="209" y="75"/>
                </a:moveTo>
                <a:cubicBezTo>
                  <a:pt x="209" y="70"/>
                  <a:pt x="205" y="66"/>
                  <a:pt x="201" y="66"/>
                </a:cubicBezTo>
                <a:cubicBezTo>
                  <a:pt x="196" y="66"/>
                  <a:pt x="192" y="70"/>
                  <a:pt x="192" y="75"/>
                </a:cubicBezTo>
                <a:cubicBezTo>
                  <a:pt x="192" y="174"/>
                  <a:pt x="192" y="174"/>
                  <a:pt x="192" y="174"/>
                </a:cubicBezTo>
                <a:cubicBezTo>
                  <a:pt x="192" y="179"/>
                  <a:pt x="196" y="183"/>
                  <a:pt x="201" y="183"/>
                </a:cubicBezTo>
                <a:cubicBezTo>
                  <a:pt x="205" y="183"/>
                  <a:pt x="209" y="179"/>
                  <a:pt x="209" y="174"/>
                </a:cubicBezTo>
                <a:lnTo>
                  <a:pt x="209" y="75"/>
                </a:lnTo>
                <a:close/>
                <a:moveTo>
                  <a:pt x="192" y="215"/>
                </a:moveTo>
                <a:cubicBezTo>
                  <a:pt x="192" y="225"/>
                  <a:pt x="192" y="225"/>
                  <a:pt x="192" y="225"/>
                </a:cubicBezTo>
                <a:cubicBezTo>
                  <a:pt x="192" y="230"/>
                  <a:pt x="196" y="234"/>
                  <a:pt x="201" y="234"/>
                </a:cubicBezTo>
                <a:cubicBezTo>
                  <a:pt x="205" y="234"/>
                  <a:pt x="209" y="230"/>
                  <a:pt x="209" y="225"/>
                </a:cubicBezTo>
                <a:cubicBezTo>
                  <a:pt x="209" y="215"/>
                  <a:pt x="209" y="215"/>
                  <a:pt x="209" y="215"/>
                </a:cubicBezTo>
                <a:cubicBezTo>
                  <a:pt x="209" y="210"/>
                  <a:pt x="205" y="206"/>
                  <a:pt x="201" y="206"/>
                </a:cubicBezTo>
                <a:cubicBezTo>
                  <a:pt x="196" y="206"/>
                  <a:pt x="192" y="210"/>
                  <a:pt x="192" y="215"/>
                </a:cubicBezTo>
                <a:close/>
                <a:moveTo>
                  <a:pt x="339" y="287"/>
                </a:moveTo>
                <a:cubicBezTo>
                  <a:pt x="274" y="222"/>
                  <a:pt x="274" y="222"/>
                  <a:pt x="274" y="222"/>
                </a:cubicBezTo>
                <a:cubicBezTo>
                  <a:pt x="287" y="200"/>
                  <a:pt x="294" y="175"/>
                  <a:pt x="294" y="148"/>
                </a:cubicBezTo>
                <a:cubicBezTo>
                  <a:pt x="294" y="112"/>
                  <a:pt x="282" y="80"/>
                  <a:pt x="261" y="54"/>
                </a:cubicBezTo>
                <a:cubicBezTo>
                  <a:pt x="258" y="51"/>
                  <a:pt x="253" y="51"/>
                  <a:pt x="250" y="53"/>
                </a:cubicBezTo>
                <a:cubicBezTo>
                  <a:pt x="246" y="56"/>
                  <a:pt x="246" y="61"/>
                  <a:pt x="249" y="65"/>
                </a:cubicBezTo>
                <a:cubicBezTo>
                  <a:pt x="267" y="87"/>
                  <a:pt x="278" y="116"/>
                  <a:pt x="278" y="148"/>
                </a:cubicBezTo>
                <a:cubicBezTo>
                  <a:pt x="278" y="220"/>
                  <a:pt x="220" y="279"/>
                  <a:pt x="147" y="279"/>
                </a:cubicBezTo>
                <a:cubicBezTo>
                  <a:pt x="75" y="279"/>
                  <a:pt x="16" y="220"/>
                  <a:pt x="16" y="148"/>
                </a:cubicBezTo>
                <a:cubicBezTo>
                  <a:pt x="16" y="75"/>
                  <a:pt x="75" y="17"/>
                  <a:pt x="147" y="16"/>
                </a:cubicBezTo>
                <a:cubicBezTo>
                  <a:pt x="178" y="16"/>
                  <a:pt x="206" y="27"/>
                  <a:pt x="228" y="44"/>
                </a:cubicBezTo>
                <a:cubicBezTo>
                  <a:pt x="231" y="47"/>
                  <a:pt x="236" y="46"/>
                  <a:pt x="239" y="43"/>
                </a:cubicBezTo>
                <a:cubicBezTo>
                  <a:pt x="242" y="39"/>
                  <a:pt x="241" y="34"/>
                  <a:pt x="238" y="31"/>
                </a:cubicBezTo>
                <a:cubicBezTo>
                  <a:pt x="238" y="31"/>
                  <a:pt x="238" y="31"/>
                  <a:pt x="238" y="31"/>
                </a:cubicBezTo>
                <a:cubicBezTo>
                  <a:pt x="213" y="12"/>
                  <a:pt x="181" y="0"/>
                  <a:pt x="147" y="0"/>
                </a:cubicBezTo>
                <a:cubicBezTo>
                  <a:pt x="66" y="0"/>
                  <a:pt x="0" y="66"/>
                  <a:pt x="0" y="148"/>
                </a:cubicBezTo>
                <a:cubicBezTo>
                  <a:pt x="0" y="229"/>
                  <a:pt x="66" y="295"/>
                  <a:pt x="147" y="295"/>
                </a:cubicBezTo>
                <a:cubicBezTo>
                  <a:pt x="173" y="295"/>
                  <a:pt x="197" y="288"/>
                  <a:pt x="218" y="276"/>
                </a:cubicBezTo>
                <a:cubicBezTo>
                  <a:pt x="284" y="342"/>
                  <a:pt x="284" y="342"/>
                  <a:pt x="284" y="342"/>
                </a:cubicBezTo>
                <a:cubicBezTo>
                  <a:pt x="299" y="357"/>
                  <a:pt x="324" y="357"/>
                  <a:pt x="339" y="342"/>
                </a:cubicBezTo>
                <a:cubicBezTo>
                  <a:pt x="354" y="327"/>
                  <a:pt x="354" y="302"/>
                  <a:pt x="339" y="287"/>
                </a:cubicBezTo>
                <a:close/>
                <a:moveTo>
                  <a:pt x="110" y="206"/>
                </a:moveTo>
                <a:cubicBezTo>
                  <a:pt x="106" y="206"/>
                  <a:pt x="102" y="210"/>
                  <a:pt x="102" y="215"/>
                </a:cubicBezTo>
                <a:cubicBezTo>
                  <a:pt x="102" y="225"/>
                  <a:pt x="102" y="225"/>
                  <a:pt x="102" y="225"/>
                </a:cubicBezTo>
                <a:cubicBezTo>
                  <a:pt x="102" y="230"/>
                  <a:pt x="106" y="234"/>
                  <a:pt x="110" y="234"/>
                </a:cubicBezTo>
                <a:cubicBezTo>
                  <a:pt x="115" y="234"/>
                  <a:pt x="119" y="230"/>
                  <a:pt x="119" y="225"/>
                </a:cubicBezTo>
                <a:cubicBezTo>
                  <a:pt x="119" y="215"/>
                  <a:pt x="119" y="215"/>
                  <a:pt x="119" y="215"/>
                </a:cubicBezTo>
                <a:cubicBezTo>
                  <a:pt x="119" y="210"/>
                  <a:pt x="115" y="206"/>
                  <a:pt x="110" y="206"/>
                </a:cubicBezTo>
                <a:close/>
                <a:moveTo>
                  <a:pt x="121" y="168"/>
                </a:moveTo>
                <a:cubicBezTo>
                  <a:pt x="121" y="168"/>
                  <a:pt x="121" y="168"/>
                  <a:pt x="121" y="168"/>
                </a:cubicBezTo>
                <a:cubicBezTo>
                  <a:pt x="152" y="153"/>
                  <a:pt x="167" y="140"/>
                  <a:pt x="167" y="111"/>
                </a:cubicBezTo>
                <a:cubicBezTo>
                  <a:pt x="167" y="84"/>
                  <a:pt x="146" y="65"/>
                  <a:pt x="118" y="65"/>
                </a:cubicBezTo>
                <a:cubicBezTo>
                  <a:pt x="92" y="65"/>
                  <a:pt x="79" y="73"/>
                  <a:pt x="67" y="88"/>
                </a:cubicBezTo>
                <a:cubicBezTo>
                  <a:pt x="65" y="90"/>
                  <a:pt x="65" y="92"/>
                  <a:pt x="65" y="94"/>
                </a:cubicBezTo>
                <a:cubicBezTo>
                  <a:pt x="65" y="98"/>
                  <a:pt x="69" y="102"/>
                  <a:pt x="73" y="102"/>
                </a:cubicBezTo>
                <a:cubicBezTo>
                  <a:pt x="76" y="102"/>
                  <a:pt x="78" y="101"/>
                  <a:pt x="80" y="99"/>
                </a:cubicBezTo>
                <a:cubicBezTo>
                  <a:pt x="90" y="87"/>
                  <a:pt x="98" y="82"/>
                  <a:pt x="118" y="82"/>
                </a:cubicBezTo>
                <a:cubicBezTo>
                  <a:pt x="138" y="82"/>
                  <a:pt x="150" y="93"/>
                  <a:pt x="150" y="111"/>
                </a:cubicBezTo>
                <a:cubicBezTo>
                  <a:pt x="150" y="132"/>
                  <a:pt x="140" y="141"/>
                  <a:pt x="108" y="155"/>
                </a:cubicBezTo>
                <a:cubicBezTo>
                  <a:pt x="107" y="155"/>
                  <a:pt x="107" y="156"/>
                  <a:pt x="106" y="156"/>
                </a:cubicBezTo>
                <a:cubicBezTo>
                  <a:pt x="106" y="156"/>
                  <a:pt x="106" y="156"/>
                  <a:pt x="106" y="156"/>
                </a:cubicBezTo>
                <a:cubicBezTo>
                  <a:pt x="106" y="156"/>
                  <a:pt x="106" y="156"/>
                  <a:pt x="105" y="157"/>
                </a:cubicBezTo>
                <a:cubicBezTo>
                  <a:pt x="105" y="157"/>
                  <a:pt x="105" y="157"/>
                  <a:pt x="105" y="157"/>
                </a:cubicBezTo>
                <a:cubicBezTo>
                  <a:pt x="105" y="157"/>
                  <a:pt x="105" y="157"/>
                  <a:pt x="104" y="158"/>
                </a:cubicBezTo>
                <a:cubicBezTo>
                  <a:pt x="104" y="158"/>
                  <a:pt x="104" y="158"/>
                  <a:pt x="104" y="158"/>
                </a:cubicBezTo>
                <a:cubicBezTo>
                  <a:pt x="104" y="158"/>
                  <a:pt x="104" y="158"/>
                  <a:pt x="104" y="158"/>
                </a:cubicBezTo>
                <a:cubicBezTo>
                  <a:pt x="104" y="159"/>
                  <a:pt x="104" y="159"/>
                  <a:pt x="103" y="159"/>
                </a:cubicBezTo>
                <a:cubicBezTo>
                  <a:pt x="103" y="159"/>
                  <a:pt x="103" y="160"/>
                  <a:pt x="103" y="161"/>
                </a:cubicBezTo>
                <a:cubicBezTo>
                  <a:pt x="103" y="161"/>
                  <a:pt x="102" y="161"/>
                  <a:pt x="102" y="161"/>
                </a:cubicBezTo>
                <a:cubicBezTo>
                  <a:pt x="102" y="161"/>
                  <a:pt x="102" y="161"/>
                  <a:pt x="102" y="161"/>
                </a:cubicBezTo>
                <a:cubicBezTo>
                  <a:pt x="102" y="161"/>
                  <a:pt x="102" y="162"/>
                  <a:pt x="102" y="162"/>
                </a:cubicBezTo>
                <a:cubicBezTo>
                  <a:pt x="102" y="163"/>
                  <a:pt x="102" y="163"/>
                  <a:pt x="102" y="163"/>
                </a:cubicBezTo>
                <a:cubicBezTo>
                  <a:pt x="102" y="174"/>
                  <a:pt x="102" y="174"/>
                  <a:pt x="102" y="174"/>
                </a:cubicBezTo>
                <a:cubicBezTo>
                  <a:pt x="102" y="179"/>
                  <a:pt x="106" y="183"/>
                  <a:pt x="110" y="183"/>
                </a:cubicBezTo>
                <a:cubicBezTo>
                  <a:pt x="115" y="183"/>
                  <a:pt x="119" y="179"/>
                  <a:pt x="119" y="174"/>
                </a:cubicBezTo>
                <a:cubicBezTo>
                  <a:pt x="119" y="171"/>
                  <a:pt x="119" y="171"/>
                  <a:pt x="119" y="171"/>
                </a:cubicBezTo>
                <a:cubicBezTo>
                  <a:pt x="119" y="169"/>
                  <a:pt x="121" y="168"/>
                  <a:pt x="121" y="168"/>
                </a:cubicBezTo>
                <a:close/>
              </a:path>
            </a:pathLst>
          </a:custGeom>
          <a:solidFill>
            <a:srgbClr val="FFFFFF"/>
          </a:solidFill>
          <a:ln>
            <a:noFill/>
          </a:ln>
        </p:spPr>
        <p:txBody>
          <a:bodyPr/>
          <a:lstStyle/>
          <a:p>
            <a:endParaRPr lang="sv-SE"/>
          </a:p>
        </p:txBody>
      </p:sp>
      <p:sp>
        <p:nvSpPr>
          <p:cNvPr id="25" name="Freeform 6"/>
          <p:cNvSpPr>
            <a:spLocks noChangeAspect="1" noEditPoints="1"/>
          </p:cNvSpPr>
          <p:nvPr/>
        </p:nvSpPr>
        <p:spPr bwMode="auto">
          <a:xfrm>
            <a:off x="3898935" y="2637738"/>
            <a:ext cx="202049" cy="156221"/>
          </a:xfrm>
          <a:custGeom>
            <a:avLst/>
            <a:gdLst>
              <a:gd name="T0" fmla="*/ 2147483647 w 420"/>
              <a:gd name="T1" fmla="*/ 2147483647 h 325"/>
              <a:gd name="T2" fmla="*/ 2147483647 w 420"/>
              <a:gd name="T3" fmla="*/ 2147483647 h 325"/>
              <a:gd name="T4" fmla="*/ 2147483647 w 420"/>
              <a:gd name="T5" fmla="*/ 2147483647 h 325"/>
              <a:gd name="T6" fmla="*/ 2147483647 w 420"/>
              <a:gd name="T7" fmla="*/ 2147483647 h 325"/>
              <a:gd name="T8" fmla="*/ 2147483647 w 420"/>
              <a:gd name="T9" fmla="*/ 2147483647 h 325"/>
              <a:gd name="T10" fmla="*/ 2147483647 w 420"/>
              <a:gd name="T11" fmla="*/ 2147483647 h 325"/>
              <a:gd name="T12" fmla="*/ 2147483647 w 420"/>
              <a:gd name="T13" fmla="*/ 2147483647 h 325"/>
              <a:gd name="T14" fmla="*/ 2147483647 w 420"/>
              <a:gd name="T15" fmla="*/ 2147483647 h 325"/>
              <a:gd name="T16" fmla="*/ 2147483647 w 420"/>
              <a:gd name="T17" fmla="*/ 2147483647 h 325"/>
              <a:gd name="T18" fmla="*/ 2147483647 w 420"/>
              <a:gd name="T19" fmla="*/ 2147483647 h 325"/>
              <a:gd name="T20" fmla="*/ 2147483647 w 420"/>
              <a:gd name="T21" fmla="*/ 2147483647 h 325"/>
              <a:gd name="T22" fmla="*/ 2147483647 w 420"/>
              <a:gd name="T23" fmla="*/ 2147483647 h 325"/>
              <a:gd name="T24" fmla="*/ 2147483647 w 420"/>
              <a:gd name="T25" fmla="*/ 2147483647 h 325"/>
              <a:gd name="T26" fmla="*/ 2147483647 w 420"/>
              <a:gd name="T27" fmla="*/ 2147483647 h 325"/>
              <a:gd name="T28" fmla="*/ 2147483647 w 420"/>
              <a:gd name="T29" fmla="*/ 2147483647 h 325"/>
              <a:gd name="T30" fmla="*/ 2147483647 w 420"/>
              <a:gd name="T31" fmla="*/ 2147483647 h 325"/>
              <a:gd name="T32" fmla="*/ 2147483647 w 420"/>
              <a:gd name="T33" fmla="*/ 2147483647 h 325"/>
              <a:gd name="T34" fmla="*/ 2147483647 w 420"/>
              <a:gd name="T35" fmla="*/ 2147483647 h 325"/>
              <a:gd name="T36" fmla="*/ 2147483647 w 420"/>
              <a:gd name="T37" fmla="*/ 0 h 325"/>
              <a:gd name="T38" fmla="*/ 0 w 420"/>
              <a:gd name="T39" fmla="*/ 2147483647 h 325"/>
              <a:gd name="T40" fmla="*/ 2147483647 w 420"/>
              <a:gd name="T41" fmla="*/ 2147483647 h 325"/>
              <a:gd name="T42" fmla="*/ 2147483647 w 420"/>
              <a:gd name="T43" fmla="*/ 2147483647 h 325"/>
              <a:gd name="T44" fmla="*/ 2147483647 w 420"/>
              <a:gd name="T45" fmla="*/ 2147483647 h 325"/>
              <a:gd name="T46" fmla="*/ 2147483647 w 420"/>
              <a:gd name="T47" fmla="*/ 2147483647 h 325"/>
              <a:gd name="T48" fmla="*/ 2147483647 w 420"/>
              <a:gd name="T49" fmla="*/ 2147483647 h 325"/>
              <a:gd name="T50" fmla="*/ 2147483647 w 420"/>
              <a:gd name="T51" fmla="*/ 2147483647 h 325"/>
              <a:gd name="T52" fmla="*/ 2147483647 w 420"/>
              <a:gd name="T53" fmla="*/ 2147483647 h 325"/>
              <a:gd name="T54" fmla="*/ 2147483647 w 420"/>
              <a:gd name="T55" fmla="*/ 2147483647 h 325"/>
              <a:gd name="T56" fmla="*/ 2147483647 w 420"/>
              <a:gd name="T57" fmla="*/ 2147483647 h 325"/>
              <a:gd name="T58" fmla="*/ 2147483647 w 420"/>
              <a:gd name="T59" fmla="*/ 2147483647 h 325"/>
              <a:gd name="T60" fmla="*/ 2147483647 w 420"/>
              <a:gd name="T61" fmla="*/ 2147483647 h 325"/>
              <a:gd name="T62" fmla="*/ 2147483647 w 420"/>
              <a:gd name="T63" fmla="*/ 2147483647 h 325"/>
              <a:gd name="T64" fmla="*/ 2147483647 w 420"/>
              <a:gd name="T65" fmla="*/ 2147483647 h 325"/>
              <a:gd name="T66" fmla="*/ 2147483647 w 420"/>
              <a:gd name="T67" fmla="*/ 2147483647 h 325"/>
              <a:gd name="T68" fmla="*/ 2147483647 w 420"/>
              <a:gd name="T69" fmla="*/ 2147483647 h 325"/>
              <a:gd name="T70" fmla="*/ 2147483647 w 420"/>
              <a:gd name="T71" fmla="*/ 2147483647 h 325"/>
              <a:gd name="T72" fmla="*/ 2147483647 w 420"/>
              <a:gd name="T73" fmla="*/ 2147483647 h 325"/>
              <a:gd name="T74" fmla="*/ 2147483647 w 420"/>
              <a:gd name="T75" fmla="*/ 2147483647 h 325"/>
              <a:gd name="T76" fmla="*/ 2147483647 w 420"/>
              <a:gd name="T77" fmla="*/ 2147483647 h 325"/>
              <a:gd name="T78" fmla="*/ 2147483647 w 420"/>
              <a:gd name="T79" fmla="*/ 2147483647 h 325"/>
              <a:gd name="T80" fmla="*/ 2147483647 w 420"/>
              <a:gd name="T81" fmla="*/ 2147483647 h 325"/>
              <a:gd name="T82" fmla="*/ 2147483647 w 420"/>
              <a:gd name="T83" fmla="*/ 2147483647 h 3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20" h="325">
                <a:moveTo>
                  <a:pt x="208" y="142"/>
                </a:moveTo>
                <a:cubicBezTo>
                  <a:pt x="206" y="143"/>
                  <a:pt x="204" y="146"/>
                  <a:pt x="204" y="149"/>
                </a:cubicBezTo>
                <a:cubicBezTo>
                  <a:pt x="204" y="174"/>
                  <a:pt x="204" y="174"/>
                  <a:pt x="204" y="174"/>
                </a:cubicBezTo>
                <a:cubicBezTo>
                  <a:pt x="148" y="178"/>
                  <a:pt x="104" y="225"/>
                  <a:pt x="104" y="281"/>
                </a:cubicBezTo>
                <a:cubicBezTo>
                  <a:pt x="104" y="286"/>
                  <a:pt x="107" y="289"/>
                  <a:pt x="112" y="289"/>
                </a:cubicBezTo>
                <a:cubicBezTo>
                  <a:pt x="148" y="289"/>
                  <a:pt x="148" y="289"/>
                  <a:pt x="148" y="289"/>
                </a:cubicBezTo>
                <a:cubicBezTo>
                  <a:pt x="152" y="289"/>
                  <a:pt x="156" y="286"/>
                  <a:pt x="156" y="281"/>
                </a:cubicBezTo>
                <a:cubicBezTo>
                  <a:pt x="156" y="253"/>
                  <a:pt x="177" y="230"/>
                  <a:pt x="204" y="226"/>
                </a:cubicBezTo>
                <a:cubicBezTo>
                  <a:pt x="204" y="247"/>
                  <a:pt x="204" y="247"/>
                  <a:pt x="204" y="247"/>
                </a:cubicBezTo>
                <a:cubicBezTo>
                  <a:pt x="204" y="250"/>
                  <a:pt x="206" y="253"/>
                  <a:pt x="208" y="254"/>
                </a:cubicBezTo>
                <a:cubicBezTo>
                  <a:pt x="211" y="256"/>
                  <a:pt x="214" y="255"/>
                  <a:pt x="217" y="254"/>
                </a:cubicBezTo>
                <a:cubicBezTo>
                  <a:pt x="281" y="205"/>
                  <a:pt x="281" y="205"/>
                  <a:pt x="281" y="205"/>
                </a:cubicBezTo>
                <a:cubicBezTo>
                  <a:pt x="283" y="203"/>
                  <a:pt x="284" y="201"/>
                  <a:pt x="284" y="198"/>
                </a:cubicBezTo>
                <a:cubicBezTo>
                  <a:pt x="284" y="196"/>
                  <a:pt x="283" y="193"/>
                  <a:pt x="281" y="192"/>
                </a:cubicBezTo>
                <a:cubicBezTo>
                  <a:pt x="217" y="143"/>
                  <a:pt x="217" y="143"/>
                  <a:pt x="217" y="143"/>
                </a:cubicBezTo>
                <a:cubicBezTo>
                  <a:pt x="214" y="141"/>
                  <a:pt x="211" y="141"/>
                  <a:pt x="208" y="142"/>
                </a:cubicBezTo>
                <a:close/>
                <a:moveTo>
                  <a:pt x="220" y="181"/>
                </a:moveTo>
                <a:cubicBezTo>
                  <a:pt x="220" y="165"/>
                  <a:pt x="220" y="165"/>
                  <a:pt x="220" y="165"/>
                </a:cubicBezTo>
                <a:cubicBezTo>
                  <a:pt x="263" y="198"/>
                  <a:pt x="263" y="198"/>
                  <a:pt x="263" y="198"/>
                </a:cubicBezTo>
                <a:cubicBezTo>
                  <a:pt x="220" y="231"/>
                  <a:pt x="220" y="231"/>
                  <a:pt x="220" y="231"/>
                </a:cubicBezTo>
                <a:cubicBezTo>
                  <a:pt x="220" y="217"/>
                  <a:pt x="220" y="217"/>
                  <a:pt x="220" y="217"/>
                </a:cubicBezTo>
                <a:cubicBezTo>
                  <a:pt x="220" y="213"/>
                  <a:pt x="216" y="209"/>
                  <a:pt x="212" y="209"/>
                </a:cubicBezTo>
                <a:cubicBezTo>
                  <a:pt x="175" y="209"/>
                  <a:pt x="144" y="237"/>
                  <a:pt x="140" y="273"/>
                </a:cubicBezTo>
                <a:cubicBezTo>
                  <a:pt x="120" y="273"/>
                  <a:pt x="120" y="273"/>
                  <a:pt x="120" y="273"/>
                </a:cubicBezTo>
                <a:cubicBezTo>
                  <a:pt x="124" y="226"/>
                  <a:pt x="164" y="189"/>
                  <a:pt x="212" y="189"/>
                </a:cubicBezTo>
                <a:cubicBezTo>
                  <a:pt x="216" y="189"/>
                  <a:pt x="220" y="186"/>
                  <a:pt x="220" y="181"/>
                </a:cubicBezTo>
                <a:close/>
                <a:moveTo>
                  <a:pt x="412" y="60"/>
                </a:moveTo>
                <a:cubicBezTo>
                  <a:pt x="407" y="60"/>
                  <a:pt x="404" y="64"/>
                  <a:pt x="404" y="68"/>
                </a:cubicBezTo>
                <a:cubicBezTo>
                  <a:pt x="404" y="68"/>
                  <a:pt x="404" y="68"/>
                  <a:pt x="404" y="68"/>
                </a:cubicBezTo>
                <a:cubicBezTo>
                  <a:pt x="404" y="74"/>
                  <a:pt x="404" y="74"/>
                  <a:pt x="404" y="74"/>
                </a:cubicBezTo>
                <a:cubicBezTo>
                  <a:pt x="16" y="74"/>
                  <a:pt x="16" y="74"/>
                  <a:pt x="16" y="74"/>
                </a:cubicBezTo>
                <a:cubicBezTo>
                  <a:pt x="16" y="16"/>
                  <a:pt x="16" y="16"/>
                  <a:pt x="16" y="16"/>
                </a:cubicBezTo>
                <a:cubicBezTo>
                  <a:pt x="404" y="16"/>
                  <a:pt x="404" y="16"/>
                  <a:pt x="404" y="16"/>
                </a:cubicBezTo>
                <a:cubicBezTo>
                  <a:pt x="404" y="37"/>
                  <a:pt x="404" y="37"/>
                  <a:pt x="404" y="37"/>
                </a:cubicBezTo>
                <a:cubicBezTo>
                  <a:pt x="404" y="41"/>
                  <a:pt x="407" y="45"/>
                  <a:pt x="412" y="45"/>
                </a:cubicBezTo>
                <a:cubicBezTo>
                  <a:pt x="416" y="45"/>
                  <a:pt x="420" y="41"/>
                  <a:pt x="420" y="37"/>
                </a:cubicBezTo>
                <a:cubicBezTo>
                  <a:pt x="420" y="16"/>
                  <a:pt x="420" y="16"/>
                  <a:pt x="420" y="16"/>
                </a:cubicBezTo>
                <a:cubicBezTo>
                  <a:pt x="420" y="7"/>
                  <a:pt x="412" y="0"/>
                  <a:pt x="404" y="0"/>
                </a:cubicBezTo>
                <a:cubicBezTo>
                  <a:pt x="16" y="0"/>
                  <a:pt x="16" y="0"/>
                  <a:pt x="16" y="0"/>
                </a:cubicBezTo>
                <a:cubicBezTo>
                  <a:pt x="7" y="0"/>
                  <a:pt x="0" y="7"/>
                  <a:pt x="0" y="16"/>
                </a:cubicBezTo>
                <a:cubicBezTo>
                  <a:pt x="0" y="309"/>
                  <a:pt x="0" y="309"/>
                  <a:pt x="0" y="309"/>
                </a:cubicBezTo>
                <a:cubicBezTo>
                  <a:pt x="0" y="318"/>
                  <a:pt x="7" y="325"/>
                  <a:pt x="16" y="325"/>
                </a:cubicBezTo>
                <a:cubicBezTo>
                  <a:pt x="404" y="325"/>
                  <a:pt x="404" y="325"/>
                  <a:pt x="404" y="325"/>
                </a:cubicBezTo>
                <a:cubicBezTo>
                  <a:pt x="412" y="325"/>
                  <a:pt x="420" y="318"/>
                  <a:pt x="420" y="309"/>
                </a:cubicBezTo>
                <a:cubicBezTo>
                  <a:pt x="420" y="68"/>
                  <a:pt x="420" y="68"/>
                  <a:pt x="420" y="68"/>
                </a:cubicBezTo>
                <a:cubicBezTo>
                  <a:pt x="420" y="64"/>
                  <a:pt x="416" y="60"/>
                  <a:pt x="412" y="60"/>
                </a:cubicBezTo>
                <a:close/>
                <a:moveTo>
                  <a:pt x="16" y="90"/>
                </a:moveTo>
                <a:cubicBezTo>
                  <a:pt x="140" y="90"/>
                  <a:pt x="140" y="90"/>
                  <a:pt x="140" y="90"/>
                </a:cubicBezTo>
                <a:cubicBezTo>
                  <a:pt x="16" y="282"/>
                  <a:pt x="16" y="282"/>
                  <a:pt x="16" y="282"/>
                </a:cubicBezTo>
                <a:lnTo>
                  <a:pt x="16" y="90"/>
                </a:lnTo>
                <a:close/>
                <a:moveTo>
                  <a:pt x="221" y="309"/>
                </a:moveTo>
                <a:cubicBezTo>
                  <a:pt x="221" y="278"/>
                  <a:pt x="221" y="278"/>
                  <a:pt x="221" y="278"/>
                </a:cubicBezTo>
                <a:cubicBezTo>
                  <a:pt x="221" y="274"/>
                  <a:pt x="217" y="270"/>
                  <a:pt x="213" y="270"/>
                </a:cubicBezTo>
                <a:cubicBezTo>
                  <a:pt x="208" y="270"/>
                  <a:pt x="205" y="274"/>
                  <a:pt x="205" y="278"/>
                </a:cubicBezTo>
                <a:cubicBezTo>
                  <a:pt x="205" y="309"/>
                  <a:pt x="205" y="309"/>
                  <a:pt x="205" y="309"/>
                </a:cubicBezTo>
                <a:cubicBezTo>
                  <a:pt x="17" y="309"/>
                  <a:pt x="17" y="309"/>
                  <a:pt x="17" y="309"/>
                </a:cubicBezTo>
                <a:cubicBezTo>
                  <a:pt x="159" y="90"/>
                  <a:pt x="159" y="90"/>
                  <a:pt x="159" y="90"/>
                </a:cubicBezTo>
                <a:cubicBezTo>
                  <a:pt x="205" y="90"/>
                  <a:pt x="205" y="90"/>
                  <a:pt x="205" y="90"/>
                </a:cubicBezTo>
                <a:cubicBezTo>
                  <a:pt x="205" y="116"/>
                  <a:pt x="205" y="116"/>
                  <a:pt x="205" y="116"/>
                </a:cubicBezTo>
                <a:cubicBezTo>
                  <a:pt x="205" y="120"/>
                  <a:pt x="208" y="124"/>
                  <a:pt x="213" y="124"/>
                </a:cubicBezTo>
                <a:cubicBezTo>
                  <a:pt x="217" y="124"/>
                  <a:pt x="221" y="120"/>
                  <a:pt x="221" y="116"/>
                </a:cubicBezTo>
                <a:cubicBezTo>
                  <a:pt x="221" y="90"/>
                  <a:pt x="221" y="90"/>
                  <a:pt x="221" y="90"/>
                </a:cubicBezTo>
                <a:cubicBezTo>
                  <a:pt x="260" y="90"/>
                  <a:pt x="260" y="90"/>
                  <a:pt x="260" y="90"/>
                </a:cubicBezTo>
                <a:cubicBezTo>
                  <a:pt x="402" y="309"/>
                  <a:pt x="402" y="309"/>
                  <a:pt x="402" y="309"/>
                </a:cubicBezTo>
                <a:lnTo>
                  <a:pt x="221" y="309"/>
                </a:lnTo>
                <a:close/>
                <a:moveTo>
                  <a:pt x="404" y="282"/>
                </a:moveTo>
                <a:cubicBezTo>
                  <a:pt x="279" y="90"/>
                  <a:pt x="279" y="90"/>
                  <a:pt x="279" y="90"/>
                </a:cubicBezTo>
                <a:cubicBezTo>
                  <a:pt x="404" y="90"/>
                  <a:pt x="404" y="90"/>
                  <a:pt x="404" y="90"/>
                </a:cubicBezTo>
                <a:lnTo>
                  <a:pt x="404" y="282"/>
                </a:lnTo>
                <a:close/>
                <a:moveTo>
                  <a:pt x="38" y="46"/>
                </a:moveTo>
                <a:cubicBezTo>
                  <a:pt x="38" y="51"/>
                  <a:pt x="42" y="55"/>
                  <a:pt x="47" y="55"/>
                </a:cubicBezTo>
                <a:cubicBezTo>
                  <a:pt x="52" y="55"/>
                  <a:pt x="56" y="51"/>
                  <a:pt x="56" y="46"/>
                </a:cubicBezTo>
                <a:cubicBezTo>
                  <a:pt x="56" y="41"/>
                  <a:pt x="52" y="37"/>
                  <a:pt x="47" y="37"/>
                </a:cubicBezTo>
                <a:cubicBezTo>
                  <a:pt x="42" y="37"/>
                  <a:pt x="38" y="41"/>
                  <a:pt x="38" y="46"/>
                </a:cubicBezTo>
                <a:close/>
                <a:moveTo>
                  <a:pt x="103" y="46"/>
                </a:moveTo>
                <a:cubicBezTo>
                  <a:pt x="103" y="51"/>
                  <a:pt x="108" y="55"/>
                  <a:pt x="113" y="55"/>
                </a:cubicBezTo>
                <a:cubicBezTo>
                  <a:pt x="118" y="55"/>
                  <a:pt x="122" y="51"/>
                  <a:pt x="122" y="46"/>
                </a:cubicBezTo>
                <a:cubicBezTo>
                  <a:pt x="122" y="41"/>
                  <a:pt x="118" y="37"/>
                  <a:pt x="113" y="37"/>
                </a:cubicBezTo>
                <a:cubicBezTo>
                  <a:pt x="108" y="37"/>
                  <a:pt x="103" y="41"/>
                  <a:pt x="103" y="46"/>
                </a:cubicBezTo>
                <a:close/>
                <a:moveTo>
                  <a:pt x="71" y="46"/>
                </a:moveTo>
                <a:cubicBezTo>
                  <a:pt x="71" y="51"/>
                  <a:pt x="75" y="55"/>
                  <a:pt x="80" y="55"/>
                </a:cubicBezTo>
                <a:cubicBezTo>
                  <a:pt x="85" y="55"/>
                  <a:pt x="89" y="51"/>
                  <a:pt x="89" y="46"/>
                </a:cubicBezTo>
                <a:cubicBezTo>
                  <a:pt x="89" y="41"/>
                  <a:pt x="85" y="37"/>
                  <a:pt x="80" y="37"/>
                </a:cubicBezTo>
                <a:cubicBezTo>
                  <a:pt x="75" y="37"/>
                  <a:pt x="71" y="41"/>
                  <a:pt x="71" y="46"/>
                </a:cubicBezTo>
                <a:close/>
              </a:path>
            </a:pathLst>
          </a:custGeom>
          <a:solidFill>
            <a:srgbClr val="FFFFFF"/>
          </a:solidFill>
          <a:ln>
            <a:noFill/>
          </a:ln>
        </p:spPr>
        <p:txBody>
          <a:bodyPr/>
          <a:lstStyle/>
          <a:p>
            <a:endParaRPr lang="sv-SE"/>
          </a:p>
        </p:txBody>
      </p:sp>
      <p:sp>
        <p:nvSpPr>
          <p:cNvPr id="26" name="Freeform 3"/>
          <p:cNvSpPr>
            <a:spLocks noChangeAspect="1" noEditPoints="1"/>
          </p:cNvSpPr>
          <p:nvPr/>
        </p:nvSpPr>
        <p:spPr bwMode="auto">
          <a:xfrm>
            <a:off x="4161896" y="2625439"/>
            <a:ext cx="210843" cy="183135"/>
          </a:xfrm>
          <a:custGeom>
            <a:avLst/>
            <a:gdLst>
              <a:gd name="T0" fmla="*/ 2147483647 w 338"/>
              <a:gd name="T1" fmla="*/ 2147483647 h 294"/>
              <a:gd name="T2" fmla="*/ 2147483647 w 338"/>
              <a:gd name="T3" fmla="*/ 2147483647 h 294"/>
              <a:gd name="T4" fmla="*/ 2147483647 w 338"/>
              <a:gd name="T5" fmla="*/ 2147483647 h 294"/>
              <a:gd name="T6" fmla="*/ 2147483647 w 338"/>
              <a:gd name="T7" fmla="*/ 2147483647 h 294"/>
              <a:gd name="T8" fmla="*/ 2147483647 w 338"/>
              <a:gd name="T9" fmla="*/ 2147483647 h 294"/>
              <a:gd name="T10" fmla="*/ 2147483647 w 338"/>
              <a:gd name="T11" fmla="*/ 2147483647 h 294"/>
              <a:gd name="T12" fmla="*/ 2147483647 w 338"/>
              <a:gd name="T13" fmla="*/ 2147483647 h 294"/>
              <a:gd name="T14" fmla="*/ 2147483647 w 338"/>
              <a:gd name="T15" fmla="*/ 2147483647 h 294"/>
              <a:gd name="T16" fmla="*/ 2147483647 w 338"/>
              <a:gd name="T17" fmla="*/ 2147483647 h 294"/>
              <a:gd name="T18" fmla="*/ 2147483647 w 338"/>
              <a:gd name="T19" fmla="*/ 2147483647 h 294"/>
              <a:gd name="T20" fmla="*/ 2147483647 w 338"/>
              <a:gd name="T21" fmla="*/ 2147483647 h 294"/>
              <a:gd name="T22" fmla="*/ 2147483647 w 338"/>
              <a:gd name="T23" fmla="*/ 2147483647 h 294"/>
              <a:gd name="T24" fmla="*/ 2147483647 w 338"/>
              <a:gd name="T25" fmla="*/ 2147483647 h 294"/>
              <a:gd name="T26" fmla="*/ 2147483647 w 338"/>
              <a:gd name="T27" fmla="*/ 2147483647 h 294"/>
              <a:gd name="T28" fmla="*/ 2147483647 w 338"/>
              <a:gd name="T29" fmla="*/ 2147483647 h 294"/>
              <a:gd name="T30" fmla="*/ 2147483647 w 338"/>
              <a:gd name="T31" fmla="*/ 2147483647 h 294"/>
              <a:gd name="T32" fmla="*/ 2147483647 w 338"/>
              <a:gd name="T33" fmla="*/ 2147483647 h 294"/>
              <a:gd name="T34" fmla="*/ 2147483647 w 338"/>
              <a:gd name="T35" fmla="*/ 2147483647 h 294"/>
              <a:gd name="T36" fmla="*/ 2147483647 w 338"/>
              <a:gd name="T37" fmla="*/ 2147483647 h 294"/>
              <a:gd name="T38" fmla="*/ 2147483647 w 338"/>
              <a:gd name="T39" fmla="*/ 2147483647 h 294"/>
              <a:gd name="T40" fmla="*/ 2147483647 w 338"/>
              <a:gd name="T41" fmla="*/ 2147483647 h 294"/>
              <a:gd name="T42" fmla="*/ 2147483647 w 338"/>
              <a:gd name="T43" fmla="*/ 2147483647 h 294"/>
              <a:gd name="T44" fmla="*/ 2147483647 w 338"/>
              <a:gd name="T45" fmla="*/ 2147483647 h 294"/>
              <a:gd name="T46" fmla="*/ 2147483647 w 338"/>
              <a:gd name="T47" fmla="*/ 2147483647 h 294"/>
              <a:gd name="T48" fmla="*/ 2147483647 w 338"/>
              <a:gd name="T49" fmla="*/ 2147483647 h 294"/>
              <a:gd name="T50" fmla="*/ 2147483647 w 338"/>
              <a:gd name="T51" fmla="*/ 2147483647 h 294"/>
              <a:gd name="T52" fmla="*/ 2147483647 w 338"/>
              <a:gd name="T53" fmla="*/ 2147483647 h 294"/>
              <a:gd name="T54" fmla="*/ 2147483647 w 338"/>
              <a:gd name="T55" fmla="*/ 2147483647 h 294"/>
              <a:gd name="T56" fmla="*/ 2147483647 w 338"/>
              <a:gd name="T57" fmla="*/ 2147483647 h 294"/>
              <a:gd name="T58" fmla="*/ 2147483647 w 338"/>
              <a:gd name="T59" fmla="*/ 2147483647 h 294"/>
              <a:gd name="T60" fmla="*/ 2147483647 w 338"/>
              <a:gd name="T61" fmla="*/ 2147483647 h 294"/>
              <a:gd name="T62" fmla="*/ 2147483647 w 338"/>
              <a:gd name="T63" fmla="*/ 2147483647 h 294"/>
              <a:gd name="T64" fmla="*/ 2147483647 w 338"/>
              <a:gd name="T65" fmla="*/ 2147483647 h 294"/>
              <a:gd name="T66" fmla="*/ 2147483647 w 338"/>
              <a:gd name="T67" fmla="*/ 2147483647 h 294"/>
              <a:gd name="T68" fmla="*/ 2147483647 w 338"/>
              <a:gd name="T69" fmla="*/ 2147483647 h 294"/>
              <a:gd name="T70" fmla="*/ 2147483647 w 338"/>
              <a:gd name="T71" fmla="*/ 2147483647 h 294"/>
              <a:gd name="T72" fmla="*/ 2147483647 w 338"/>
              <a:gd name="T73" fmla="*/ 2147483647 h 294"/>
              <a:gd name="T74" fmla="*/ 2147483647 w 338"/>
              <a:gd name="T75" fmla="*/ 2147483647 h 294"/>
              <a:gd name="T76" fmla="*/ 2147483647 w 338"/>
              <a:gd name="T77" fmla="*/ 0 h 294"/>
              <a:gd name="T78" fmla="*/ 2147483647 w 338"/>
              <a:gd name="T79" fmla="*/ 2147483647 h 294"/>
              <a:gd name="T80" fmla="*/ 2147483647 w 338"/>
              <a:gd name="T81" fmla="*/ 2147483647 h 294"/>
              <a:gd name="T82" fmla="*/ 2147483647 w 338"/>
              <a:gd name="T83" fmla="*/ 2147483647 h 294"/>
              <a:gd name="T84" fmla="*/ 2147483647 w 338"/>
              <a:gd name="T85" fmla="*/ 2147483647 h 294"/>
              <a:gd name="T86" fmla="*/ 2147483647 w 338"/>
              <a:gd name="T87" fmla="*/ 2147483647 h 294"/>
              <a:gd name="T88" fmla="*/ 2147483647 w 338"/>
              <a:gd name="T89" fmla="*/ 2147483647 h 294"/>
              <a:gd name="T90" fmla="*/ 2147483647 w 338"/>
              <a:gd name="T91" fmla="*/ 2147483647 h 294"/>
              <a:gd name="T92" fmla="*/ 2147483647 w 338"/>
              <a:gd name="T93" fmla="*/ 2147483647 h 2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38" h="294">
                <a:moveTo>
                  <a:pt x="169" y="136"/>
                </a:moveTo>
                <a:cubicBezTo>
                  <a:pt x="144" y="136"/>
                  <a:pt x="118" y="146"/>
                  <a:pt x="99" y="165"/>
                </a:cubicBezTo>
                <a:cubicBezTo>
                  <a:pt x="96" y="168"/>
                  <a:pt x="96" y="173"/>
                  <a:pt x="99" y="176"/>
                </a:cubicBezTo>
                <a:cubicBezTo>
                  <a:pt x="102" y="180"/>
                  <a:pt x="107" y="180"/>
                  <a:pt x="110" y="176"/>
                </a:cubicBezTo>
                <a:cubicBezTo>
                  <a:pt x="110" y="176"/>
                  <a:pt x="110" y="176"/>
                  <a:pt x="110" y="176"/>
                </a:cubicBezTo>
                <a:cubicBezTo>
                  <a:pt x="127" y="160"/>
                  <a:pt x="148" y="152"/>
                  <a:pt x="169" y="152"/>
                </a:cubicBezTo>
                <a:cubicBezTo>
                  <a:pt x="190" y="152"/>
                  <a:pt x="212" y="160"/>
                  <a:pt x="228" y="176"/>
                </a:cubicBezTo>
                <a:cubicBezTo>
                  <a:pt x="229" y="178"/>
                  <a:pt x="232" y="179"/>
                  <a:pt x="234" y="179"/>
                </a:cubicBezTo>
                <a:cubicBezTo>
                  <a:pt x="236" y="179"/>
                  <a:pt x="238" y="178"/>
                  <a:pt x="239" y="176"/>
                </a:cubicBezTo>
                <a:cubicBezTo>
                  <a:pt x="242" y="173"/>
                  <a:pt x="242" y="168"/>
                  <a:pt x="239" y="165"/>
                </a:cubicBezTo>
                <a:cubicBezTo>
                  <a:pt x="220" y="146"/>
                  <a:pt x="194" y="136"/>
                  <a:pt x="169" y="136"/>
                </a:cubicBezTo>
                <a:close/>
                <a:moveTo>
                  <a:pt x="169" y="68"/>
                </a:moveTo>
                <a:cubicBezTo>
                  <a:pt x="126" y="68"/>
                  <a:pt x="84" y="84"/>
                  <a:pt x="51" y="117"/>
                </a:cubicBezTo>
                <a:cubicBezTo>
                  <a:pt x="48" y="120"/>
                  <a:pt x="48" y="125"/>
                  <a:pt x="51" y="128"/>
                </a:cubicBezTo>
                <a:cubicBezTo>
                  <a:pt x="53" y="130"/>
                  <a:pt x="55" y="131"/>
                  <a:pt x="57" y="131"/>
                </a:cubicBezTo>
                <a:cubicBezTo>
                  <a:pt x="59" y="131"/>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39" y="217"/>
                </a:moveTo>
                <a:cubicBezTo>
                  <a:pt x="123" y="234"/>
                  <a:pt x="123" y="261"/>
                  <a:pt x="139" y="277"/>
                </a:cubicBezTo>
                <a:cubicBezTo>
                  <a:pt x="156" y="294"/>
                  <a:pt x="183" y="294"/>
                  <a:pt x="199" y="277"/>
                </a:cubicBezTo>
                <a:cubicBezTo>
                  <a:pt x="216" y="261"/>
                  <a:pt x="216" y="234"/>
                  <a:pt x="199" y="217"/>
                </a:cubicBezTo>
                <a:cubicBezTo>
                  <a:pt x="183" y="201"/>
                  <a:pt x="156" y="201"/>
                  <a:pt x="139" y="217"/>
                </a:cubicBezTo>
                <a:close/>
                <a:moveTo>
                  <a:pt x="334" y="66"/>
                </a:moveTo>
                <a:cubicBezTo>
                  <a:pt x="330" y="62"/>
                  <a:pt x="326" y="59"/>
                  <a:pt x="321" y="55"/>
                </a:cubicBezTo>
                <a:cubicBezTo>
                  <a:pt x="319" y="54"/>
                  <a:pt x="318" y="53"/>
                  <a:pt x="316" y="51"/>
                </a:cubicBezTo>
                <a:cubicBezTo>
                  <a:pt x="313" y="49"/>
                  <a:pt x="308" y="49"/>
                  <a:pt x="305" y="53"/>
                </a:cubicBezTo>
                <a:cubicBezTo>
                  <a:pt x="302" y="56"/>
                  <a:pt x="303" y="61"/>
                  <a:pt x="306" y="64"/>
                </a:cubicBezTo>
                <a:cubicBezTo>
                  <a:pt x="308" y="65"/>
                  <a:pt x="310" y="67"/>
                  <a:pt x="311" y="68"/>
                </a:cubicBezTo>
                <a:cubicBezTo>
                  <a:pt x="316" y="71"/>
                  <a:pt x="320" y="75"/>
                  <a:pt x="323" y="78"/>
                </a:cubicBezTo>
                <a:cubicBezTo>
                  <a:pt x="325" y="79"/>
                  <a:pt x="327" y="80"/>
                  <a:pt x="329" y="80"/>
                </a:cubicBezTo>
                <a:cubicBezTo>
                  <a:pt x="331" y="80"/>
                  <a:pt x="333" y="79"/>
                  <a:pt x="335" y="78"/>
                </a:cubicBezTo>
                <a:cubicBezTo>
                  <a:pt x="338" y="74"/>
                  <a:pt x="338" y="69"/>
                  <a:pt x="334" y="66"/>
                </a:cubicBezTo>
                <a:close/>
                <a:moveTo>
                  <a:pt x="290" y="33"/>
                </a:moveTo>
                <a:cubicBezTo>
                  <a:pt x="253" y="11"/>
                  <a:pt x="212" y="0"/>
                  <a:pt x="169" y="0"/>
                </a:cubicBezTo>
                <a:cubicBezTo>
                  <a:pt x="107" y="0"/>
                  <a:pt x="49" y="24"/>
                  <a:pt x="4" y="66"/>
                </a:cubicBezTo>
                <a:cubicBezTo>
                  <a:pt x="1" y="69"/>
                  <a:pt x="0" y="74"/>
                  <a:pt x="4" y="78"/>
                </a:cubicBezTo>
                <a:cubicBezTo>
                  <a:pt x="5" y="79"/>
                  <a:pt x="7" y="80"/>
                  <a:pt x="9" y="80"/>
                </a:cubicBezTo>
                <a:cubicBezTo>
                  <a:pt x="11" y="80"/>
                  <a:pt x="13" y="79"/>
                  <a:pt x="15" y="78"/>
                </a:cubicBezTo>
                <a:cubicBezTo>
                  <a:pt x="57" y="38"/>
                  <a:pt x="111" y="16"/>
                  <a:pt x="169" y="16"/>
                </a:cubicBezTo>
                <a:cubicBezTo>
                  <a:pt x="209" y="16"/>
                  <a:pt x="248" y="27"/>
                  <a:pt x="282" y="46"/>
                </a:cubicBezTo>
                <a:cubicBezTo>
                  <a:pt x="285" y="49"/>
                  <a:pt x="290" y="47"/>
                  <a:pt x="293" y="44"/>
                </a:cubicBezTo>
                <a:cubicBezTo>
                  <a:pt x="295" y="40"/>
                  <a:pt x="294" y="35"/>
                  <a:pt x="290" y="33"/>
                </a:cubicBezTo>
                <a:close/>
              </a:path>
            </a:pathLst>
          </a:custGeom>
          <a:solidFill>
            <a:srgbClr val="FFFFFF"/>
          </a:solidFill>
          <a:ln>
            <a:noFill/>
          </a:ln>
        </p:spPr>
        <p:txBody>
          <a:bodyPr/>
          <a:lstStyle/>
          <a:p>
            <a:endParaRPr lang="sv-SE"/>
          </a:p>
        </p:txBody>
      </p:sp>
      <p:sp>
        <p:nvSpPr>
          <p:cNvPr id="27" name="textruta 214"/>
          <p:cNvSpPr txBox="1"/>
          <p:nvPr/>
        </p:nvSpPr>
        <p:spPr>
          <a:xfrm>
            <a:off x="4524789" y="2684473"/>
            <a:ext cx="912649" cy="282769"/>
          </a:xfrm>
          <a:prstGeom prst="rect">
            <a:avLst/>
          </a:prstGeom>
          <a:noFill/>
        </p:spPr>
        <p:txBody>
          <a:bodyPr wrap="square" lIns="0" tIns="0" rIns="0" bIns="0" rtlCol="0" anchor="ctr" anchorCtr="0">
            <a:noAutofit/>
          </a:bodyPr>
          <a:lstStyle/>
          <a:p>
            <a:r>
              <a:rPr lang="en-US" sz="1100" dirty="0">
                <a:latin typeface="Arial" panose="020B0604020202020204" pitchFamily="34" charset="0"/>
                <a:cs typeface="Arial" panose="020B0604020202020204" pitchFamily="34" charset="0"/>
              </a:rPr>
              <a:t>On demand </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information</a:t>
            </a:r>
          </a:p>
        </p:txBody>
      </p:sp>
      <p:sp>
        <p:nvSpPr>
          <p:cNvPr id="28" name="textruta 214"/>
          <p:cNvSpPr txBox="1"/>
          <p:nvPr/>
        </p:nvSpPr>
        <p:spPr>
          <a:xfrm>
            <a:off x="9875106" y="2684473"/>
            <a:ext cx="1530250" cy="282769"/>
          </a:xfrm>
          <a:prstGeom prst="rect">
            <a:avLst/>
          </a:prstGeom>
          <a:noFill/>
        </p:spPr>
        <p:txBody>
          <a:bodyPr wrap="square" lIns="0" tIns="0" rIns="0" bIns="0" rtlCol="0" anchor="ctr" anchorCtr="0">
            <a:noAutofit/>
          </a:bodyPr>
          <a:lstStyle/>
          <a:p>
            <a:r>
              <a:rPr lang="en-US" sz="1100" dirty="0">
                <a:latin typeface="Arial" panose="020B0604020202020204" pitchFamily="34" charset="0"/>
                <a:cs typeface="Arial" panose="020B0604020202020204" pitchFamily="34" charset="0"/>
              </a:rPr>
              <a:t>Autonomous </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control</a:t>
            </a:r>
          </a:p>
        </p:txBody>
      </p:sp>
      <p:sp>
        <p:nvSpPr>
          <p:cNvPr id="29" name="Freeform 7"/>
          <p:cNvSpPr>
            <a:spLocks noChangeAspect="1"/>
          </p:cNvSpPr>
          <p:nvPr/>
        </p:nvSpPr>
        <p:spPr bwMode="auto">
          <a:xfrm>
            <a:off x="630487" y="5527933"/>
            <a:ext cx="2840939" cy="1036532"/>
          </a:xfrm>
          <a:custGeom>
            <a:avLst/>
            <a:gdLst>
              <a:gd name="T0" fmla="*/ 2147483647 w 1831"/>
              <a:gd name="T1" fmla="*/ 2147483647 h 668"/>
              <a:gd name="T2" fmla="*/ 2147483647 w 1831"/>
              <a:gd name="T3" fmla="*/ 2147483647 h 668"/>
              <a:gd name="T4" fmla="*/ 2147483647 w 1831"/>
              <a:gd name="T5" fmla="*/ 0 h 668"/>
              <a:gd name="T6" fmla="*/ 2147483647 w 1831"/>
              <a:gd name="T7" fmla="*/ 0 h 668"/>
              <a:gd name="T8" fmla="*/ 0 w 1831"/>
              <a:gd name="T9" fmla="*/ 2147483647 h 668"/>
              <a:gd name="T10" fmla="*/ 0 w 1831"/>
              <a:gd name="T11" fmla="*/ 2147483647 h 668"/>
              <a:gd name="T12" fmla="*/ 2147483647 w 1831"/>
              <a:gd name="T13" fmla="*/ 2147483647 h 668"/>
              <a:gd name="T14" fmla="*/ 2147483647 w 1831"/>
              <a:gd name="T15" fmla="*/ 2147483647 h 668"/>
              <a:gd name="T16" fmla="*/ 2147483647 w 1831"/>
              <a:gd name="T17" fmla="*/ 2147483647 h 668"/>
              <a:gd name="T18" fmla="*/ 2147483647 w 1831"/>
              <a:gd name="T19" fmla="*/ 2147483647 h 668"/>
              <a:gd name="T20" fmla="*/ 2147483647 w 1831"/>
              <a:gd name="T21" fmla="*/ 2147483647 h 66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31"/>
              <a:gd name="T34" fmla="*/ 0 h 668"/>
              <a:gd name="T35" fmla="*/ 1831 w 1831"/>
              <a:gd name="T36" fmla="*/ 668 h 66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31" h="668">
                <a:moveTo>
                  <a:pt x="1820" y="300"/>
                </a:moveTo>
                <a:cubicBezTo>
                  <a:pt x="1735" y="32"/>
                  <a:pt x="1735" y="32"/>
                  <a:pt x="1735" y="32"/>
                </a:cubicBezTo>
                <a:cubicBezTo>
                  <a:pt x="1735" y="32"/>
                  <a:pt x="1725" y="0"/>
                  <a:pt x="1708" y="0"/>
                </a:cubicBezTo>
                <a:cubicBezTo>
                  <a:pt x="1704" y="0"/>
                  <a:pt x="19" y="0"/>
                  <a:pt x="19" y="0"/>
                </a:cubicBezTo>
                <a:cubicBezTo>
                  <a:pt x="8" y="0"/>
                  <a:pt x="0" y="10"/>
                  <a:pt x="0" y="21"/>
                </a:cubicBezTo>
                <a:cubicBezTo>
                  <a:pt x="0" y="646"/>
                  <a:pt x="0" y="646"/>
                  <a:pt x="0" y="646"/>
                </a:cubicBezTo>
                <a:cubicBezTo>
                  <a:pt x="0" y="657"/>
                  <a:pt x="8" y="666"/>
                  <a:pt x="19" y="668"/>
                </a:cubicBezTo>
                <a:cubicBezTo>
                  <a:pt x="19" y="668"/>
                  <a:pt x="1704" y="668"/>
                  <a:pt x="1708" y="668"/>
                </a:cubicBezTo>
                <a:cubicBezTo>
                  <a:pt x="1724" y="668"/>
                  <a:pt x="1735" y="636"/>
                  <a:pt x="1735" y="636"/>
                </a:cubicBezTo>
                <a:cubicBezTo>
                  <a:pt x="1735" y="636"/>
                  <a:pt x="1808" y="405"/>
                  <a:pt x="1820" y="368"/>
                </a:cubicBezTo>
                <a:cubicBezTo>
                  <a:pt x="1831" y="332"/>
                  <a:pt x="1820" y="300"/>
                  <a:pt x="1820" y="300"/>
                </a:cubicBezTo>
                <a:close/>
              </a:path>
            </a:pathLst>
          </a:custGeom>
          <a:noFill/>
          <a:ln w="9525">
            <a:solidFill>
              <a:schemeClr val="tx1"/>
            </a:solidFill>
            <a:round/>
            <a:headEnd/>
            <a:tailEnd/>
          </a:ln>
          <a:extLst/>
        </p:spPr>
        <p:txBody>
          <a:bodyPr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50000"/>
              </a:spcBef>
              <a:buClrTx/>
              <a:buFontTx/>
              <a:buNone/>
            </a:pPr>
            <a:endParaRPr lang="en-US" altLang="en-US" sz="2000" dirty="0">
              <a:ea typeface="ＭＳ Ｐゴシック" pitchFamily="34" charset="-128"/>
              <a:cs typeface="ＭＳ Ｐゴシック" pitchFamily="34" charset="-128"/>
            </a:endParaRPr>
          </a:p>
        </p:txBody>
      </p:sp>
      <p:sp>
        <p:nvSpPr>
          <p:cNvPr id="30" name="TextBox 78"/>
          <p:cNvSpPr txBox="1"/>
          <p:nvPr/>
        </p:nvSpPr>
        <p:spPr>
          <a:xfrm>
            <a:off x="630487" y="5481144"/>
            <a:ext cx="2704934" cy="1036533"/>
          </a:xfrm>
          <a:prstGeom prst="rect">
            <a:avLst/>
          </a:prstGeom>
          <a:noFill/>
        </p:spPr>
        <p:txBody>
          <a:bodyPr wrap="none" bIns="0" rtlCol="0" anchor="ctr" anchorCtr="0">
            <a:noAutofit/>
          </a:bodyPr>
          <a:lstStyle/>
          <a:p>
            <a:pPr algn="ctr"/>
            <a:r>
              <a:rPr lang="en-US" sz="1500" dirty="0"/>
              <a:t>Technologies</a:t>
            </a:r>
          </a:p>
        </p:txBody>
      </p:sp>
      <p:sp>
        <p:nvSpPr>
          <p:cNvPr id="31" name="Likbent triangel 80"/>
          <p:cNvSpPr/>
          <p:nvPr/>
        </p:nvSpPr>
        <p:spPr bwMode="auto">
          <a:xfrm flipV="1">
            <a:off x="6329125" y="2047997"/>
            <a:ext cx="1530250" cy="430815"/>
          </a:xfrm>
          <a:custGeom>
            <a:avLst/>
            <a:gdLst/>
            <a:ahLst/>
            <a:cxnLst/>
            <a:rect l="l" t="t" r="r" b="b"/>
            <a:pathLst>
              <a:path w="1530250" h="430815">
                <a:moveTo>
                  <a:pt x="42062" y="430815"/>
                </a:moveTo>
                <a:lnTo>
                  <a:pt x="1488188" y="430815"/>
                </a:lnTo>
                <a:cubicBezTo>
                  <a:pt x="1511418" y="430815"/>
                  <a:pt x="1530250" y="411983"/>
                  <a:pt x="1530250" y="388753"/>
                </a:cubicBezTo>
                <a:lnTo>
                  <a:pt x="1530250" y="174330"/>
                </a:lnTo>
                <a:cubicBezTo>
                  <a:pt x="1530250" y="151100"/>
                  <a:pt x="1511418" y="132268"/>
                  <a:pt x="1488188" y="132268"/>
                </a:cubicBezTo>
                <a:lnTo>
                  <a:pt x="841841" y="132268"/>
                </a:lnTo>
                <a:lnTo>
                  <a:pt x="765126" y="0"/>
                </a:lnTo>
                <a:lnTo>
                  <a:pt x="688410" y="132268"/>
                </a:lnTo>
                <a:lnTo>
                  <a:pt x="42062" y="132268"/>
                </a:lnTo>
                <a:cubicBezTo>
                  <a:pt x="18832" y="132268"/>
                  <a:pt x="0" y="151100"/>
                  <a:pt x="0" y="174330"/>
                </a:cubicBezTo>
                <a:lnTo>
                  <a:pt x="0" y="388753"/>
                </a:lnTo>
                <a:cubicBezTo>
                  <a:pt x="0" y="411983"/>
                  <a:pt x="18832" y="430815"/>
                  <a:pt x="42062" y="430815"/>
                </a:cubicBezTo>
                <a:close/>
              </a:path>
            </a:pathLst>
          </a:cu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effectLst/>
              <a:latin typeface="Arial" charset="0"/>
            </a:endParaRPr>
          </a:p>
        </p:txBody>
      </p:sp>
      <p:sp>
        <p:nvSpPr>
          <p:cNvPr id="32" name="TextBox 67"/>
          <p:cNvSpPr txBox="1"/>
          <p:nvPr/>
        </p:nvSpPr>
        <p:spPr>
          <a:xfrm>
            <a:off x="6329126" y="2086482"/>
            <a:ext cx="1530250" cy="298547"/>
          </a:xfrm>
          <a:prstGeom prst="rect">
            <a:avLst/>
          </a:prstGeom>
          <a:noFill/>
          <a:ln>
            <a:noFill/>
          </a:ln>
          <a:extLst>
            <a:ext uri="{91240B29-F687-4f45-9708-019B960494DF}">
              <a14:hiddenLine xmlns:a14="http://schemas.microsoft.com/office/drawing/2010/main" xmlns=""/>
            </a:ext>
          </a:extLst>
        </p:spPr>
        <p:txBody>
          <a:bodyPr wrap="square" lIns="0" tIns="0" rIns="0" bIns="0" rtlCol="0" anchor="t" anchorCtr="0">
            <a:noAutofit/>
          </a:bodyPr>
          <a:lstStyle/>
          <a:p>
            <a:pPr algn="ctr">
              <a:spcBef>
                <a:spcPts val="300"/>
              </a:spcBef>
            </a:pPr>
            <a:r>
              <a:rPr lang="en-US" sz="1300" dirty="0"/>
              <a:t>On the road to 5G</a:t>
            </a:r>
          </a:p>
        </p:txBody>
      </p:sp>
      <p:sp>
        <p:nvSpPr>
          <p:cNvPr id="33" name="Likbent triangel 80"/>
          <p:cNvSpPr/>
          <p:nvPr/>
        </p:nvSpPr>
        <p:spPr bwMode="auto">
          <a:xfrm flipV="1">
            <a:off x="8898568" y="2047997"/>
            <a:ext cx="1530250" cy="430815"/>
          </a:xfrm>
          <a:custGeom>
            <a:avLst/>
            <a:gdLst/>
            <a:ahLst/>
            <a:cxnLst/>
            <a:rect l="l" t="t" r="r" b="b"/>
            <a:pathLst>
              <a:path w="1530250" h="430815">
                <a:moveTo>
                  <a:pt x="42062" y="430815"/>
                </a:moveTo>
                <a:lnTo>
                  <a:pt x="1488188" y="430815"/>
                </a:lnTo>
                <a:cubicBezTo>
                  <a:pt x="1511418" y="430815"/>
                  <a:pt x="1530250" y="411983"/>
                  <a:pt x="1530250" y="388753"/>
                </a:cubicBezTo>
                <a:lnTo>
                  <a:pt x="1530250" y="174330"/>
                </a:lnTo>
                <a:cubicBezTo>
                  <a:pt x="1530250" y="151100"/>
                  <a:pt x="1511418" y="132268"/>
                  <a:pt x="1488188" y="132268"/>
                </a:cubicBezTo>
                <a:lnTo>
                  <a:pt x="841841" y="132268"/>
                </a:lnTo>
                <a:lnTo>
                  <a:pt x="765126" y="0"/>
                </a:lnTo>
                <a:lnTo>
                  <a:pt x="688410" y="132268"/>
                </a:lnTo>
                <a:lnTo>
                  <a:pt x="42062" y="132268"/>
                </a:lnTo>
                <a:cubicBezTo>
                  <a:pt x="18832" y="132268"/>
                  <a:pt x="0" y="151100"/>
                  <a:pt x="0" y="174330"/>
                </a:cubicBezTo>
                <a:lnTo>
                  <a:pt x="0" y="388753"/>
                </a:lnTo>
                <a:cubicBezTo>
                  <a:pt x="0" y="411983"/>
                  <a:pt x="18832" y="430815"/>
                  <a:pt x="42062" y="430815"/>
                </a:cubicBezTo>
                <a:close/>
              </a:path>
            </a:pathLst>
          </a:cu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effectLst/>
              <a:latin typeface="Arial" charset="0"/>
            </a:endParaRPr>
          </a:p>
        </p:txBody>
      </p:sp>
      <p:sp>
        <p:nvSpPr>
          <p:cNvPr id="34" name="TextBox 67"/>
          <p:cNvSpPr txBox="1"/>
          <p:nvPr/>
        </p:nvSpPr>
        <p:spPr>
          <a:xfrm>
            <a:off x="8898569" y="2086482"/>
            <a:ext cx="1530250" cy="298547"/>
          </a:xfrm>
          <a:prstGeom prst="rect">
            <a:avLst/>
          </a:prstGeom>
          <a:noFill/>
          <a:ln>
            <a:noFill/>
          </a:ln>
          <a:extLst>
            <a:ext uri="{91240B29-F687-4f45-9708-019B960494DF}">
              <a14:hiddenLine xmlns:a14="http://schemas.microsoft.com/office/drawing/2010/main" xmlns=""/>
            </a:ext>
          </a:extLst>
        </p:spPr>
        <p:txBody>
          <a:bodyPr wrap="square" lIns="0" tIns="0" rIns="0" bIns="0" rtlCol="0" anchor="t" anchorCtr="0">
            <a:noAutofit/>
          </a:bodyPr>
          <a:lstStyle/>
          <a:p>
            <a:pPr algn="ctr">
              <a:spcBef>
                <a:spcPts val="300"/>
              </a:spcBef>
            </a:pPr>
            <a:r>
              <a:rPr lang="en-US" sz="1300" dirty="0"/>
              <a:t>5G experience</a:t>
            </a:r>
          </a:p>
        </p:txBody>
      </p:sp>
      <p:sp>
        <p:nvSpPr>
          <p:cNvPr id="35" name="Likbent triangel 80"/>
          <p:cNvSpPr/>
          <p:nvPr/>
        </p:nvSpPr>
        <p:spPr bwMode="auto">
          <a:xfrm flipV="1">
            <a:off x="3772250" y="2047771"/>
            <a:ext cx="1530250" cy="430815"/>
          </a:xfrm>
          <a:custGeom>
            <a:avLst/>
            <a:gdLst/>
            <a:ahLst/>
            <a:cxnLst/>
            <a:rect l="l" t="t" r="r" b="b"/>
            <a:pathLst>
              <a:path w="1530250" h="430815">
                <a:moveTo>
                  <a:pt x="42062" y="430815"/>
                </a:moveTo>
                <a:lnTo>
                  <a:pt x="1488188" y="430815"/>
                </a:lnTo>
                <a:cubicBezTo>
                  <a:pt x="1511418" y="430815"/>
                  <a:pt x="1530250" y="411983"/>
                  <a:pt x="1530250" y="388753"/>
                </a:cubicBezTo>
                <a:lnTo>
                  <a:pt x="1530250" y="174330"/>
                </a:lnTo>
                <a:cubicBezTo>
                  <a:pt x="1530250" y="151100"/>
                  <a:pt x="1511418" y="132268"/>
                  <a:pt x="1488188" y="132268"/>
                </a:cubicBezTo>
                <a:lnTo>
                  <a:pt x="841841" y="132268"/>
                </a:lnTo>
                <a:lnTo>
                  <a:pt x="765126" y="0"/>
                </a:lnTo>
                <a:lnTo>
                  <a:pt x="688410" y="132268"/>
                </a:lnTo>
                <a:lnTo>
                  <a:pt x="42062" y="132268"/>
                </a:lnTo>
                <a:cubicBezTo>
                  <a:pt x="18832" y="132268"/>
                  <a:pt x="0" y="151100"/>
                  <a:pt x="0" y="174330"/>
                </a:cubicBezTo>
                <a:lnTo>
                  <a:pt x="0" y="388753"/>
                </a:lnTo>
                <a:cubicBezTo>
                  <a:pt x="0" y="411983"/>
                  <a:pt x="18832" y="430815"/>
                  <a:pt x="42062" y="430815"/>
                </a:cubicBezTo>
                <a:close/>
              </a:path>
            </a:pathLst>
          </a:custGeom>
          <a:solidFill>
            <a:schemeClr val="bg1"/>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effectLst/>
              <a:latin typeface="Arial" charset="0"/>
            </a:endParaRPr>
          </a:p>
        </p:txBody>
      </p:sp>
      <p:sp>
        <p:nvSpPr>
          <p:cNvPr id="36" name="TextBox 67"/>
          <p:cNvSpPr txBox="1"/>
          <p:nvPr/>
        </p:nvSpPr>
        <p:spPr>
          <a:xfrm>
            <a:off x="3772251" y="2086256"/>
            <a:ext cx="1530250" cy="298547"/>
          </a:xfrm>
          <a:prstGeom prst="rect">
            <a:avLst/>
          </a:prstGeom>
          <a:noFill/>
          <a:ln>
            <a:noFill/>
          </a:ln>
          <a:extLst>
            <a:ext uri="{91240B29-F687-4f45-9708-019B960494DF}">
              <a14:hiddenLine xmlns:a14="http://schemas.microsoft.com/office/drawing/2010/main" xmlns=""/>
            </a:ext>
          </a:extLst>
        </p:spPr>
        <p:txBody>
          <a:bodyPr wrap="square" lIns="0" tIns="0" rIns="0" bIns="0" rtlCol="0" anchor="t" anchorCtr="0">
            <a:noAutofit/>
          </a:bodyPr>
          <a:lstStyle/>
          <a:p>
            <a:pPr algn="ctr">
              <a:spcBef>
                <a:spcPts val="300"/>
              </a:spcBef>
            </a:pPr>
            <a:r>
              <a:rPr lang="en-US" sz="1300" dirty="0"/>
              <a:t>Current</a:t>
            </a:r>
          </a:p>
        </p:txBody>
      </p:sp>
      <p:sp>
        <p:nvSpPr>
          <p:cNvPr id="37" name="textruta 214"/>
          <p:cNvSpPr txBox="1"/>
          <p:nvPr/>
        </p:nvSpPr>
        <p:spPr>
          <a:xfrm>
            <a:off x="4524789" y="4607701"/>
            <a:ext cx="1427250" cy="282769"/>
          </a:xfrm>
          <a:prstGeom prst="rect">
            <a:avLst/>
          </a:prstGeom>
          <a:noFill/>
        </p:spPr>
        <p:txBody>
          <a:bodyPr wrap="square" lIns="0" tIns="0" rIns="0" bIns="0" rtlCol="0" anchor="ctr" anchorCtr="0">
            <a:noAutofit/>
          </a:bodyPr>
          <a:lstStyle/>
          <a:p>
            <a:r>
              <a:rPr lang="en-US" sz="1100" dirty="0">
                <a:latin typeface="Arial" panose="020B0604020202020204" pitchFamily="34" charset="0"/>
                <a:cs typeface="Arial" panose="020B0604020202020204" pitchFamily="34" charset="0"/>
              </a:rPr>
              <a:t>Connected </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doctors </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and patients</a:t>
            </a:r>
          </a:p>
        </p:txBody>
      </p:sp>
      <p:sp>
        <p:nvSpPr>
          <p:cNvPr id="38" name="textruta 214"/>
          <p:cNvSpPr txBox="1"/>
          <p:nvPr/>
        </p:nvSpPr>
        <p:spPr>
          <a:xfrm>
            <a:off x="9875106" y="4607701"/>
            <a:ext cx="791755" cy="282769"/>
          </a:xfrm>
          <a:prstGeom prst="rect">
            <a:avLst/>
          </a:prstGeom>
          <a:noFill/>
        </p:spPr>
        <p:txBody>
          <a:bodyPr wrap="square" lIns="0" tIns="0" rIns="0" bIns="0" rtlCol="0" anchor="ctr" anchorCtr="0">
            <a:noAutofit/>
          </a:bodyPr>
          <a:lstStyle/>
          <a:p>
            <a:r>
              <a:rPr lang="en-US" sz="1100" dirty="0">
                <a:latin typeface="Arial" panose="020B0604020202020204" pitchFamily="34" charset="0"/>
                <a:cs typeface="Arial" panose="020B0604020202020204" pitchFamily="34" charset="0"/>
              </a:rPr>
              <a:t>Remote </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operations</a:t>
            </a:r>
          </a:p>
        </p:txBody>
      </p:sp>
      <p:sp>
        <p:nvSpPr>
          <p:cNvPr id="39" name="Freeform 3"/>
          <p:cNvSpPr>
            <a:spLocks noChangeAspect="1" noEditPoints="1"/>
          </p:cNvSpPr>
          <p:nvPr/>
        </p:nvSpPr>
        <p:spPr bwMode="auto">
          <a:xfrm>
            <a:off x="9053589" y="4827511"/>
            <a:ext cx="248584" cy="145839"/>
          </a:xfrm>
          <a:custGeom>
            <a:avLst/>
            <a:gdLst>
              <a:gd name="T0" fmla="*/ 2147483647 w 464"/>
              <a:gd name="T1" fmla="*/ 2147483647 h 272"/>
              <a:gd name="T2" fmla="*/ 2147483647 w 464"/>
              <a:gd name="T3" fmla="*/ 2147483647 h 272"/>
              <a:gd name="T4" fmla="*/ 2147483647 w 464"/>
              <a:gd name="T5" fmla="*/ 2147483647 h 272"/>
              <a:gd name="T6" fmla="*/ 2147483647 w 464"/>
              <a:gd name="T7" fmla="*/ 2147483647 h 272"/>
              <a:gd name="T8" fmla="*/ 2147483647 w 464"/>
              <a:gd name="T9" fmla="*/ 2147483647 h 272"/>
              <a:gd name="T10" fmla="*/ 2147483647 w 464"/>
              <a:gd name="T11" fmla="*/ 2147483647 h 272"/>
              <a:gd name="T12" fmla="*/ 2147483647 w 464"/>
              <a:gd name="T13" fmla="*/ 2147483647 h 272"/>
              <a:gd name="T14" fmla="*/ 2147483647 w 464"/>
              <a:gd name="T15" fmla="*/ 2147483647 h 272"/>
              <a:gd name="T16" fmla="*/ 0 w 464"/>
              <a:gd name="T17" fmla="*/ 2147483647 h 272"/>
              <a:gd name="T18" fmla="*/ 2147483647 w 464"/>
              <a:gd name="T19" fmla="*/ 2147483647 h 272"/>
              <a:gd name="T20" fmla="*/ 2147483647 w 464"/>
              <a:gd name="T21" fmla="*/ 2147483647 h 272"/>
              <a:gd name="T22" fmla="*/ 2147483647 w 464"/>
              <a:gd name="T23" fmla="*/ 2147483647 h 272"/>
              <a:gd name="T24" fmla="*/ 2147483647 w 464"/>
              <a:gd name="T25" fmla="*/ 2147483647 h 272"/>
              <a:gd name="T26" fmla="*/ 2147483647 w 464"/>
              <a:gd name="T27" fmla="*/ 2147483647 h 272"/>
              <a:gd name="T28" fmla="*/ 2147483647 w 464"/>
              <a:gd name="T29" fmla="*/ 2147483647 h 272"/>
              <a:gd name="T30" fmla="*/ 2147483647 w 464"/>
              <a:gd name="T31" fmla="*/ 2147483647 h 272"/>
              <a:gd name="T32" fmla="*/ 2147483647 w 464"/>
              <a:gd name="T33" fmla="*/ 2147483647 h 272"/>
              <a:gd name="T34" fmla="*/ 2147483647 w 464"/>
              <a:gd name="T35" fmla="*/ 2147483647 h 272"/>
              <a:gd name="T36" fmla="*/ 2147483647 w 464"/>
              <a:gd name="T37" fmla="*/ 2147483647 h 272"/>
              <a:gd name="T38" fmla="*/ 2147483647 w 464"/>
              <a:gd name="T39" fmla="*/ 2147483647 h 272"/>
              <a:gd name="T40" fmla="*/ 2147483647 w 464"/>
              <a:gd name="T41" fmla="*/ 2147483647 h 272"/>
              <a:gd name="T42" fmla="*/ 2147483647 w 464"/>
              <a:gd name="T43" fmla="*/ 2147483647 h 272"/>
              <a:gd name="T44" fmla="*/ 2147483647 w 464"/>
              <a:gd name="T45" fmla="*/ 2147483647 h 272"/>
              <a:gd name="T46" fmla="*/ 2147483647 w 464"/>
              <a:gd name="T47" fmla="*/ 2147483647 h 272"/>
              <a:gd name="T48" fmla="*/ 2147483647 w 464"/>
              <a:gd name="T49" fmla="*/ 2147483647 h 272"/>
              <a:gd name="T50" fmla="*/ 2147483647 w 464"/>
              <a:gd name="T51" fmla="*/ 2147483647 h 272"/>
              <a:gd name="T52" fmla="*/ 2147483647 w 464"/>
              <a:gd name="T53" fmla="*/ 2147483647 h 272"/>
              <a:gd name="T54" fmla="*/ 2147483647 w 464"/>
              <a:gd name="T55" fmla="*/ 2147483647 h 272"/>
              <a:gd name="T56" fmla="*/ 2147483647 w 464"/>
              <a:gd name="T57" fmla="*/ 2147483647 h 272"/>
              <a:gd name="T58" fmla="*/ 2147483647 w 464"/>
              <a:gd name="T59" fmla="*/ 2147483647 h 272"/>
              <a:gd name="T60" fmla="*/ 2147483647 w 464"/>
              <a:gd name="T61" fmla="*/ 2147483647 h 272"/>
              <a:gd name="T62" fmla="*/ 2147483647 w 464"/>
              <a:gd name="T63" fmla="*/ 2147483647 h 2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4" h="272">
                <a:moveTo>
                  <a:pt x="456" y="91"/>
                </a:moveTo>
                <a:cubicBezTo>
                  <a:pt x="461" y="91"/>
                  <a:pt x="464" y="88"/>
                  <a:pt x="464" y="83"/>
                </a:cubicBezTo>
                <a:cubicBezTo>
                  <a:pt x="464" y="24"/>
                  <a:pt x="464" y="24"/>
                  <a:pt x="464" y="24"/>
                </a:cubicBezTo>
                <a:cubicBezTo>
                  <a:pt x="464" y="20"/>
                  <a:pt x="461" y="16"/>
                  <a:pt x="456" y="16"/>
                </a:cubicBezTo>
                <a:cubicBezTo>
                  <a:pt x="452" y="16"/>
                  <a:pt x="448" y="20"/>
                  <a:pt x="448" y="24"/>
                </a:cubicBezTo>
                <a:cubicBezTo>
                  <a:pt x="448" y="41"/>
                  <a:pt x="448" y="41"/>
                  <a:pt x="448" y="41"/>
                </a:cubicBezTo>
                <a:cubicBezTo>
                  <a:pt x="431" y="44"/>
                  <a:pt x="423" y="58"/>
                  <a:pt x="416" y="70"/>
                </a:cubicBezTo>
                <a:cubicBezTo>
                  <a:pt x="408" y="83"/>
                  <a:pt x="404" y="88"/>
                  <a:pt x="395" y="88"/>
                </a:cubicBezTo>
                <a:cubicBezTo>
                  <a:pt x="361" y="85"/>
                  <a:pt x="293" y="81"/>
                  <a:pt x="255" y="81"/>
                </a:cubicBezTo>
                <a:cubicBezTo>
                  <a:pt x="206" y="81"/>
                  <a:pt x="155" y="87"/>
                  <a:pt x="131" y="90"/>
                </a:cubicBezTo>
                <a:cubicBezTo>
                  <a:pt x="132" y="87"/>
                  <a:pt x="132" y="84"/>
                  <a:pt x="132" y="81"/>
                </a:cubicBezTo>
                <a:cubicBezTo>
                  <a:pt x="132" y="51"/>
                  <a:pt x="108" y="27"/>
                  <a:pt x="78" y="27"/>
                </a:cubicBezTo>
                <a:cubicBezTo>
                  <a:pt x="49" y="27"/>
                  <a:pt x="25" y="51"/>
                  <a:pt x="25" y="81"/>
                </a:cubicBezTo>
                <a:cubicBezTo>
                  <a:pt x="25" y="85"/>
                  <a:pt x="25" y="89"/>
                  <a:pt x="26" y="92"/>
                </a:cubicBezTo>
                <a:cubicBezTo>
                  <a:pt x="22" y="92"/>
                  <a:pt x="19" y="92"/>
                  <a:pt x="16" y="92"/>
                </a:cubicBezTo>
                <a:cubicBezTo>
                  <a:pt x="16" y="8"/>
                  <a:pt x="16" y="8"/>
                  <a:pt x="16" y="8"/>
                </a:cubicBezTo>
                <a:cubicBezTo>
                  <a:pt x="16" y="3"/>
                  <a:pt x="12" y="0"/>
                  <a:pt x="8" y="0"/>
                </a:cubicBezTo>
                <a:cubicBezTo>
                  <a:pt x="4" y="0"/>
                  <a:pt x="0" y="3"/>
                  <a:pt x="0" y="8"/>
                </a:cubicBezTo>
                <a:cubicBezTo>
                  <a:pt x="0" y="264"/>
                  <a:pt x="0" y="264"/>
                  <a:pt x="0" y="264"/>
                </a:cubicBezTo>
                <a:cubicBezTo>
                  <a:pt x="0" y="268"/>
                  <a:pt x="4" y="272"/>
                  <a:pt x="8" y="272"/>
                </a:cubicBezTo>
                <a:cubicBezTo>
                  <a:pt x="12" y="272"/>
                  <a:pt x="16" y="268"/>
                  <a:pt x="16" y="264"/>
                </a:cubicBezTo>
                <a:cubicBezTo>
                  <a:pt x="16" y="245"/>
                  <a:pt x="16" y="245"/>
                  <a:pt x="16" y="245"/>
                </a:cubicBezTo>
                <a:cubicBezTo>
                  <a:pt x="20" y="247"/>
                  <a:pt x="25" y="248"/>
                  <a:pt x="31" y="248"/>
                </a:cubicBezTo>
                <a:cubicBezTo>
                  <a:pt x="434" y="248"/>
                  <a:pt x="434" y="248"/>
                  <a:pt x="434" y="248"/>
                </a:cubicBezTo>
                <a:cubicBezTo>
                  <a:pt x="439" y="248"/>
                  <a:pt x="444" y="247"/>
                  <a:pt x="448" y="245"/>
                </a:cubicBezTo>
                <a:cubicBezTo>
                  <a:pt x="448" y="264"/>
                  <a:pt x="448" y="264"/>
                  <a:pt x="448" y="264"/>
                </a:cubicBezTo>
                <a:cubicBezTo>
                  <a:pt x="448" y="268"/>
                  <a:pt x="452" y="272"/>
                  <a:pt x="456" y="272"/>
                </a:cubicBezTo>
                <a:cubicBezTo>
                  <a:pt x="461" y="272"/>
                  <a:pt x="464" y="268"/>
                  <a:pt x="464" y="264"/>
                </a:cubicBezTo>
                <a:cubicBezTo>
                  <a:pt x="464" y="115"/>
                  <a:pt x="464" y="115"/>
                  <a:pt x="464" y="115"/>
                </a:cubicBezTo>
                <a:cubicBezTo>
                  <a:pt x="464" y="111"/>
                  <a:pt x="461" y="107"/>
                  <a:pt x="456" y="107"/>
                </a:cubicBezTo>
                <a:cubicBezTo>
                  <a:pt x="452" y="107"/>
                  <a:pt x="448" y="111"/>
                  <a:pt x="448" y="115"/>
                </a:cubicBezTo>
                <a:cubicBezTo>
                  <a:pt x="448" y="191"/>
                  <a:pt x="448" y="191"/>
                  <a:pt x="448" y="191"/>
                </a:cubicBezTo>
                <a:cubicBezTo>
                  <a:pt x="119" y="191"/>
                  <a:pt x="119" y="191"/>
                  <a:pt x="119" y="191"/>
                </a:cubicBezTo>
                <a:cubicBezTo>
                  <a:pt x="111" y="191"/>
                  <a:pt x="104" y="184"/>
                  <a:pt x="104" y="176"/>
                </a:cubicBezTo>
                <a:cubicBezTo>
                  <a:pt x="104" y="122"/>
                  <a:pt x="104" y="122"/>
                  <a:pt x="104" y="122"/>
                </a:cubicBezTo>
                <a:cubicBezTo>
                  <a:pt x="104" y="112"/>
                  <a:pt x="114" y="109"/>
                  <a:pt x="121" y="107"/>
                </a:cubicBezTo>
                <a:cubicBezTo>
                  <a:pt x="125" y="107"/>
                  <a:pt x="192" y="97"/>
                  <a:pt x="255" y="97"/>
                </a:cubicBezTo>
                <a:cubicBezTo>
                  <a:pt x="293" y="97"/>
                  <a:pt x="360" y="101"/>
                  <a:pt x="394" y="104"/>
                </a:cubicBezTo>
                <a:cubicBezTo>
                  <a:pt x="413" y="105"/>
                  <a:pt x="422" y="90"/>
                  <a:pt x="429" y="78"/>
                </a:cubicBezTo>
                <a:cubicBezTo>
                  <a:pt x="436" y="68"/>
                  <a:pt x="440" y="60"/>
                  <a:pt x="448" y="58"/>
                </a:cubicBezTo>
                <a:cubicBezTo>
                  <a:pt x="448" y="83"/>
                  <a:pt x="448" y="83"/>
                  <a:pt x="448" y="83"/>
                </a:cubicBezTo>
                <a:cubicBezTo>
                  <a:pt x="448" y="88"/>
                  <a:pt x="452" y="91"/>
                  <a:pt x="456" y="91"/>
                </a:cubicBezTo>
                <a:close/>
                <a:moveTo>
                  <a:pt x="16" y="108"/>
                </a:moveTo>
                <a:cubicBezTo>
                  <a:pt x="39" y="109"/>
                  <a:pt x="74" y="115"/>
                  <a:pt x="83" y="129"/>
                </a:cubicBezTo>
                <a:cubicBezTo>
                  <a:pt x="31" y="129"/>
                  <a:pt x="31" y="129"/>
                  <a:pt x="31" y="129"/>
                </a:cubicBezTo>
                <a:cubicBezTo>
                  <a:pt x="25" y="129"/>
                  <a:pt x="20" y="130"/>
                  <a:pt x="16" y="133"/>
                </a:cubicBezTo>
                <a:lnTo>
                  <a:pt x="16" y="108"/>
                </a:lnTo>
                <a:close/>
                <a:moveTo>
                  <a:pt x="119" y="207"/>
                </a:moveTo>
                <a:cubicBezTo>
                  <a:pt x="448" y="207"/>
                  <a:pt x="448" y="207"/>
                  <a:pt x="448" y="207"/>
                </a:cubicBezTo>
                <a:cubicBezTo>
                  <a:pt x="448" y="218"/>
                  <a:pt x="448" y="218"/>
                  <a:pt x="448" y="218"/>
                </a:cubicBezTo>
                <a:cubicBezTo>
                  <a:pt x="448" y="226"/>
                  <a:pt x="442" y="232"/>
                  <a:pt x="434" y="232"/>
                </a:cubicBezTo>
                <a:cubicBezTo>
                  <a:pt x="31" y="232"/>
                  <a:pt x="31" y="232"/>
                  <a:pt x="31" y="232"/>
                </a:cubicBezTo>
                <a:cubicBezTo>
                  <a:pt x="23" y="232"/>
                  <a:pt x="16" y="226"/>
                  <a:pt x="16" y="218"/>
                </a:cubicBezTo>
                <a:cubicBezTo>
                  <a:pt x="16" y="160"/>
                  <a:pt x="16" y="160"/>
                  <a:pt x="16" y="160"/>
                </a:cubicBezTo>
                <a:cubicBezTo>
                  <a:pt x="16" y="152"/>
                  <a:pt x="23" y="145"/>
                  <a:pt x="31" y="145"/>
                </a:cubicBezTo>
                <a:cubicBezTo>
                  <a:pt x="88" y="145"/>
                  <a:pt x="88" y="145"/>
                  <a:pt x="88" y="145"/>
                </a:cubicBezTo>
                <a:cubicBezTo>
                  <a:pt x="88" y="176"/>
                  <a:pt x="88" y="176"/>
                  <a:pt x="88" y="176"/>
                </a:cubicBezTo>
                <a:cubicBezTo>
                  <a:pt x="88" y="193"/>
                  <a:pt x="102" y="207"/>
                  <a:pt x="119" y="207"/>
                </a:cubicBezTo>
                <a:close/>
                <a:moveTo>
                  <a:pt x="114" y="92"/>
                </a:moveTo>
                <a:cubicBezTo>
                  <a:pt x="102" y="96"/>
                  <a:pt x="93" y="103"/>
                  <a:pt x="90" y="113"/>
                </a:cubicBezTo>
                <a:cubicBezTo>
                  <a:pt x="79" y="103"/>
                  <a:pt x="60" y="98"/>
                  <a:pt x="44" y="95"/>
                </a:cubicBezTo>
                <a:cubicBezTo>
                  <a:pt x="42" y="90"/>
                  <a:pt x="41" y="86"/>
                  <a:pt x="41" y="81"/>
                </a:cubicBezTo>
                <a:cubicBezTo>
                  <a:pt x="41" y="60"/>
                  <a:pt x="58" y="43"/>
                  <a:pt x="78" y="43"/>
                </a:cubicBezTo>
                <a:cubicBezTo>
                  <a:pt x="99" y="43"/>
                  <a:pt x="116" y="60"/>
                  <a:pt x="116" y="81"/>
                </a:cubicBezTo>
                <a:cubicBezTo>
                  <a:pt x="116" y="85"/>
                  <a:pt x="115" y="89"/>
                  <a:pt x="114" y="92"/>
                </a:cubicBezTo>
                <a:close/>
              </a:path>
            </a:pathLst>
          </a:custGeom>
          <a:solidFill>
            <a:srgbClr val="FFFFFF"/>
          </a:solidFill>
          <a:ln>
            <a:noFill/>
          </a:ln>
        </p:spPr>
        <p:txBody>
          <a:bodyPr/>
          <a:lstStyle/>
          <a:p>
            <a:endParaRPr lang="sv-SE"/>
          </a:p>
        </p:txBody>
      </p:sp>
      <p:sp>
        <p:nvSpPr>
          <p:cNvPr id="40" name="Freeform 3"/>
          <p:cNvSpPr>
            <a:spLocks noChangeAspect="1" noEditPoints="1"/>
          </p:cNvSpPr>
          <p:nvPr/>
        </p:nvSpPr>
        <p:spPr bwMode="auto">
          <a:xfrm>
            <a:off x="4247156" y="4775131"/>
            <a:ext cx="139916" cy="220357"/>
          </a:xfrm>
          <a:custGeom>
            <a:avLst/>
            <a:gdLst>
              <a:gd name="T0" fmla="*/ 2147483647 w 260"/>
              <a:gd name="T1" fmla="*/ 2147483647 h 409"/>
              <a:gd name="T2" fmla="*/ 2147483647 w 260"/>
              <a:gd name="T3" fmla="*/ 2147483647 h 409"/>
              <a:gd name="T4" fmla="*/ 2147483647 w 260"/>
              <a:gd name="T5" fmla="*/ 2147483647 h 409"/>
              <a:gd name="T6" fmla="*/ 2147483647 w 260"/>
              <a:gd name="T7" fmla="*/ 2147483647 h 409"/>
              <a:gd name="T8" fmla="*/ 2147483647 w 260"/>
              <a:gd name="T9" fmla="*/ 2147483647 h 409"/>
              <a:gd name="T10" fmla="*/ 2147483647 w 260"/>
              <a:gd name="T11" fmla="*/ 2147483647 h 409"/>
              <a:gd name="T12" fmla="*/ 2147483647 w 260"/>
              <a:gd name="T13" fmla="*/ 2147483647 h 409"/>
              <a:gd name="T14" fmla="*/ 2147483647 w 260"/>
              <a:gd name="T15" fmla="*/ 2147483647 h 409"/>
              <a:gd name="T16" fmla="*/ 2147483647 w 260"/>
              <a:gd name="T17" fmla="*/ 2147483647 h 409"/>
              <a:gd name="T18" fmla="*/ 2147483647 w 260"/>
              <a:gd name="T19" fmla="*/ 2147483647 h 409"/>
              <a:gd name="T20" fmla="*/ 2147483647 w 260"/>
              <a:gd name="T21" fmla="*/ 2147483647 h 409"/>
              <a:gd name="T22" fmla="*/ 2147483647 w 260"/>
              <a:gd name="T23" fmla="*/ 2147483647 h 409"/>
              <a:gd name="T24" fmla="*/ 2147483647 w 260"/>
              <a:gd name="T25" fmla="*/ 2147483647 h 409"/>
              <a:gd name="T26" fmla="*/ 2147483647 w 260"/>
              <a:gd name="T27" fmla="*/ 2147483647 h 409"/>
              <a:gd name="T28" fmla="*/ 2147483647 w 260"/>
              <a:gd name="T29" fmla="*/ 2147483647 h 409"/>
              <a:gd name="T30" fmla="*/ 2147483647 w 260"/>
              <a:gd name="T31" fmla="*/ 2147483647 h 409"/>
              <a:gd name="T32" fmla="*/ 2147483647 w 260"/>
              <a:gd name="T33" fmla="*/ 2147483647 h 409"/>
              <a:gd name="T34" fmla="*/ 2147483647 w 260"/>
              <a:gd name="T35" fmla="*/ 2147483647 h 409"/>
              <a:gd name="T36" fmla="*/ 2147483647 w 260"/>
              <a:gd name="T37" fmla="*/ 0 h 409"/>
              <a:gd name="T38" fmla="*/ 2147483647 w 260"/>
              <a:gd name="T39" fmla="*/ 2147483647 h 409"/>
              <a:gd name="T40" fmla="*/ 2147483647 w 260"/>
              <a:gd name="T41" fmla="*/ 2147483647 h 409"/>
              <a:gd name="T42" fmla="*/ 0 w 260"/>
              <a:gd name="T43" fmla="*/ 2147483647 h 409"/>
              <a:gd name="T44" fmla="*/ 0 w 260"/>
              <a:gd name="T45" fmla="*/ 2147483647 h 409"/>
              <a:gd name="T46" fmla="*/ 2147483647 w 260"/>
              <a:gd name="T47" fmla="*/ 2147483647 h 409"/>
              <a:gd name="T48" fmla="*/ 2147483647 w 260"/>
              <a:gd name="T49" fmla="*/ 2147483647 h 409"/>
              <a:gd name="T50" fmla="*/ 2147483647 w 260"/>
              <a:gd name="T51" fmla="*/ 2147483647 h 409"/>
              <a:gd name="T52" fmla="*/ 2147483647 w 260"/>
              <a:gd name="T53" fmla="*/ 2147483647 h 409"/>
              <a:gd name="T54" fmla="*/ 2147483647 w 260"/>
              <a:gd name="T55" fmla="*/ 2147483647 h 409"/>
              <a:gd name="T56" fmla="*/ 2147483647 w 260"/>
              <a:gd name="T57" fmla="*/ 2147483647 h 409"/>
              <a:gd name="T58" fmla="*/ 2147483647 w 260"/>
              <a:gd name="T59" fmla="*/ 2147483647 h 409"/>
              <a:gd name="T60" fmla="*/ 2147483647 w 260"/>
              <a:gd name="T61" fmla="*/ 2147483647 h 409"/>
              <a:gd name="T62" fmla="*/ 2147483647 w 260"/>
              <a:gd name="T63" fmla="*/ 2147483647 h 409"/>
              <a:gd name="T64" fmla="*/ 2147483647 w 260"/>
              <a:gd name="T65" fmla="*/ 2147483647 h 409"/>
              <a:gd name="T66" fmla="*/ 2147483647 w 260"/>
              <a:gd name="T67" fmla="*/ 2147483647 h 409"/>
              <a:gd name="T68" fmla="*/ 2147483647 w 260"/>
              <a:gd name="T69" fmla="*/ 2147483647 h 409"/>
              <a:gd name="T70" fmla="*/ 2147483647 w 260"/>
              <a:gd name="T71" fmla="*/ 2147483647 h 409"/>
              <a:gd name="T72" fmla="*/ 2147483647 w 260"/>
              <a:gd name="T73" fmla="*/ 2147483647 h 409"/>
              <a:gd name="T74" fmla="*/ 2147483647 w 260"/>
              <a:gd name="T75" fmla="*/ 2147483647 h 409"/>
              <a:gd name="T76" fmla="*/ 2147483647 w 260"/>
              <a:gd name="T77" fmla="*/ 2147483647 h 409"/>
              <a:gd name="T78" fmla="*/ 2147483647 w 260"/>
              <a:gd name="T79" fmla="*/ 2147483647 h 409"/>
              <a:gd name="T80" fmla="*/ 2147483647 w 260"/>
              <a:gd name="T81" fmla="*/ 2147483647 h 409"/>
              <a:gd name="T82" fmla="*/ 2147483647 w 260"/>
              <a:gd name="T83" fmla="*/ 2147483647 h 409"/>
              <a:gd name="T84" fmla="*/ 2147483647 w 260"/>
              <a:gd name="T85" fmla="*/ 2147483647 h 409"/>
              <a:gd name="T86" fmla="*/ 2147483647 w 260"/>
              <a:gd name="T87" fmla="*/ 2147483647 h 409"/>
              <a:gd name="T88" fmla="*/ 2147483647 w 260"/>
              <a:gd name="T89" fmla="*/ 2147483647 h 409"/>
              <a:gd name="T90" fmla="*/ 2147483647 w 260"/>
              <a:gd name="T91" fmla="*/ 2147483647 h 409"/>
              <a:gd name="T92" fmla="*/ 2147483647 w 260"/>
              <a:gd name="T93" fmla="*/ 2147483647 h 409"/>
              <a:gd name="T94" fmla="*/ 2147483647 w 260"/>
              <a:gd name="T95" fmla="*/ 2147483647 h 409"/>
              <a:gd name="T96" fmla="*/ 2147483647 w 260"/>
              <a:gd name="T97" fmla="*/ 2147483647 h 409"/>
              <a:gd name="T98" fmla="*/ 2147483647 w 260"/>
              <a:gd name="T99" fmla="*/ 2147483647 h 409"/>
              <a:gd name="T100" fmla="*/ 2147483647 w 260"/>
              <a:gd name="T101" fmla="*/ 2147483647 h 409"/>
              <a:gd name="T102" fmla="*/ 2147483647 w 260"/>
              <a:gd name="T103" fmla="*/ 2147483647 h 409"/>
              <a:gd name="T104" fmla="*/ 2147483647 w 260"/>
              <a:gd name="T105" fmla="*/ 2147483647 h 409"/>
              <a:gd name="T106" fmla="*/ 2147483647 w 260"/>
              <a:gd name="T107" fmla="*/ 2147483647 h 409"/>
              <a:gd name="T108" fmla="*/ 2147483647 w 260"/>
              <a:gd name="T109" fmla="*/ 2147483647 h 409"/>
              <a:gd name="T110" fmla="*/ 2147483647 w 260"/>
              <a:gd name="T111" fmla="*/ 2147483647 h 409"/>
              <a:gd name="T112" fmla="*/ 2147483647 w 260"/>
              <a:gd name="T113" fmla="*/ 2147483647 h 409"/>
              <a:gd name="T114" fmla="*/ 2147483647 w 260"/>
              <a:gd name="T115" fmla="*/ 2147483647 h 409"/>
              <a:gd name="T116" fmla="*/ 2147483647 w 260"/>
              <a:gd name="T117" fmla="*/ 2147483647 h 409"/>
              <a:gd name="T118" fmla="*/ 2147483647 w 260"/>
              <a:gd name="T119" fmla="*/ 2147483647 h 409"/>
              <a:gd name="T120" fmla="*/ 2147483647 w 260"/>
              <a:gd name="T121" fmla="*/ 2147483647 h 409"/>
              <a:gd name="T122" fmla="*/ 2147483647 w 260"/>
              <a:gd name="T123" fmla="*/ 2147483647 h 40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60" h="409">
                <a:moveTo>
                  <a:pt x="130" y="291"/>
                </a:moveTo>
                <a:cubicBezTo>
                  <a:pt x="120" y="291"/>
                  <a:pt x="112" y="299"/>
                  <a:pt x="112" y="309"/>
                </a:cubicBezTo>
                <a:cubicBezTo>
                  <a:pt x="112" y="319"/>
                  <a:pt x="120" y="327"/>
                  <a:pt x="130" y="327"/>
                </a:cubicBezTo>
                <a:cubicBezTo>
                  <a:pt x="140" y="327"/>
                  <a:pt x="148" y="319"/>
                  <a:pt x="148" y="309"/>
                </a:cubicBezTo>
                <a:cubicBezTo>
                  <a:pt x="148" y="299"/>
                  <a:pt x="140" y="291"/>
                  <a:pt x="130" y="291"/>
                </a:cubicBezTo>
                <a:close/>
                <a:moveTo>
                  <a:pt x="229" y="206"/>
                </a:moveTo>
                <a:cubicBezTo>
                  <a:pt x="242" y="149"/>
                  <a:pt x="236" y="107"/>
                  <a:pt x="236" y="104"/>
                </a:cubicBezTo>
                <a:cubicBezTo>
                  <a:pt x="236" y="104"/>
                  <a:pt x="236" y="104"/>
                  <a:pt x="236" y="104"/>
                </a:cubicBezTo>
                <a:cubicBezTo>
                  <a:pt x="236" y="83"/>
                  <a:pt x="229" y="62"/>
                  <a:pt x="216" y="44"/>
                </a:cubicBezTo>
                <a:cubicBezTo>
                  <a:pt x="214" y="40"/>
                  <a:pt x="209" y="40"/>
                  <a:pt x="205" y="42"/>
                </a:cubicBezTo>
                <a:cubicBezTo>
                  <a:pt x="201" y="45"/>
                  <a:pt x="201" y="50"/>
                  <a:pt x="203" y="53"/>
                </a:cubicBezTo>
                <a:cubicBezTo>
                  <a:pt x="214" y="69"/>
                  <a:pt x="220" y="87"/>
                  <a:pt x="220" y="106"/>
                </a:cubicBezTo>
                <a:cubicBezTo>
                  <a:pt x="220" y="155"/>
                  <a:pt x="180" y="195"/>
                  <a:pt x="130" y="195"/>
                </a:cubicBezTo>
                <a:cubicBezTo>
                  <a:pt x="81" y="195"/>
                  <a:pt x="40" y="155"/>
                  <a:pt x="40" y="106"/>
                </a:cubicBezTo>
                <a:cubicBezTo>
                  <a:pt x="40" y="56"/>
                  <a:pt x="81" y="16"/>
                  <a:pt x="130" y="16"/>
                </a:cubicBezTo>
                <a:cubicBezTo>
                  <a:pt x="149" y="16"/>
                  <a:pt x="167" y="22"/>
                  <a:pt x="182" y="33"/>
                </a:cubicBezTo>
                <a:cubicBezTo>
                  <a:pt x="186" y="35"/>
                  <a:pt x="191" y="34"/>
                  <a:pt x="194" y="31"/>
                </a:cubicBezTo>
                <a:cubicBezTo>
                  <a:pt x="196" y="27"/>
                  <a:pt x="195" y="22"/>
                  <a:pt x="192" y="20"/>
                </a:cubicBezTo>
                <a:cubicBezTo>
                  <a:pt x="174" y="7"/>
                  <a:pt x="152" y="0"/>
                  <a:pt x="130" y="0"/>
                </a:cubicBezTo>
                <a:cubicBezTo>
                  <a:pt x="72" y="0"/>
                  <a:pt x="25" y="47"/>
                  <a:pt x="24" y="105"/>
                </a:cubicBezTo>
                <a:cubicBezTo>
                  <a:pt x="24" y="110"/>
                  <a:pt x="19" y="151"/>
                  <a:pt x="31" y="206"/>
                </a:cubicBezTo>
                <a:cubicBezTo>
                  <a:pt x="14" y="222"/>
                  <a:pt x="0" y="246"/>
                  <a:pt x="0" y="278"/>
                </a:cubicBezTo>
                <a:cubicBezTo>
                  <a:pt x="0" y="401"/>
                  <a:pt x="0" y="401"/>
                  <a:pt x="0" y="401"/>
                </a:cubicBezTo>
                <a:cubicBezTo>
                  <a:pt x="0" y="406"/>
                  <a:pt x="4" y="409"/>
                  <a:pt x="8" y="409"/>
                </a:cubicBezTo>
                <a:cubicBezTo>
                  <a:pt x="13" y="409"/>
                  <a:pt x="16" y="406"/>
                  <a:pt x="16" y="401"/>
                </a:cubicBezTo>
                <a:cubicBezTo>
                  <a:pt x="16" y="278"/>
                  <a:pt x="16" y="278"/>
                  <a:pt x="16" y="278"/>
                </a:cubicBezTo>
                <a:cubicBezTo>
                  <a:pt x="16" y="255"/>
                  <a:pt x="25" y="238"/>
                  <a:pt x="36" y="224"/>
                </a:cubicBezTo>
                <a:cubicBezTo>
                  <a:pt x="45" y="257"/>
                  <a:pt x="60" y="293"/>
                  <a:pt x="85" y="330"/>
                </a:cubicBezTo>
                <a:cubicBezTo>
                  <a:pt x="93" y="347"/>
                  <a:pt x="110" y="358"/>
                  <a:pt x="130" y="358"/>
                </a:cubicBezTo>
                <a:cubicBezTo>
                  <a:pt x="150" y="358"/>
                  <a:pt x="167" y="347"/>
                  <a:pt x="175" y="331"/>
                </a:cubicBezTo>
                <a:cubicBezTo>
                  <a:pt x="200" y="294"/>
                  <a:pt x="216" y="257"/>
                  <a:pt x="225" y="224"/>
                </a:cubicBezTo>
                <a:cubicBezTo>
                  <a:pt x="236" y="238"/>
                  <a:pt x="244" y="255"/>
                  <a:pt x="244" y="278"/>
                </a:cubicBezTo>
                <a:cubicBezTo>
                  <a:pt x="244" y="401"/>
                  <a:pt x="244" y="401"/>
                  <a:pt x="244" y="401"/>
                </a:cubicBezTo>
                <a:cubicBezTo>
                  <a:pt x="244" y="406"/>
                  <a:pt x="248" y="409"/>
                  <a:pt x="252" y="409"/>
                </a:cubicBezTo>
                <a:cubicBezTo>
                  <a:pt x="257" y="409"/>
                  <a:pt x="260" y="406"/>
                  <a:pt x="260" y="401"/>
                </a:cubicBezTo>
                <a:cubicBezTo>
                  <a:pt x="260" y="278"/>
                  <a:pt x="260" y="278"/>
                  <a:pt x="260" y="278"/>
                </a:cubicBezTo>
                <a:cubicBezTo>
                  <a:pt x="260" y="246"/>
                  <a:pt x="246" y="222"/>
                  <a:pt x="229" y="206"/>
                </a:cubicBezTo>
                <a:close/>
                <a:moveTo>
                  <a:pt x="41" y="162"/>
                </a:moveTo>
                <a:cubicBezTo>
                  <a:pt x="46" y="170"/>
                  <a:pt x="52" y="178"/>
                  <a:pt x="60" y="184"/>
                </a:cubicBezTo>
                <a:cubicBezTo>
                  <a:pt x="55" y="187"/>
                  <a:pt x="50" y="190"/>
                  <a:pt x="45" y="194"/>
                </a:cubicBezTo>
                <a:cubicBezTo>
                  <a:pt x="43" y="182"/>
                  <a:pt x="42" y="172"/>
                  <a:pt x="41" y="162"/>
                </a:cubicBezTo>
                <a:close/>
                <a:moveTo>
                  <a:pt x="130" y="342"/>
                </a:moveTo>
                <a:cubicBezTo>
                  <a:pt x="116" y="342"/>
                  <a:pt x="104" y="334"/>
                  <a:pt x="99" y="322"/>
                </a:cubicBezTo>
                <a:cubicBezTo>
                  <a:pt x="99" y="322"/>
                  <a:pt x="99" y="322"/>
                  <a:pt x="99" y="322"/>
                </a:cubicBezTo>
                <a:cubicBezTo>
                  <a:pt x="99" y="322"/>
                  <a:pt x="99" y="322"/>
                  <a:pt x="99" y="322"/>
                </a:cubicBezTo>
                <a:cubicBezTo>
                  <a:pt x="97" y="318"/>
                  <a:pt x="97" y="313"/>
                  <a:pt x="97" y="309"/>
                </a:cubicBezTo>
                <a:cubicBezTo>
                  <a:pt x="97" y="290"/>
                  <a:pt x="112" y="275"/>
                  <a:pt x="130" y="275"/>
                </a:cubicBezTo>
                <a:cubicBezTo>
                  <a:pt x="149" y="275"/>
                  <a:pt x="164" y="290"/>
                  <a:pt x="164" y="309"/>
                </a:cubicBezTo>
                <a:cubicBezTo>
                  <a:pt x="164" y="327"/>
                  <a:pt x="149" y="342"/>
                  <a:pt x="130" y="342"/>
                </a:cubicBezTo>
                <a:close/>
                <a:moveTo>
                  <a:pt x="178" y="295"/>
                </a:moveTo>
                <a:cubicBezTo>
                  <a:pt x="172" y="274"/>
                  <a:pt x="153" y="259"/>
                  <a:pt x="130" y="259"/>
                </a:cubicBezTo>
                <a:cubicBezTo>
                  <a:pt x="108" y="259"/>
                  <a:pt x="88" y="274"/>
                  <a:pt x="83" y="295"/>
                </a:cubicBezTo>
                <a:cubicBezTo>
                  <a:pt x="66" y="266"/>
                  <a:pt x="56" y="237"/>
                  <a:pt x="49" y="211"/>
                </a:cubicBezTo>
                <a:cubicBezTo>
                  <a:pt x="58" y="204"/>
                  <a:pt x="66" y="199"/>
                  <a:pt x="74" y="195"/>
                </a:cubicBezTo>
                <a:cubicBezTo>
                  <a:pt x="90" y="205"/>
                  <a:pt x="109" y="211"/>
                  <a:pt x="130" y="211"/>
                </a:cubicBezTo>
                <a:cubicBezTo>
                  <a:pt x="151" y="211"/>
                  <a:pt x="170" y="205"/>
                  <a:pt x="187" y="195"/>
                </a:cubicBezTo>
                <a:cubicBezTo>
                  <a:pt x="194" y="199"/>
                  <a:pt x="203" y="204"/>
                  <a:pt x="211" y="211"/>
                </a:cubicBezTo>
                <a:cubicBezTo>
                  <a:pt x="205" y="237"/>
                  <a:pt x="195" y="266"/>
                  <a:pt x="178" y="295"/>
                </a:cubicBezTo>
                <a:close/>
                <a:moveTo>
                  <a:pt x="215" y="194"/>
                </a:moveTo>
                <a:cubicBezTo>
                  <a:pt x="210" y="190"/>
                  <a:pt x="205" y="187"/>
                  <a:pt x="201" y="184"/>
                </a:cubicBezTo>
                <a:cubicBezTo>
                  <a:pt x="208" y="178"/>
                  <a:pt x="215" y="170"/>
                  <a:pt x="220" y="161"/>
                </a:cubicBezTo>
                <a:cubicBezTo>
                  <a:pt x="219" y="171"/>
                  <a:pt x="218" y="182"/>
                  <a:pt x="215" y="194"/>
                </a:cubicBezTo>
                <a:close/>
              </a:path>
            </a:pathLst>
          </a:custGeom>
          <a:solidFill>
            <a:srgbClr val="FFFFFF"/>
          </a:solidFill>
          <a:ln>
            <a:noFill/>
          </a:ln>
        </p:spPr>
        <p:txBody>
          <a:bodyPr/>
          <a:lstStyle/>
          <a:p>
            <a:endParaRPr lang="sv-SE" dirty="0"/>
          </a:p>
        </p:txBody>
      </p:sp>
      <p:sp>
        <p:nvSpPr>
          <p:cNvPr id="41" name="Freeform 3"/>
          <p:cNvSpPr>
            <a:spLocks noChangeAspect="1" noEditPoints="1"/>
          </p:cNvSpPr>
          <p:nvPr/>
        </p:nvSpPr>
        <p:spPr bwMode="auto">
          <a:xfrm>
            <a:off x="3828417" y="4795885"/>
            <a:ext cx="165334" cy="194580"/>
          </a:xfrm>
          <a:custGeom>
            <a:avLst/>
            <a:gdLst>
              <a:gd name="T0" fmla="*/ 2147483647 w 352"/>
              <a:gd name="T1" fmla="*/ 2147483647 h 414"/>
              <a:gd name="T2" fmla="*/ 2147483647 w 352"/>
              <a:gd name="T3" fmla="*/ 2147483647 h 414"/>
              <a:gd name="T4" fmla="*/ 2147483647 w 352"/>
              <a:gd name="T5" fmla="*/ 0 h 414"/>
              <a:gd name="T6" fmla="*/ 2147483647 w 352"/>
              <a:gd name="T7" fmla="*/ 2147483647 h 414"/>
              <a:gd name="T8" fmla="*/ 2147483647 w 352"/>
              <a:gd name="T9" fmla="*/ 2147483647 h 414"/>
              <a:gd name="T10" fmla="*/ 2147483647 w 352"/>
              <a:gd name="T11" fmla="*/ 2147483647 h 414"/>
              <a:gd name="T12" fmla="*/ 2147483647 w 352"/>
              <a:gd name="T13" fmla="*/ 2147483647 h 414"/>
              <a:gd name="T14" fmla="*/ 2147483647 w 352"/>
              <a:gd name="T15" fmla="*/ 2147483647 h 414"/>
              <a:gd name="T16" fmla="*/ 2147483647 w 352"/>
              <a:gd name="T17" fmla="*/ 2147483647 h 414"/>
              <a:gd name="T18" fmla="*/ 2147483647 w 352"/>
              <a:gd name="T19" fmla="*/ 2147483647 h 414"/>
              <a:gd name="T20" fmla="*/ 2147483647 w 352"/>
              <a:gd name="T21" fmla="*/ 2147483647 h 414"/>
              <a:gd name="T22" fmla="*/ 2147483647 w 352"/>
              <a:gd name="T23" fmla="*/ 2147483647 h 414"/>
              <a:gd name="T24" fmla="*/ 2147483647 w 352"/>
              <a:gd name="T25" fmla="*/ 2147483647 h 414"/>
              <a:gd name="T26" fmla="*/ 2147483647 w 352"/>
              <a:gd name="T27" fmla="*/ 2147483647 h 414"/>
              <a:gd name="T28" fmla="*/ 2147483647 w 352"/>
              <a:gd name="T29" fmla="*/ 2147483647 h 414"/>
              <a:gd name="T30" fmla="*/ 2147483647 w 352"/>
              <a:gd name="T31" fmla="*/ 2147483647 h 414"/>
              <a:gd name="T32" fmla="*/ 2147483647 w 352"/>
              <a:gd name="T33" fmla="*/ 2147483647 h 414"/>
              <a:gd name="T34" fmla="*/ 2147483647 w 352"/>
              <a:gd name="T35" fmla="*/ 2147483647 h 414"/>
              <a:gd name="T36" fmla="*/ 2147483647 w 352"/>
              <a:gd name="T37" fmla="*/ 2147483647 h 414"/>
              <a:gd name="T38" fmla="*/ 2147483647 w 352"/>
              <a:gd name="T39" fmla="*/ 2147483647 h 414"/>
              <a:gd name="T40" fmla="*/ 2147483647 w 352"/>
              <a:gd name="T41" fmla="*/ 2147483647 h 414"/>
              <a:gd name="T42" fmla="*/ 2147483647 w 352"/>
              <a:gd name="T43" fmla="*/ 2147483647 h 414"/>
              <a:gd name="T44" fmla="*/ 2147483647 w 352"/>
              <a:gd name="T45" fmla="*/ 2147483647 h 414"/>
              <a:gd name="T46" fmla="*/ 2147483647 w 352"/>
              <a:gd name="T47" fmla="*/ 2147483647 h 414"/>
              <a:gd name="T48" fmla="*/ 2147483647 w 352"/>
              <a:gd name="T49" fmla="*/ 2147483647 h 414"/>
              <a:gd name="T50" fmla="*/ 2147483647 w 352"/>
              <a:gd name="T51" fmla="*/ 2147483647 h 414"/>
              <a:gd name="T52" fmla="*/ 2147483647 w 352"/>
              <a:gd name="T53" fmla="*/ 2147483647 h 414"/>
              <a:gd name="T54" fmla="*/ 2147483647 w 352"/>
              <a:gd name="T55" fmla="*/ 2147483647 h 414"/>
              <a:gd name="T56" fmla="*/ 2147483647 w 352"/>
              <a:gd name="T57" fmla="*/ 2147483647 h 414"/>
              <a:gd name="T58" fmla="*/ 2147483647 w 352"/>
              <a:gd name="T59" fmla="*/ 2147483647 h 414"/>
              <a:gd name="T60" fmla="*/ 2147483647 w 352"/>
              <a:gd name="T61" fmla="*/ 2147483647 h 414"/>
              <a:gd name="T62" fmla="*/ 2147483647 w 352"/>
              <a:gd name="T63" fmla="*/ 2147483647 h 414"/>
              <a:gd name="T64" fmla="*/ 2147483647 w 352"/>
              <a:gd name="T65" fmla="*/ 2147483647 h 414"/>
              <a:gd name="T66" fmla="*/ 2147483647 w 352"/>
              <a:gd name="T67" fmla="*/ 2147483647 h 414"/>
              <a:gd name="T68" fmla="*/ 2147483647 w 352"/>
              <a:gd name="T69" fmla="*/ 2147483647 h 414"/>
              <a:gd name="T70" fmla="*/ 2147483647 w 352"/>
              <a:gd name="T71" fmla="*/ 2147483647 h 414"/>
              <a:gd name="T72" fmla="*/ 0 w 352"/>
              <a:gd name="T73" fmla="*/ 2147483647 h 414"/>
              <a:gd name="T74" fmla="*/ 2147483647 w 352"/>
              <a:gd name="T75" fmla="*/ 2147483647 h 414"/>
              <a:gd name="T76" fmla="*/ 2147483647 w 352"/>
              <a:gd name="T77" fmla="*/ 2147483647 h 414"/>
              <a:gd name="T78" fmla="*/ 2147483647 w 352"/>
              <a:gd name="T79" fmla="*/ 2147483647 h 414"/>
              <a:gd name="T80" fmla="*/ 2147483647 w 352"/>
              <a:gd name="T81" fmla="*/ 2147483647 h 414"/>
              <a:gd name="T82" fmla="*/ 2147483647 w 352"/>
              <a:gd name="T83" fmla="*/ 2147483647 h 414"/>
              <a:gd name="T84" fmla="*/ 2147483647 w 352"/>
              <a:gd name="T85" fmla="*/ 2147483647 h 414"/>
              <a:gd name="T86" fmla="*/ 2147483647 w 352"/>
              <a:gd name="T87" fmla="*/ 2147483647 h 414"/>
              <a:gd name="T88" fmla="*/ 2147483647 w 352"/>
              <a:gd name="T89" fmla="*/ 2147483647 h 414"/>
              <a:gd name="T90" fmla="*/ 2147483647 w 352"/>
              <a:gd name="T91" fmla="*/ 2147483647 h 414"/>
              <a:gd name="T92" fmla="*/ 2147483647 w 352"/>
              <a:gd name="T93" fmla="*/ 2147483647 h 414"/>
              <a:gd name="T94" fmla="*/ 2147483647 w 352"/>
              <a:gd name="T95" fmla="*/ 2147483647 h 414"/>
              <a:gd name="T96" fmla="*/ 2147483647 w 352"/>
              <a:gd name="T97" fmla="*/ 2147483647 h 414"/>
              <a:gd name="T98" fmla="*/ 2147483647 w 352"/>
              <a:gd name="T99" fmla="*/ 2147483647 h 414"/>
              <a:gd name="T100" fmla="*/ 2147483647 w 352"/>
              <a:gd name="T101" fmla="*/ 2147483647 h 414"/>
              <a:gd name="T102" fmla="*/ 2147483647 w 352"/>
              <a:gd name="T103" fmla="*/ 2147483647 h 414"/>
              <a:gd name="T104" fmla="*/ 2147483647 w 352"/>
              <a:gd name="T105" fmla="*/ 2147483647 h 4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52" h="414">
                <a:moveTo>
                  <a:pt x="122" y="91"/>
                </a:moveTo>
                <a:cubicBezTo>
                  <a:pt x="230" y="91"/>
                  <a:pt x="230" y="91"/>
                  <a:pt x="230" y="91"/>
                </a:cubicBezTo>
                <a:cubicBezTo>
                  <a:pt x="236" y="91"/>
                  <a:pt x="241" y="86"/>
                  <a:pt x="241" y="80"/>
                </a:cubicBezTo>
                <a:cubicBezTo>
                  <a:pt x="241" y="68"/>
                  <a:pt x="234" y="58"/>
                  <a:pt x="234" y="58"/>
                </a:cubicBezTo>
                <a:cubicBezTo>
                  <a:pt x="207" y="11"/>
                  <a:pt x="207" y="11"/>
                  <a:pt x="207" y="11"/>
                </a:cubicBezTo>
                <a:cubicBezTo>
                  <a:pt x="207" y="11"/>
                  <a:pt x="201" y="0"/>
                  <a:pt x="191" y="0"/>
                </a:cubicBezTo>
                <a:cubicBezTo>
                  <a:pt x="161" y="0"/>
                  <a:pt x="161" y="0"/>
                  <a:pt x="161" y="0"/>
                </a:cubicBezTo>
                <a:cubicBezTo>
                  <a:pt x="151" y="0"/>
                  <a:pt x="145" y="11"/>
                  <a:pt x="145" y="11"/>
                </a:cubicBezTo>
                <a:cubicBezTo>
                  <a:pt x="118" y="58"/>
                  <a:pt x="118" y="58"/>
                  <a:pt x="118" y="58"/>
                </a:cubicBezTo>
                <a:cubicBezTo>
                  <a:pt x="118" y="58"/>
                  <a:pt x="111" y="68"/>
                  <a:pt x="111" y="80"/>
                </a:cubicBezTo>
                <a:cubicBezTo>
                  <a:pt x="111" y="86"/>
                  <a:pt x="115" y="91"/>
                  <a:pt x="122" y="91"/>
                </a:cubicBezTo>
                <a:close/>
                <a:moveTo>
                  <a:pt x="176" y="17"/>
                </a:moveTo>
                <a:cubicBezTo>
                  <a:pt x="188" y="17"/>
                  <a:pt x="198" y="26"/>
                  <a:pt x="198" y="38"/>
                </a:cubicBezTo>
                <a:cubicBezTo>
                  <a:pt x="198" y="50"/>
                  <a:pt x="188" y="60"/>
                  <a:pt x="176" y="60"/>
                </a:cubicBezTo>
                <a:cubicBezTo>
                  <a:pt x="164" y="60"/>
                  <a:pt x="154" y="50"/>
                  <a:pt x="154" y="38"/>
                </a:cubicBezTo>
                <a:cubicBezTo>
                  <a:pt x="154" y="26"/>
                  <a:pt x="164" y="17"/>
                  <a:pt x="176" y="17"/>
                </a:cubicBezTo>
                <a:close/>
                <a:moveTo>
                  <a:pt x="230" y="334"/>
                </a:moveTo>
                <a:cubicBezTo>
                  <a:pt x="232" y="337"/>
                  <a:pt x="233" y="340"/>
                  <a:pt x="234" y="342"/>
                </a:cubicBezTo>
                <a:cubicBezTo>
                  <a:pt x="235" y="344"/>
                  <a:pt x="235" y="345"/>
                  <a:pt x="235" y="345"/>
                </a:cubicBezTo>
                <a:cubicBezTo>
                  <a:pt x="237" y="348"/>
                  <a:pt x="239" y="350"/>
                  <a:pt x="242" y="350"/>
                </a:cubicBezTo>
                <a:cubicBezTo>
                  <a:pt x="243" y="350"/>
                  <a:pt x="243" y="350"/>
                  <a:pt x="243" y="350"/>
                </a:cubicBezTo>
                <a:cubicBezTo>
                  <a:pt x="246" y="350"/>
                  <a:pt x="248" y="348"/>
                  <a:pt x="250" y="346"/>
                </a:cubicBezTo>
                <a:cubicBezTo>
                  <a:pt x="250" y="345"/>
                  <a:pt x="256" y="335"/>
                  <a:pt x="265" y="319"/>
                </a:cubicBezTo>
                <a:cubicBezTo>
                  <a:pt x="275" y="303"/>
                  <a:pt x="288" y="283"/>
                  <a:pt x="302" y="264"/>
                </a:cubicBezTo>
                <a:cubicBezTo>
                  <a:pt x="305" y="260"/>
                  <a:pt x="304" y="255"/>
                  <a:pt x="300" y="253"/>
                </a:cubicBezTo>
                <a:cubicBezTo>
                  <a:pt x="297" y="250"/>
                  <a:pt x="292" y="251"/>
                  <a:pt x="289" y="254"/>
                </a:cubicBezTo>
                <a:cubicBezTo>
                  <a:pt x="269" y="280"/>
                  <a:pt x="252" y="309"/>
                  <a:pt x="243" y="325"/>
                </a:cubicBezTo>
                <a:cubicBezTo>
                  <a:pt x="239" y="318"/>
                  <a:pt x="233" y="309"/>
                  <a:pt x="225" y="301"/>
                </a:cubicBezTo>
                <a:cubicBezTo>
                  <a:pt x="222" y="298"/>
                  <a:pt x="217" y="298"/>
                  <a:pt x="213" y="301"/>
                </a:cubicBezTo>
                <a:cubicBezTo>
                  <a:pt x="210" y="304"/>
                  <a:pt x="210" y="309"/>
                  <a:pt x="213" y="312"/>
                </a:cubicBezTo>
                <a:cubicBezTo>
                  <a:pt x="213" y="312"/>
                  <a:pt x="213" y="312"/>
                  <a:pt x="213" y="312"/>
                </a:cubicBezTo>
                <a:cubicBezTo>
                  <a:pt x="220" y="319"/>
                  <a:pt x="226" y="328"/>
                  <a:pt x="230" y="334"/>
                </a:cubicBezTo>
                <a:close/>
                <a:moveTo>
                  <a:pt x="213" y="174"/>
                </a:moveTo>
                <a:cubicBezTo>
                  <a:pt x="210" y="177"/>
                  <a:pt x="210" y="182"/>
                  <a:pt x="213" y="186"/>
                </a:cubicBezTo>
                <a:cubicBezTo>
                  <a:pt x="213" y="186"/>
                  <a:pt x="213" y="186"/>
                  <a:pt x="213" y="186"/>
                </a:cubicBezTo>
                <a:cubicBezTo>
                  <a:pt x="220" y="192"/>
                  <a:pt x="226" y="201"/>
                  <a:pt x="230" y="207"/>
                </a:cubicBezTo>
                <a:cubicBezTo>
                  <a:pt x="232" y="210"/>
                  <a:pt x="233" y="213"/>
                  <a:pt x="234" y="215"/>
                </a:cubicBezTo>
                <a:cubicBezTo>
                  <a:pt x="235" y="217"/>
                  <a:pt x="235" y="218"/>
                  <a:pt x="235" y="218"/>
                </a:cubicBezTo>
                <a:cubicBezTo>
                  <a:pt x="237" y="221"/>
                  <a:pt x="239" y="223"/>
                  <a:pt x="242" y="223"/>
                </a:cubicBezTo>
                <a:cubicBezTo>
                  <a:pt x="243" y="223"/>
                  <a:pt x="243" y="223"/>
                  <a:pt x="243" y="223"/>
                </a:cubicBezTo>
                <a:cubicBezTo>
                  <a:pt x="246" y="223"/>
                  <a:pt x="248" y="221"/>
                  <a:pt x="250" y="219"/>
                </a:cubicBezTo>
                <a:cubicBezTo>
                  <a:pt x="250" y="219"/>
                  <a:pt x="256" y="208"/>
                  <a:pt x="265" y="192"/>
                </a:cubicBezTo>
                <a:cubicBezTo>
                  <a:pt x="275" y="176"/>
                  <a:pt x="288" y="156"/>
                  <a:pt x="302" y="137"/>
                </a:cubicBezTo>
                <a:cubicBezTo>
                  <a:pt x="305" y="134"/>
                  <a:pt x="304" y="129"/>
                  <a:pt x="300" y="126"/>
                </a:cubicBezTo>
                <a:cubicBezTo>
                  <a:pt x="297" y="123"/>
                  <a:pt x="292" y="124"/>
                  <a:pt x="289" y="127"/>
                </a:cubicBezTo>
                <a:cubicBezTo>
                  <a:pt x="269" y="154"/>
                  <a:pt x="252" y="182"/>
                  <a:pt x="243" y="198"/>
                </a:cubicBezTo>
                <a:cubicBezTo>
                  <a:pt x="239" y="191"/>
                  <a:pt x="233" y="182"/>
                  <a:pt x="225" y="174"/>
                </a:cubicBezTo>
                <a:cubicBezTo>
                  <a:pt x="222" y="171"/>
                  <a:pt x="217" y="171"/>
                  <a:pt x="213" y="174"/>
                </a:cubicBezTo>
                <a:close/>
                <a:moveTo>
                  <a:pt x="259" y="77"/>
                </a:moveTo>
                <a:cubicBezTo>
                  <a:pt x="259" y="77"/>
                  <a:pt x="259" y="77"/>
                  <a:pt x="259" y="77"/>
                </a:cubicBezTo>
                <a:cubicBezTo>
                  <a:pt x="317" y="77"/>
                  <a:pt x="317" y="77"/>
                  <a:pt x="317" y="77"/>
                </a:cubicBezTo>
                <a:cubicBezTo>
                  <a:pt x="328" y="77"/>
                  <a:pt x="336" y="86"/>
                  <a:pt x="336" y="96"/>
                </a:cubicBezTo>
                <a:cubicBezTo>
                  <a:pt x="336" y="118"/>
                  <a:pt x="336" y="118"/>
                  <a:pt x="336" y="118"/>
                </a:cubicBezTo>
                <a:cubicBezTo>
                  <a:pt x="337" y="122"/>
                  <a:pt x="340" y="125"/>
                  <a:pt x="344" y="125"/>
                </a:cubicBezTo>
                <a:cubicBezTo>
                  <a:pt x="349" y="125"/>
                  <a:pt x="352" y="122"/>
                  <a:pt x="352" y="117"/>
                </a:cubicBezTo>
                <a:cubicBezTo>
                  <a:pt x="352" y="96"/>
                  <a:pt x="352" y="96"/>
                  <a:pt x="352" y="96"/>
                </a:cubicBezTo>
                <a:cubicBezTo>
                  <a:pt x="352" y="77"/>
                  <a:pt x="337" y="61"/>
                  <a:pt x="317" y="61"/>
                </a:cubicBezTo>
                <a:cubicBezTo>
                  <a:pt x="259" y="61"/>
                  <a:pt x="259" y="61"/>
                  <a:pt x="259" y="61"/>
                </a:cubicBezTo>
                <a:cubicBezTo>
                  <a:pt x="255" y="61"/>
                  <a:pt x="251" y="65"/>
                  <a:pt x="251" y="69"/>
                </a:cubicBezTo>
                <a:cubicBezTo>
                  <a:pt x="251" y="74"/>
                  <a:pt x="255" y="77"/>
                  <a:pt x="259" y="77"/>
                </a:cubicBezTo>
                <a:close/>
                <a:moveTo>
                  <a:pt x="344" y="141"/>
                </a:moveTo>
                <a:cubicBezTo>
                  <a:pt x="340" y="141"/>
                  <a:pt x="337" y="144"/>
                  <a:pt x="336" y="148"/>
                </a:cubicBezTo>
                <a:cubicBezTo>
                  <a:pt x="336" y="379"/>
                  <a:pt x="336" y="379"/>
                  <a:pt x="336" y="379"/>
                </a:cubicBezTo>
                <a:cubicBezTo>
                  <a:pt x="336" y="390"/>
                  <a:pt x="328" y="398"/>
                  <a:pt x="317" y="398"/>
                </a:cubicBezTo>
                <a:cubicBezTo>
                  <a:pt x="34" y="398"/>
                  <a:pt x="34" y="398"/>
                  <a:pt x="34" y="398"/>
                </a:cubicBezTo>
                <a:cubicBezTo>
                  <a:pt x="24" y="398"/>
                  <a:pt x="16" y="390"/>
                  <a:pt x="16" y="379"/>
                </a:cubicBezTo>
                <a:cubicBezTo>
                  <a:pt x="16" y="96"/>
                  <a:pt x="16" y="96"/>
                  <a:pt x="16" y="96"/>
                </a:cubicBezTo>
                <a:cubicBezTo>
                  <a:pt x="16" y="86"/>
                  <a:pt x="24" y="77"/>
                  <a:pt x="34" y="77"/>
                </a:cubicBezTo>
                <a:cubicBezTo>
                  <a:pt x="92" y="77"/>
                  <a:pt x="92" y="77"/>
                  <a:pt x="92" y="77"/>
                </a:cubicBezTo>
                <a:cubicBezTo>
                  <a:pt x="96" y="77"/>
                  <a:pt x="100" y="74"/>
                  <a:pt x="100" y="69"/>
                </a:cubicBezTo>
                <a:cubicBezTo>
                  <a:pt x="100" y="65"/>
                  <a:pt x="96" y="61"/>
                  <a:pt x="92" y="61"/>
                </a:cubicBezTo>
                <a:cubicBezTo>
                  <a:pt x="34" y="61"/>
                  <a:pt x="34" y="61"/>
                  <a:pt x="34" y="61"/>
                </a:cubicBezTo>
                <a:cubicBezTo>
                  <a:pt x="15" y="61"/>
                  <a:pt x="0" y="77"/>
                  <a:pt x="0" y="96"/>
                </a:cubicBezTo>
                <a:cubicBezTo>
                  <a:pt x="0" y="379"/>
                  <a:pt x="0" y="379"/>
                  <a:pt x="0" y="379"/>
                </a:cubicBezTo>
                <a:cubicBezTo>
                  <a:pt x="0" y="398"/>
                  <a:pt x="15" y="414"/>
                  <a:pt x="34" y="414"/>
                </a:cubicBezTo>
                <a:cubicBezTo>
                  <a:pt x="317" y="414"/>
                  <a:pt x="317" y="414"/>
                  <a:pt x="317" y="414"/>
                </a:cubicBezTo>
                <a:cubicBezTo>
                  <a:pt x="337" y="414"/>
                  <a:pt x="352" y="398"/>
                  <a:pt x="352" y="379"/>
                </a:cubicBezTo>
                <a:cubicBezTo>
                  <a:pt x="352" y="149"/>
                  <a:pt x="352" y="149"/>
                  <a:pt x="352" y="149"/>
                </a:cubicBezTo>
                <a:cubicBezTo>
                  <a:pt x="352" y="144"/>
                  <a:pt x="349" y="141"/>
                  <a:pt x="344" y="141"/>
                </a:cubicBezTo>
                <a:close/>
                <a:moveTo>
                  <a:pt x="184" y="145"/>
                </a:moveTo>
                <a:cubicBezTo>
                  <a:pt x="56" y="145"/>
                  <a:pt x="56" y="145"/>
                  <a:pt x="56" y="145"/>
                </a:cubicBezTo>
                <a:cubicBezTo>
                  <a:pt x="52" y="145"/>
                  <a:pt x="48" y="148"/>
                  <a:pt x="48" y="153"/>
                </a:cubicBezTo>
                <a:cubicBezTo>
                  <a:pt x="48" y="157"/>
                  <a:pt x="52" y="161"/>
                  <a:pt x="56" y="161"/>
                </a:cubicBezTo>
                <a:cubicBezTo>
                  <a:pt x="184" y="161"/>
                  <a:pt x="184" y="161"/>
                  <a:pt x="184" y="161"/>
                </a:cubicBezTo>
                <a:cubicBezTo>
                  <a:pt x="188" y="161"/>
                  <a:pt x="192" y="157"/>
                  <a:pt x="192" y="153"/>
                </a:cubicBezTo>
                <a:cubicBezTo>
                  <a:pt x="192" y="148"/>
                  <a:pt x="188" y="145"/>
                  <a:pt x="184" y="145"/>
                </a:cubicBezTo>
                <a:close/>
                <a:moveTo>
                  <a:pt x="184" y="271"/>
                </a:moveTo>
                <a:cubicBezTo>
                  <a:pt x="56" y="271"/>
                  <a:pt x="56" y="271"/>
                  <a:pt x="56" y="271"/>
                </a:cubicBezTo>
                <a:cubicBezTo>
                  <a:pt x="52" y="271"/>
                  <a:pt x="48" y="275"/>
                  <a:pt x="48" y="279"/>
                </a:cubicBezTo>
                <a:cubicBezTo>
                  <a:pt x="48" y="284"/>
                  <a:pt x="52" y="287"/>
                  <a:pt x="56" y="287"/>
                </a:cubicBezTo>
                <a:cubicBezTo>
                  <a:pt x="184" y="287"/>
                  <a:pt x="184" y="287"/>
                  <a:pt x="184" y="287"/>
                </a:cubicBezTo>
                <a:cubicBezTo>
                  <a:pt x="188" y="287"/>
                  <a:pt x="192" y="284"/>
                  <a:pt x="192" y="279"/>
                </a:cubicBezTo>
                <a:cubicBezTo>
                  <a:pt x="192" y="275"/>
                  <a:pt x="188" y="271"/>
                  <a:pt x="184" y="271"/>
                </a:cubicBezTo>
                <a:close/>
                <a:moveTo>
                  <a:pt x="184" y="187"/>
                </a:moveTo>
                <a:cubicBezTo>
                  <a:pt x="56" y="187"/>
                  <a:pt x="56" y="187"/>
                  <a:pt x="56" y="187"/>
                </a:cubicBezTo>
                <a:cubicBezTo>
                  <a:pt x="52" y="187"/>
                  <a:pt x="48" y="190"/>
                  <a:pt x="48" y="195"/>
                </a:cubicBezTo>
                <a:cubicBezTo>
                  <a:pt x="48" y="199"/>
                  <a:pt x="52" y="203"/>
                  <a:pt x="56" y="203"/>
                </a:cubicBezTo>
                <a:cubicBezTo>
                  <a:pt x="184" y="203"/>
                  <a:pt x="184" y="203"/>
                  <a:pt x="184" y="203"/>
                </a:cubicBezTo>
                <a:cubicBezTo>
                  <a:pt x="188" y="203"/>
                  <a:pt x="192" y="199"/>
                  <a:pt x="192" y="195"/>
                </a:cubicBezTo>
                <a:cubicBezTo>
                  <a:pt x="192" y="190"/>
                  <a:pt x="188" y="187"/>
                  <a:pt x="184" y="187"/>
                </a:cubicBezTo>
                <a:close/>
                <a:moveTo>
                  <a:pt x="184" y="313"/>
                </a:moveTo>
                <a:cubicBezTo>
                  <a:pt x="56" y="313"/>
                  <a:pt x="56" y="313"/>
                  <a:pt x="56" y="313"/>
                </a:cubicBezTo>
                <a:cubicBezTo>
                  <a:pt x="52" y="313"/>
                  <a:pt x="48" y="317"/>
                  <a:pt x="48" y="321"/>
                </a:cubicBezTo>
                <a:cubicBezTo>
                  <a:pt x="48" y="326"/>
                  <a:pt x="52" y="329"/>
                  <a:pt x="56" y="329"/>
                </a:cubicBezTo>
                <a:cubicBezTo>
                  <a:pt x="184" y="329"/>
                  <a:pt x="184" y="329"/>
                  <a:pt x="184" y="329"/>
                </a:cubicBezTo>
                <a:cubicBezTo>
                  <a:pt x="188" y="329"/>
                  <a:pt x="192" y="326"/>
                  <a:pt x="192" y="321"/>
                </a:cubicBezTo>
                <a:cubicBezTo>
                  <a:pt x="192" y="317"/>
                  <a:pt x="188" y="313"/>
                  <a:pt x="184" y="313"/>
                </a:cubicBezTo>
                <a:close/>
              </a:path>
            </a:pathLst>
          </a:custGeom>
          <a:solidFill>
            <a:srgbClr val="FFFFFF"/>
          </a:solidFill>
          <a:ln>
            <a:noFill/>
          </a:ln>
        </p:spPr>
        <p:txBody>
          <a:bodyPr/>
          <a:lstStyle/>
          <a:p>
            <a:endParaRPr lang="sv-SE"/>
          </a:p>
        </p:txBody>
      </p:sp>
      <p:sp>
        <p:nvSpPr>
          <p:cNvPr id="42" name="Freeform 3"/>
          <p:cNvSpPr>
            <a:spLocks noChangeAspect="1" noEditPoints="1"/>
          </p:cNvSpPr>
          <p:nvPr/>
        </p:nvSpPr>
        <p:spPr bwMode="auto">
          <a:xfrm>
            <a:off x="9139674" y="4538672"/>
            <a:ext cx="139916" cy="220357"/>
          </a:xfrm>
          <a:custGeom>
            <a:avLst/>
            <a:gdLst>
              <a:gd name="T0" fmla="*/ 2147483647 w 260"/>
              <a:gd name="T1" fmla="*/ 2147483647 h 409"/>
              <a:gd name="T2" fmla="*/ 2147483647 w 260"/>
              <a:gd name="T3" fmla="*/ 2147483647 h 409"/>
              <a:gd name="T4" fmla="*/ 2147483647 w 260"/>
              <a:gd name="T5" fmla="*/ 2147483647 h 409"/>
              <a:gd name="T6" fmla="*/ 2147483647 w 260"/>
              <a:gd name="T7" fmla="*/ 2147483647 h 409"/>
              <a:gd name="T8" fmla="*/ 2147483647 w 260"/>
              <a:gd name="T9" fmla="*/ 2147483647 h 409"/>
              <a:gd name="T10" fmla="*/ 2147483647 w 260"/>
              <a:gd name="T11" fmla="*/ 2147483647 h 409"/>
              <a:gd name="T12" fmla="*/ 2147483647 w 260"/>
              <a:gd name="T13" fmla="*/ 2147483647 h 409"/>
              <a:gd name="T14" fmla="*/ 2147483647 w 260"/>
              <a:gd name="T15" fmla="*/ 2147483647 h 409"/>
              <a:gd name="T16" fmla="*/ 2147483647 w 260"/>
              <a:gd name="T17" fmla="*/ 2147483647 h 409"/>
              <a:gd name="T18" fmla="*/ 2147483647 w 260"/>
              <a:gd name="T19" fmla="*/ 2147483647 h 409"/>
              <a:gd name="T20" fmla="*/ 2147483647 w 260"/>
              <a:gd name="T21" fmla="*/ 2147483647 h 409"/>
              <a:gd name="T22" fmla="*/ 2147483647 w 260"/>
              <a:gd name="T23" fmla="*/ 2147483647 h 409"/>
              <a:gd name="T24" fmla="*/ 2147483647 w 260"/>
              <a:gd name="T25" fmla="*/ 2147483647 h 409"/>
              <a:gd name="T26" fmla="*/ 2147483647 w 260"/>
              <a:gd name="T27" fmla="*/ 2147483647 h 409"/>
              <a:gd name="T28" fmla="*/ 2147483647 w 260"/>
              <a:gd name="T29" fmla="*/ 2147483647 h 409"/>
              <a:gd name="T30" fmla="*/ 2147483647 w 260"/>
              <a:gd name="T31" fmla="*/ 2147483647 h 409"/>
              <a:gd name="T32" fmla="*/ 2147483647 w 260"/>
              <a:gd name="T33" fmla="*/ 2147483647 h 409"/>
              <a:gd name="T34" fmla="*/ 2147483647 w 260"/>
              <a:gd name="T35" fmla="*/ 2147483647 h 409"/>
              <a:gd name="T36" fmla="*/ 2147483647 w 260"/>
              <a:gd name="T37" fmla="*/ 0 h 409"/>
              <a:gd name="T38" fmla="*/ 2147483647 w 260"/>
              <a:gd name="T39" fmla="*/ 2147483647 h 409"/>
              <a:gd name="T40" fmla="*/ 2147483647 w 260"/>
              <a:gd name="T41" fmla="*/ 2147483647 h 409"/>
              <a:gd name="T42" fmla="*/ 0 w 260"/>
              <a:gd name="T43" fmla="*/ 2147483647 h 409"/>
              <a:gd name="T44" fmla="*/ 0 w 260"/>
              <a:gd name="T45" fmla="*/ 2147483647 h 409"/>
              <a:gd name="T46" fmla="*/ 2147483647 w 260"/>
              <a:gd name="T47" fmla="*/ 2147483647 h 409"/>
              <a:gd name="T48" fmla="*/ 2147483647 w 260"/>
              <a:gd name="T49" fmla="*/ 2147483647 h 409"/>
              <a:gd name="T50" fmla="*/ 2147483647 w 260"/>
              <a:gd name="T51" fmla="*/ 2147483647 h 409"/>
              <a:gd name="T52" fmla="*/ 2147483647 w 260"/>
              <a:gd name="T53" fmla="*/ 2147483647 h 409"/>
              <a:gd name="T54" fmla="*/ 2147483647 w 260"/>
              <a:gd name="T55" fmla="*/ 2147483647 h 409"/>
              <a:gd name="T56" fmla="*/ 2147483647 w 260"/>
              <a:gd name="T57" fmla="*/ 2147483647 h 409"/>
              <a:gd name="T58" fmla="*/ 2147483647 w 260"/>
              <a:gd name="T59" fmla="*/ 2147483647 h 409"/>
              <a:gd name="T60" fmla="*/ 2147483647 w 260"/>
              <a:gd name="T61" fmla="*/ 2147483647 h 409"/>
              <a:gd name="T62" fmla="*/ 2147483647 w 260"/>
              <a:gd name="T63" fmla="*/ 2147483647 h 409"/>
              <a:gd name="T64" fmla="*/ 2147483647 w 260"/>
              <a:gd name="T65" fmla="*/ 2147483647 h 409"/>
              <a:gd name="T66" fmla="*/ 2147483647 w 260"/>
              <a:gd name="T67" fmla="*/ 2147483647 h 409"/>
              <a:gd name="T68" fmla="*/ 2147483647 w 260"/>
              <a:gd name="T69" fmla="*/ 2147483647 h 409"/>
              <a:gd name="T70" fmla="*/ 2147483647 w 260"/>
              <a:gd name="T71" fmla="*/ 2147483647 h 409"/>
              <a:gd name="T72" fmla="*/ 2147483647 w 260"/>
              <a:gd name="T73" fmla="*/ 2147483647 h 409"/>
              <a:gd name="T74" fmla="*/ 2147483647 w 260"/>
              <a:gd name="T75" fmla="*/ 2147483647 h 409"/>
              <a:gd name="T76" fmla="*/ 2147483647 w 260"/>
              <a:gd name="T77" fmla="*/ 2147483647 h 409"/>
              <a:gd name="T78" fmla="*/ 2147483647 w 260"/>
              <a:gd name="T79" fmla="*/ 2147483647 h 409"/>
              <a:gd name="T80" fmla="*/ 2147483647 w 260"/>
              <a:gd name="T81" fmla="*/ 2147483647 h 409"/>
              <a:gd name="T82" fmla="*/ 2147483647 w 260"/>
              <a:gd name="T83" fmla="*/ 2147483647 h 409"/>
              <a:gd name="T84" fmla="*/ 2147483647 w 260"/>
              <a:gd name="T85" fmla="*/ 2147483647 h 409"/>
              <a:gd name="T86" fmla="*/ 2147483647 w 260"/>
              <a:gd name="T87" fmla="*/ 2147483647 h 409"/>
              <a:gd name="T88" fmla="*/ 2147483647 w 260"/>
              <a:gd name="T89" fmla="*/ 2147483647 h 409"/>
              <a:gd name="T90" fmla="*/ 2147483647 w 260"/>
              <a:gd name="T91" fmla="*/ 2147483647 h 409"/>
              <a:gd name="T92" fmla="*/ 2147483647 w 260"/>
              <a:gd name="T93" fmla="*/ 2147483647 h 409"/>
              <a:gd name="T94" fmla="*/ 2147483647 w 260"/>
              <a:gd name="T95" fmla="*/ 2147483647 h 409"/>
              <a:gd name="T96" fmla="*/ 2147483647 w 260"/>
              <a:gd name="T97" fmla="*/ 2147483647 h 409"/>
              <a:gd name="T98" fmla="*/ 2147483647 w 260"/>
              <a:gd name="T99" fmla="*/ 2147483647 h 409"/>
              <a:gd name="T100" fmla="*/ 2147483647 w 260"/>
              <a:gd name="T101" fmla="*/ 2147483647 h 409"/>
              <a:gd name="T102" fmla="*/ 2147483647 w 260"/>
              <a:gd name="T103" fmla="*/ 2147483647 h 409"/>
              <a:gd name="T104" fmla="*/ 2147483647 w 260"/>
              <a:gd name="T105" fmla="*/ 2147483647 h 409"/>
              <a:gd name="T106" fmla="*/ 2147483647 w 260"/>
              <a:gd name="T107" fmla="*/ 2147483647 h 409"/>
              <a:gd name="T108" fmla="*/ 2147483647 w 260"/>
              <a:gd name="T109" fmla="*/ 2147483647 h 409"/>
              <a:gd name="T110" fmla="*/ 2147483647 w 260"/>
              <a:gd name="T111" fmla="*/ 2147483647 h 409"/>
              <a:gd name="T112" fmla="*/ 2147483647 w 260"/>
              <a:gd name="T113" fmla="*/ 2147483647 h 409"/>
              <a:gd name="T114" fmla="*/ 2147483647 w 260"/>
              <a:gd name="T115" fmla="*/ 2147483647 h 409"/>
              <a:gd name="T116" fmla="*/ 2147483647 w 260"/>
              <a:gd name="T117" fmla="*/ 2147483647 h 409"/>
              <a:gd name="T118" fmla="*/ 2147483647 w 260"/>
              <a:gd name="T119" fmla="*/ 2147483647 h 409"/>
              <a:gd name="T120" fmla="*/ 2147483647 w 260"/>
              <a:gd name="T121" fmla="*/ 2147483647 h 409"/>
              <a:gd name="T122" fmla="*/ 2147483647 w 260"/>
              <a:gd name="T123" fmla="*/ 2147483647 h 40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60" h="409">
                <a:moveTo>
                  <a:pt x="130" y="291"/>
                </a:moveTo>
                <a:cubicBezTo>
                  <a:pt x="120" y="291"/>
                  <a:pt x="112" y="299"/>
                  <a:pt x="112" y="309"/>
                </a:cubicBezTo>
                <a:cubicBezTo>
                  <a:pt x="112" y="319"/>
                  <a:pt x="120" y="327"/>
                  <a:pt x="130" y="327"/>
                </a:cubicBezTo>
                <a:cubicBezTo>
                  <a:pt x="140" y="327"/>
                  <a:pt x="148" y="319"/>
                  <a:pt x="148" y="309"/>
                </a:cubicBezTo>
                <a:cubicBezTo>
                  <a:pt x="148" y="299"/>
                  <a:pt x="140" y="291"/>
                  <a:pt x="130" y="291"/>
                </a:cubicBezTo>
                <a:close/>
                <a:moveTo>
                  <a:pt x="229" y="206"/>
                </a:moveTo>
                <a:cubicBezTo>
                  <a:pt x="242" y="149"/>
                  <a:pt x="236" y="107"/>
                  <a:pt x="236" y="104"/>
                </a:cubicBezTo>
                <a:cubicBezTo>
                  <a:pt x="236" y="104"/>
                  <a:pt x="236" y="104"/>
                  <a:pt x="236" y="104"/>
                </a:cubicBezTo>
                <a:cubicBezTo>
                  <a:pt x="236" y="83"/>
                  <a:pt x="229" y="62"/>
                  <a:pt x="216" y="44"/>
                </a:cubicBezTo>
                <a:cubicBezTo>
                  <a:pt x="214" y="40"/>
                  <a:pt x="209" y="40"/>
                  <a:pt x="205" y="42"/>
                </a:cubicBezTo>
                <a:cubicBezTo>
                  <a:pt x="201" y="45"/>
                  <a:pt x="201" y="50"/>
                  <a:pt x="203" y="53"/>
                </a:cubicBezTo>
                <a:cubicBezTo>
                  <a:pt x="214" y="69"/>
                  <a:pt x="220" y="87"/>
                  <a:pt x="220" y="106"/>
                </a:cubicBezTo>
                <a:cubicBezTo>
                  <a:pt x="220" y="155"/>
                  <a:pt x="180" y="195"/>
                  <a:pt x="130" y="195"/>
                </a:cubicBezTo>
                <a:cubicBezTo>
                  <a:pt x="81" y="195"/>
                  <a:pt x="40" y="155"/>
                  <a:pt x="40" y="106"/>
                </a:cubicBezTo>
                <a:cubicBezTo>
                  <a:pt x="40" y="56"/>
                  <a:pt x="81" y="16"/>
                  <a:pt x="130" y="16"/>
                </a:cubicBezTo>
                <a:cubicBezTo>
                  <a:pt x="149" y="16"/>
                  <a:pt x="167" y="22"/>
                  <a:pt x="182" y="33"/>
                </a:cubicBezTo>
                <a:cubicBezTo>
                  <a:pt x="186" y="35"/>
                  <a:pt x="191" y="34"/>
                  <a:pt x="194" y="31"/>
                </a:cubicBezTo>
                <a:cubicBezTo>
                  <a:pt x="196" y="27"/>
                  <a:pt x="195" y="22"/>
                  <a:pt x="192" y="20"/>
                </a:cubicBezTo>
                <a:cubicBezTo>
                  <a:pt x="174" y="7"/>
                  <a:pt x="152" y="0"/>
                  <a:pt x="130" y="0"/>
                </a:cubicBezTo>
                <a:cubicBezTo>
                  <a:pt x="72" y="0"/>
                  <a:pt x="25" y="47"/>
                  <a:pt x="24" y="105"/>
                </a:cubicBezTo>
                <a:cubicBezTo>
                  <a:pt x="24" y="110"/>
                  <a:pt x="19" y="151"/>
                  <a:pt x="31" y="206"/>
                </a:cubicBezTo>
                <a:cubicBezTo>
                  <a:pt x="14" y="222"/>
                  <a:pt x="0" y="246"/>
                  <a:pt x="0" y="278"/>
                </a:cubicBezTo>
                <a:cubicBezTo>
                  <a:pt x="0" y="401"/>
                  <a:pt x="0" y="401"/>
                  <a:pt x="0" y="401"/>
                </a:cubicBezTo>
                <a:cubicBezTo>
                  <a:pt x="0" y="406"/>
                  <a:pt x="4" y="409"/>
                  <a:pt x="8" y="409"/>
                </a:cubicBezTo>
                <a:cubicBezTo>
                  <a:pt x="13" y="409"/>
                  <a:pt x="16" y="406"/>
                  <a:pt x="16" y="401"/>
                </a:cubicBezTo>
                <a:cubicBezTo>
                  <a:pt x="16" y="278"/>
                  <a:pt x="16" y="278"/>
                  <a:pt x="16" y="278"/>
                </a:cubicBezTo>
                <a:cubicBezTo>
                  <a:pt x="16" y="255"/>
                  <a:pt x="25" y="238"/>
                  <a:pt x="36" y="224"/>
                </a:cubicBezTo>
                <a:cubicBezTo>
                  <a:pt x="45" y="257"/>
                  <a:pt x="60" y="293"/>
                  <a:pt x="85" y="330"/>
                </a:cubicBezTo>
                <a:cubicBezTo>
                  <a:pt x="93" y="347"/>
                  <a:pt x="110" y="358"/>
                  <a:pt x="130" y="358"/>
                </a:cubicBezTo>
                <a:cubicBezTo>
                  <a:pt x="150" y="358"/>
                  <a:pt x="167" y="347"/>
                  <a:pt x="175" y="331"/>
                </a:cubicBezTo>
                <a:cubicBezTo>
                  <a:pt x="200" y="294"/>
                  <a:pt x="216" y="257"/>
                  <a:pt x="225" y="224"/>
                </a:cubicBezTo>
                <a:cubicBezTo>
                  <a:pt x="236" y="238"/>
                  <a:pt x="244" y="255"/>
                  <a:pt x="244" y="278"/>
                </a:cubicBezTo>
                <a:cubicBezTo>
                  <a:pt x="244" y="401"/>
                  <a:pt x="244" y="401"/>
                  <a:pt x="244" y="401"/>
                </a:cubicBezTo>
                <a:cubicBezTo>
                  <a:pt x="244" y="406"/>
                  <a:pt x="248" y="409"/>
                  <a:pt x="252" y="409"/>
                </a:cubicBezTo>
                <a:cubicBezTo>
                  <a:pt x="257" y="409"/>
                  <a:pt x="260" y="406"/>
                  <a:pt x="260" y="401"/>
                </a:cubicBezTo>
                <a:cubicBezTo>
                  <a:pt x="260" y="278"/>
                  <a:pt x="260" y="278"/>
                  <a:pt x="260" y="278"/>
                </a:cubicBezTo>
                <a:cubicBezTo>
                  <a:pt x="260" y="246"/>
                  <a:pt x="246" y="222"/>
                  <a:pt x="229" y="206"/>
                </a:cubicBezTo>
                <a:close/>
                <a:moveTo>
                  <a:pt x="41" y="162"/>
                </a:moveTo>
                <a:cubicBezTo>
                  <a:pt x="46" y="170"/>
                  <a:pt x="52" y="178"/>
                  <a:pt x="60" y="184"/>
                </a:cubicBezTo>
                <a:cubicBezTo>
                  <a:pt x="55" y="187"/>
                  <a:pt x="50" y="190"/>
                  <a:pt x="45" y="194"/>
                </a:cubicBezTo>
                <a:cubicBezTo>
                  <a:pt x="43" y="182"/>
                  <a:pt x="42" y="172"/>
                  <a:pt x="41" y="162"/>
                </a:cubicBezTo>
                <a:close/>
                <a:moveTo>
                  <a:pt x="130" y="342"/>
                </a:moveTo>
                <a:cubicBezTo>
                  <a:pt x="116" y="342"/>
                  <a:pt x="104" y="334"/>
                  <a:pt x="99" y="322"/>
                </a:cubicBezTo>
                <a:cubicBezTo>
                  <a:pt x="99" y="322"/>
                  <a:pt x="99" y="322"/>
                  <a:pt x="99" y="322"/>
                </a:cubicBezTo>
                <a:cubicBezTo>
                  <a:pt x="99" y="322"/>
                  <a:pt x="99" y="322"/>
                  <a:pt x="99" y="322"/>
                </a:cubicBezTo>
                <a:cubicBezTo>
                  <a:pt x="97" y="318"/>
                  <a:pt x="97" y="313"/>
                  <a:pt x="97" y="309"/>
                </a:cubicBezTo>
                <a:cubicBezTo>
                  <a:pt x="97" y="290"/>
                  <a:pt x="112" y="275"/>
                  <a:pt x="130" y="275"/>
                </a:cubicBezTo>
                <a:cubicBezTo>
                  <a:pt x="149" y="275"/>
                  <a:pt x="164" y="290"/>
                  <a:pt x="164" y="309"/>
                </a:cubicBezTo>
                <a:cubicBezTo>
                  <a:pt x="164" y="327"/>
                  <a:pt x="149" y="342"/>
                  <a:pt x="130" y="342"/>
                </a:cubicBezTo>
                <a:close/>
                <a:moveTo>
                  <a:pt x="178" y="295"/>
                </a:moveTo>
                <a:cubicBezTo>
                  <a:pt x="172" y="274"/>
                  <a:pt x="153" y="259"/>
                  <a:pt x="130" y="259"/>
                </a:cubicBezTo>
                <a:cubicBezTo>
                  <a:pt x="108" y="259"/>
                  <a:pt x="88" y="274"/>
                  <a:pt x="83" y="295"/>
                </a:cubicBezTo>
                <a:cubicBezTo>
                  <a:pt x="66" y="266"/>
                  <a:pt x="56" y="237"/>
                  <a:pt x="49" y="211"/>
                </a:cubicBezTo>
                <a:cubicBezTo>
                  <a:pt x="58" y="204"/>
                  <a:pt x="66" y="199"/>
                  <a:pt x="74" y="195"/>
                </a:cubicBezTo>
                <a:cubicBezTo>
                  <a:pt x="90" y="205"/>
                  <a:pt x="109" y="211"/>
                  <a:pt x="130" y="211"/>
                </a:cubicBezTo>
                <a:cubicBezTo>
                  <a:pt x="151" y="211"/>
                  <a:pt x="170" y="205"/>
                  <a:pt x="187" y="195"/>
                </a:cubicBezTo>
                <a:cubicBezTo>
                  <a:pt x="194" y="199"/>
                  <a:pt x="203" y="204"/>
                  <a:pt x="211" y="211"/>
                </a:cubicBezTo>
                <a:cubicBezTo>
                  <a:pt x="205" y="237"/>
                  <a:pt x="195" y="266"/>
                  <a:pt x="178" y="295"/>
                </a:cubicBezTo>
                <a:close/>
                <a:moveTo>
                  <a:pt x="215" y="194"/>
                </a:moveTo>
                <a:cubicBezTo>
                  <a:pt x="210" y="190"/>
                  <a:pt x="205" y="187"/>
                  <a:pt x="201" y="184"/>
                </a:cubicBezTo>
                <a:cubicBezTo>
                  <a:pt x="208" y="178"/>
                  <a:pt x="215" y="170"/>
                  <a:pt x="220" y="161"/>
                </a:cubicBezTo>
                <a:cubicBezTo>
                  <a:pt x="219" y="171"/>
                  <a:pt x="218" y="182"/>
                  <a:pt x="215" y="194"/>
                </a:cubicBezTo>
                <a:close/>
              </a:path>
            </a:pathLst>
          </a:custGeom>
          <a:solidFill>
            <a:srgbClr val="FFFFFF"/>
          </a:solidFill>
          <a:ln>
            <a:noFill/>
          </a:ln>
        </p:spPr>
        <p:txBody>
          <a:bodyPr/>
          <a:lstStyle/>
          <a:p>
            <a:endParaRPr lang="sv-SE" dirty="0"/>
          </a:p>
        </p:txBody>
      </p:sp>
      <p:sp>
        <p:nvSpPr>
          <p:cNvPr id="43" name="Freeform 3"/>
          <p:cNvSpPr>
            <a:spLocks noChangeAspect="1" noEditPoints="1"/>
          </p:cNvSpPr>
          <p:nvPr/>
        </p:nvSpPr>
        <p:spPr bwMode="auto">
          <a:xfrm>
            <a:off x="9460054" y="4768166"/>
            <a:ext cx="198122" cy="207092"/>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p:spPr>
        <p:txBody>
          <a:bodyPr/>
          <a:lstStyle/>
          <a:p>
            <a:endParaRPr lang="en-US" b="1" dirty="0"/>
          </a:p>
        </p:txBody>
      </p:sp>
      <p:sp>
        <p:nvSpPr>
          <p:cNvPr id="44" name="Freeform 7"/>
          <p:cNvSpPr>
            <a:spLocks noChangeAspect="1"/>
          </p:cNvSpPr>
          <p:nvPr/>
        </p:nvSpPr>
        <p:spPr bwMode="auto">
          <a:xfrm rot="16200000" flipV="1">
            <a:off x="4451538" y="5102661"/>
            <a:ext cx="181595" cy="285127"/>
          </a:xfrm>
          <a:custGeom>
            <a:avLst/>
            <a:gdLst>
              <a:gd name="T0" fmla="*/ 0 w 139"/>
              <a:gd name="T1" fmla="*/ 2147483647 h 218"/>
              <a:gd name="T2" fmla="*/ 2147483647 w 139"/>
              <a:gd name="T3" fmla="*/ 2147483647 h 218"/>
              <a:gd name="T4" fmla="*/ 2147483647 w 139"/>
              <a:gd name="T5" fmla="*/ 2147483647 h 218"/>
              <a:gd name="T6" fmla="*/ 2147483647 w 139"/>
              <a:gd name="T7" fmla="*/ 2147483647 h 218"/>
              <a:gd name="T8" fmla="*/ 2147483647 w 139"/>
              <a:gd name="T9" fmla="*/ 2147483647 h 218"/>
              <a:gd name="T10" fmla="*/ 2147483647 w 139"/>
              <a:gd name="T11" fmla="*/ 2147483647 h 218"/>
              <a:gd name="T12" fmla="*/ 0 w 139"/>
              <a:gd name="T13" fmla="*/ 2147483647 h 218"/>
              <a:gd name="T14" fmla="*/ 0 w 139"/>
              <a:gd name="T15" fmla="*/ 2147483647 h 218"/>
              <a:gd name="T16" fmla="*/ 0 60000 65536"/>
              <a:gd name="T17" fmla="*/ 0 60000 65536"/>
              <a:gd name="T18" fmla="*/ 0 60000 65536"/>
              <a:gd name="T19" fmla="*/ 0 60000 65536"/>
              <a:gd name="T20" fmla="*/ 0 60000 65536"/>
              <a:gd name="T21" fmla="*/ 0 60000 65536"/>
              <a:gd name="T22" fmla="*/ 0 60000 65536"/>
              <a:gd name="T23" fmla="*/ 0 60000 65536"/>
              <a:gd name="T24" fmla="*/ 0 w 139"/>
              <a:gd name="T25" fmla="*/ 0 h 218"/>
              <a:gd name="T26" fmla="*/ 139 w 139"/>
              <a:gd name="T27" fmla="*/ 218 h 2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9" h="218">
                <a:moveTo>
                  <a:pt x="0" y="195"/>
                </a:moveTo>
                <a:cubicBezTo>
                  <a:pt x="0" y="215"/>
                  <a:pt x="13" y="218"/>
                  <a:pt x="25" y="208"/>
                </a:cubicBezTo>
                <a:cubicBezTo>
                  <a:pt x="37" y="199"/>
                  <a:pt x="118" y="135"/>
                  <a:pt x="130" y="126"/>
                </a:cubicBezTo>
                <a:cubicBezTo>
                  <a:pt x="136" y="121"/>
                  <a:pt x="139" y="116"/>
                  <a:pt x="139" y="109"/>
                </a:cubicBezTo>
                <a:cubicBezTo>
                  <a:pt x="139" y="102"/>
                  <a:pt x="136" y="97"/>
                  <a:pt x="130" y="92"/>
                </a:cubicBezTo>
                <a:cubicBezTo>
                  <a:pt x="118" y="83"/>
                  <a:pt x="33" y="14"/>
                  <a:pt x="25" y="9"/>
                </a:cubicBezTo>
                <a:cubicBezTo>
                  <a:pt x="12" y="0"/>
                  <a:pt x="0" y="2"/>
                  <a:pt x="0" y="22"/>
                </a:cubicBezTo>
                <a:cubicBezTo>
                  <a:pt x="0" y="26"/>
                  <a:pt x="0" y="191"/>
                  <a:pt x="0" y="195"/>
                </a:cubicBezTo>
                <a:close/>
              </a:path>
            </a:pathLst>
          </a:custGeom>
          <a:solidFill>
            <a:srgbClr val="FFFFFF"/>
          </a:solidFill>
          <a:ln w="12700" cmpd="sng">
            <a:noFill/>
          </a:ln>
          <a:extLst/>
        </p:spPr>
        <p:txBody>
          <a:bodyPr/>
          <a:lstStyle/>
          <a:p>
            <a:endParaRPr lang="en-US"/>
          </a:p>
        </p:txBody>
      </p:sp>
      <p:sp>
        <p:nvSpPr>
          <p:cNvPr id="45" name="Freeform 7"/>
          <p:cNvSpPr>
            <a:spLocks noChangeAspect="1"/>
          </p:cNvSpPr>
          <p:nvPr/>
        </p:nvSpPr>
        <p:spPr bwMode="auto">
          <a:xfrm rot="16200000" flipV="1">
            <a:off x="7011126" y="5102661"/>
            <a:ext cx="181595" cy="285127"/>
          </a:xfrm>
          <a:custGeom>
            <a:avLst/>
            <a:gdLst>
              <a:gd name="T0" fmla="*/ 0 w 139"/>
              <a:gd name="T1" fmla="*/ 2147483647 h 218"/>
              <a:gd name="T2" fmla="*/ 2147483647 w 139"/>
              <a:gd name="T3" fmla="*/ 2147483647 h 218"/>
              <a:gd name="T4" fmla="*/ 2147483647 w 139"/>
              <a:gd name="T5" fmla="*/ 2147483647 h 218"/>
              <a:gd name="T6" fmla="*/ 2147483647 w 139"/>
              <a:gd name="T7" fmla="*/ 2147483647 h 218"/>
              <a:gd name="T8" fmla="*/ 2147483647 w 139"/>
              <a:gd name="T9" fmla="*/ 2147483647 h 218"/>
              <a:gd name="T10" fmla="*/ 2147483647 w 139"/>
              <a:gd name="T11" fmla="*/ 2147483647 h 218"/>
              <a:gd name="T12" fmla="*/ 0 w 139"/>
              <a:gd name="T13" fmla="*/ 2147483647 h 218"/>
              <a:gd name="T14" fmla="*/ 0 w 139"/>
              <a:gd name="T15" fmla="*/ 2147483647 h 218"/>
              <a:gd name="T16" fmla="*/ 0 60000 65536"/>
              <a:gd name="T17" fmla="*/ 0 60000 65536"/>
              <a:gd name="T18" fmla="*/ 0 60000 65536"/>
              <a:gd name="T19" fmla="*/ 0 60000 65536"/>
              <a:gd name="T20" fmla="*/ 0 60000 65536"/>
              <a:gd name="T21" fmla="*/ 0 60000 65536"/>
              <a:gd name="T22" fmla="*/ 0 60000 65536"/>
              <a:gd name="T23" fmla="*/ 0 60000 65536"/>
              <a:gd name="T24" fmla="*/ 0 w 139"/>
              <a:gd name="T25" fmla="*/ 0 h 218"/>
              <a:gd name="T26" fmla="*/ 139 w 139"/>
              <a:gd name="T27" fmla="*/ 218 h 2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9" h="218">
                <a:moveTo>
                  <a:pt x="0" y="195"/>
                </a:moveTo>
                <a:cubicBezTo>
                  <a:pt x="0" y="215"/>
                  <a:pt x="13" y="218"/>
                  <a:pt x="25" y="208"/>
                </a:cubicBezTo>
                <a:cubicBezTo>
                  <a:pt x="37" y="199"/>
                  <a:pt x="118" y="135"/>
                  <a:pt x="130" y="126"/>
                </a:cubicBezTo>
                <a:cubicBezTo>
                  <a:pt x="136" y="121"/>
                  <a:pt x="139" y="116"/>
                  <a:pt x="139" y="109"/>
                </a:cubicBezTo>
                <a:cubicBezTo>
                  <a:pt x="139" y="102"/>
                  <a:pt x="136" y="97"/>
                  <a:pt x="130" y="92"/>
                </a:cubicBezTo>
                <a:cubicBezTo>
                  <a:pt x="118" y="83"/>
                  <a:pt x="33" y="14"/>
                  <a:pt x="25" y="9"/>
                </a:cubicBezTo>
                <a:cubicBezTo>
                  <a:pt x="12" y="0"/>
                  <a:pt x="0" y="2"/>
                  <a:pt x="0" y="22"/>
                </a:cubicBezTo>
                <a:cubicBezTo>
                  <a:pt x="0" y="26"/>
                  <a:pt x="0" y="191"/>
                  <a:pt x="0" y="195"/>
                </a:cubicBezTo>
                <a:close/>
              </a:path>
            </a:pathLst>
          </a:custGeom>
          <a:solidFill>
            <a:srgbClr val="FFFFFF"/>
          </a:solidFill>
          <a:ln w="12700" cmpd="sng">
            <a:noFill/>
          </a:ln>
          <a:extLst/>
        </p:spPr>
        <p:txBody>
          <a:bodyPr/>
          <a:lstStyle/>
          <a:p>
            <a:endParaRPr lang="en-US"/>
          </a:p>
        </p:txBody>
      </p:sp>
      <p:sp>
        <p:nvSpPr>
          <p:cNvPr id="46" name="Freeform 7"/>
          <p:cNvSpPr>
            <a:spLocks noChangeAspect="1"/>
          </p:cNvSpPr>
          <p:nvPr/>
        </p:nvSpPr>
        <p:spPr bwMode="auto">
          <a:xfrm rot="16200000" flipV="1">
            <a:off x="9675440" y="5102660"/>
            <a:ext cx="181595" cy="285127"/>
          </a:xfrm>
          <a:custGeom>
            <a:avLst/>
            <a:gdLst>
              <a:gd name="T0" fmla="*/ 0 w 139"/>
              <a:gd name="T1" fmla="*/ 2147483647 h 218"/>
              <a:gd name="T2" fmla="*/ 2147483647 w 139"/>
              <a:gd name="T3" fmla="*/ 2147483647 h 218"/>
              <a:gd name="T4" fmla="*/ 2147483647 w 139"/>
              <a:gd name="T5" fmla="*/ 2147483647 h 218"/>
              <a:gd name="T6" fmla="*/ 2147483647 w 139"/>
              <a:gd name="T7" fmla="*/ 2147483647 h 218"/>
              <a:gd name="T8" fmla="*/ 2147483647 w 139"/>
              <a:gd name="T9" fmla="*/ 2147483647 h 218"/>
              <a:gd name="T10" fmla="*/ 2147483647 w 139"/>
              <a:gd name="T11" fmla="*/ 2147483647 h 218"/>
              <a:gd name="T12" fmla="*/ 0 w 139"/>
              <a:gd name="T13" fmla="*/ 2147483647 h 218"/>
              <a:gd name="T14" fmla="*/ 0 w 139"/>
              <a:gd name="T15" fmla="*/ 2147483647 h 218"/>
              <a:gd name="T16" fmla="*/ 0 60000 65536"/>
              <a:gd name="T17" fmla="*/ 0 60000 65536"/>
              <a:gd name="T18" fmla="*/ 0 60000 65536"/>
              <a:gd name="T19" fmla="*/ 0 60000 65536"/>
              <a:gd name="T20" fmla="*/ 0 60000 65536"/>
              <a:gd name="T21" fmla="*/ 0 60000 65536"/>
              <a:gd name="T22" fmla="*/ 0 60000 65536"/>
              <a:gd name="T23" fmla="*/ 0 60000 65536"/>
              <a:gd name="T24" fmla="*/ 0 w 139"/>
              <a:gd name="T25" fmla="*/ 0 h 218"/>
              <a:gd name="T26" fmla="*/ 139 w 139"/>
              <a:gd name="T27" fmla="*/ 218 h 2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9" h="218">
                <a:moveTo>
                  <a:pt x="0" y="195"/>
                </a:moveTo>
                <a:cubicBezTo>
                  <a:pt x="0" y="215"/>
                  <a:pt x="13" y="218"/>
                  <a:pt x="25" y="208"/>
                </a:cubicBezTo>
                <a:cubicBezTo>
                  <a:pt x="37" y="199"/>
                  <a:pt x="118" y="135"/>
                  <a:pt x="130" y="126"/>
                </a:cubicBezTo>
                <a:cubicBezTo>
                  <a:pt x="136" y="121"/>
                  <a:pt x="139" y="116"/>
                  <a:pt x="139" y="109"/>
                </a:cubicBezTo>
                <a:cubicBezTo>
                  <a:pt x="139" y="102"/>
                  <a:pt x="136" y="97"/>
                  <a:pt x="130" y="92"/>
                </a:cubicBezTo>
                <a:cubicBezTo>
                  <a:pt x="118" y="83"/>
                  <a:pt x="33" y="14"/>
                  <a:pt x="25" y="9"/>
                </a:cubicBezTo>
                <a:cubicBezTo>
                  <a:pt x="12" y="0"/>
                  <a:pt x="0" y="2"/>
                  <a:pt x="0" y="22"/>
                </a:cubicBezTo>
                <a:cubicBezTo>
                  <a:pt x="0" y="26"/>
                  <a:pt x="0" y="191"/>
                  <a:pt x="0" y="195"/>
                </a:cubicBezTo>
                <a:close/>
              </a:path>
            </a:pathLst>
          </a:custGeom>
          <a:solidFill>
            <a:srgbClr val="FFFFFF"/>
          </a:solidFill>
          <a:ln w="12700" cmpd="sng">
            <a:noFill/>
          </a:ln>
          <a:extLst/>
        </p:spPr>
        <p:txBody>
          <a:bodyPr/>
          <a:lstStyle/>
          <a:p>
            <a:endParaRPr lang="en-US"/>
          </a:p>
        </p:txBody>
      </p:sp>
      <p:sp>
        <p:nvSpPr>
          <p:cNvPr id="47" name="Freeform 3"/>
          <p:cNvSpPr>
            <a:spLocks noChangeAspect="1" noEditPoints="1"/>
          </p:cNvSpPr>
          <p:nvPr/>
        </p:nvSpPr>
        <p:spPr bwMode="auto">
          <a:xfrm>
            <a:off x="8990592" y="3259643"/>
            <a:ext cx="285460" cy="108866"/>
          </a:xfrm>
          <a:custGeom>
            <a:avLst/>
            <a:gdLst>
              <a:gd name="T0" fmla="*/ 2147483647 w 482"/>
              <a:gd name="T1" fmla="*/ 2147483647 h 184"/>
              <a:gd name="T2" fmla="*/ 2147483647 w 482"/>
              <a:gd name="T3" fmla="*/ 2147483647 h 184"/>
              <a:gd name="T4" fmla="*/ 2147483647 w 482"/>
              <a:gd name="T5" fmla="*/ 2147483647 h 184"/>
              <a:gd name="T6" fmla="*/ 2147483647 w 482"/>
              <a:gd name="T7" fmla="*/ 2147483647 h 184"/>
              <a:gd name="T8" fmla="*/ 2147483647 w 482"/>
              <a:gd name="T9" fmla="*/ 2147483647 h 184"/>
              <a:gd name="T10" fmla="*/ 2147483647 w 482"/>
              <a:gd name="T11" fmla="*/ 2147483647 h 184"/>
              <a:gd name="T12" fmla="*/ 2147483647 w 482"/>
              <a:gd name="T13" fmla="*/ 2147483647 h 184"/>
              <a:gd name="T14" fmla="*/ 2147483647 w 482"/>
              <a:gd name="T15" fmla="*/ 0 h 184"/>
              <a:gd name="T16" fmla="*/ 0 w 482"/>
              <a:gd name="T17" fmla="*/ 2147483647 h 184"/>
              <a:gd name="T18" fmla="*/ 2147483647 w 482"/>
              <a:gd name="T19" fmla="*/ 2147483647 h 184"/>
              <a:gd name="T20" fmla="*/ 2147483647 w 482"/>
              <a:gd name="T21" fmla="*/ 2147483647 h 184"/>
              <a:gd name="T22" fmla="*/ 2147483647 w 482"/>
              <a:gd name="T23" fmla="*/ 2147483647 h 184"/>
              <a:gd name="T24" fmla="*/ 2147483647 w 482"/>
              <a:gd name="T25" fmla="*/ 2147483647 h 184"/>
              <a:gd name="T26" fmla="*/ 2147483647 w 482"/>
              <a:gd name="T27" fmla="*/ 2147483647 h 184"/>
              <a:gd name="T28" fmla="*/ 2147483647 w 482"/>
              <a:gd name="T29" fmla="*/ 2147483647 h 184"/>
              <a:gd name="T30" fmla="*/ 2147483647 w 482"/>
              <a:gd name="T31" fmla="*/ 2147483647 h 184"/>
              <a:gd name="T32" fmla="*/ 2147483647 w 482"/>
              <a:gd name="T33" fmla="*/ 2147483647 h 184"/>
              <a:gd name="T34" fmla="*/ 2147483647 w 482"/>
              <a:gd name="T35" fmla="*/ 2147483647 h 184"/>
              <a:gd name="T36" fmla="*/ 2147483647 w 482"/>
              <a:gd name="T37" fmla="*/ 2147483647 h 184"/>
              <a:gd name="T38" fmla="*/ 2147483647 w 482"/>
              <a:gd name="T39" fmla="*/ 2147483647 h 184"/>
              <a:gd name="T40" fmla="*/ 2147483647 w 482"/>
              <a:gd name="T41" fmla="*/ 2147483647 h 184"/>
              <a:gd name="T42" fmla="*/ 2147483647 w 482"/>
              <a:gd name="T43" fmla="*/ 2147483647 h 184"/>
              <a:gd name="T44" fmla="*/ 2147483647 w 482"/>
              <a:gd name="T45" fmla="*/ 2147483647 h 184"/>
              <a:gd name="T46" fmla="*/ 2147483647 w 482"/>
              <a:gd name="T47" fmla="*/ 2147483647 h 184"/>
              <a:gd name="T48" fmla="*/ 2147483647 w 482"/>
              <a:gd name="T49" fmla="*/ 2147483647 h 184"/>
              <a:gd name="T50" fmla="*/ 2147483647 w 482"/>
              <a:gd name="T51" fmla="*/ 2147483647 h 184"/>
              <a:gd name="T52" fmla="*/ 2147483647 w 482"/>
              <a:gd name="T53" fmla="*/ 2147483647 h 184"/>
              <a:gd name="T54" fmla="*/ 2147483647 w 482"/>
              <a:gd name="T55" fmla="*/ 2147483647 h 184"/>
              <a:gd name="T56" fmla="*/ 2147483647 w 482"/>
              <a:gd name="T57" fmla="*/ 2147483647 h 184"/>
              <a:gd name="T58" fmla="*/ 2147483647 w 482"/>
              <a:gd name="T59" fmla="*/ 2147483647 h 184"/>
              <a:gd name="T60" fmla="*/ 2147483647 w 482"/>
              <a:gd name="T61" fmla="*/ 2147483647 h 184"/>
              <a:gd name="T62" fmla="*/ 2147483647 w 482"/>
              <a:gd name="T63" fmla="*/ 2147483647 h 184"/>
              <a:gd name="T64" fmla="*/ 2147483647 w 482"/>
              <a:gd name="T65" fmla="*/ 2147483647 h 184"/>
              <a:gd name="T66" fmla="*/ 2147483647 w 482"/>
              <a:gd name="T67" fmla="*/ 2147483647 h 18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82" h="184">
                <a:moveTo>
                  <a:pt x="46" y="134"/>
                </a:moveTo>
                <a:cubicBezTo>
                  <a:pt x="436" y="134"/>
                  <a:pt x="436" y="134"/>
                  <a:pt x="436" y="134"/>
                </a:cubicBezTo>
                <a:cubicBezTo>
                  <a:pt x="441" y="134"/>
                  <a:pt x="444" y="131"/>
                  <a:pt x="444" y="126"/>
                </a:cubicBezTo>
                <a:cubicBezTo>
                  <a:pt x="444" y="122"/>
                  <a:pt x="441" y="118"/>
                  <a:pt x="436" y="118"/>
                </a:cubicBezTo>
                <a:cubicBezTo>
                  <a:pt x="46" y="118"/>
                  <a:pt x="46" y="118"/>
                  <a:pt x="46" y="118"/>
                </a:cubicBezTo>
                <a:cubicBezTo>
                  <a:pt x="42" y="118"/>
                  <a:pt x="38" y="122"/>
                  <a:pt x="38" y="126"/>
                </a:cubicBezTo>
                <a:cubicBezTo>
                  <a:pt x="38" y="131"/>
                  <a:pt x="42" y="134"/>
                  <a:pt x="46" y="134"/>
                </a:cubicBezTo>
                <a:close/>
                <a:moveTo>
                  <a:pt x="142" y="46"/>
                </a:moveTo>
                <a:cubicBezTo>
                  <a:pt x="142" y="36"/>
                  <a:pt x="134" y="28"/>
                  <a:pt x="124" y="28"/>
                </a:cubicBezTo>
                <a:cubicBezTo>
                  <a:pt x="113" y="28"/>
                  <a:pt x="105" y="36"/>
                  <a:pt x="105" y="46"/>
                </a:cubicBezTo>
                <a:cubicBezTo>
                  <a:pt x="105" y="56"/>
                  <a:pt x="113" y="65"/>
                  <a:pt x="124" y="65"/>
                </a:cubicBezTo>
                <a:cubicBezTo>
                  <a:pt x="134" y="65"/>
                  <a:pt x="142" y="56"/>
                  <a:pt x="142" y="46"/>
                </a:cubicBezTo>
                <a:close/>
                <a:moveTo>
                  <a:pt x="474" y="48"/>
                </a:moveTo>
                <a:cubicBezTo>
                  <a:pt x="479" y="48"/>
                  <a:pt x="482" y="45"/>
                  <a:pt x="482" y="40"/>
                </a:cubicBezTo>
                <a:cubicBezTo>
                  <a:pt x="482" y="16"/>
                  <a:pt x="482" y="16"/>
                  <a:pt x="482" y="16"/>
                </a:cubicBezTo>
                <a:cubicBezTo>
                  <a:pt x="482" y="7"/>
                  <a:pt x="475" y="0"/>
                  <a:pt x="466" y="0"/>
                </a:cubicBezTo>
                <a:cubicBezTo>
                  <a:pt x="16" y="0"/>
                  <a:pt x="16" y="0"/>
                  <a:pt x="16" y="0"/>
                </a:cubicBezTo>
                <a:cubicBezTo>
                  <a:pt x="7" y="0"/>
                  <a:pt x="0" y="7"/>
                  <a:pt x="0" y="16"/>
                </a:cubicBezTo>
                <a:cubicBezTo>
                  <a:pt x="0" y="147"/>
                  <a:pt x="0" y="147"/>
                  <a:pt x="0" y="147"/>
                </a:cubicBezTo>
                <a:cubicBezTo>
                  <a:pt x="0" y="156"/>
                  <a:pt x="7" y="163"/>
                  <a:pt x="16" y="163"/>
                </a:cubicBezTo>
                <a:cubicBezTo>
                  <a:pt x="42" y="163"/>
                  <a:pt x="42" y="163"/>
                  <a:pt x="42" y="163"/>
                </a:cubicBezTo>
                <a:cubicBezTo>
                  <a:pt x="42" y="174"/>
                  <a:pt x="42" y="174"/>
                  <a:pt x="42" y="174"/>
                </a:cubicBezTo>
                <a:cubicBezTo>
                  <a:pt x="42" y="179"/>
                  <a:pt x="46" y="184"/>
                  <a:pt x="52" y="184"/>
                </a:cubicBezTo>
                <a:cubicBezTo>
                  <a:pt x="90" y="184"/>
                  <a:pt x="90" y="184"/>
                  <a:pt x="90" y="184"/>
                </a:cubicBezTo>
                <a:cubicBezTo>
                  <a:pt x="96" y="184"/>
                  <a:pt x="100" y="179"/>
                  <a:pt x="100" y="174"/>
                </a:cubicBezTo>
                <a:cubicBezTo>
                  <a:pt x="100" y="163"/>
                  <a:pt x="100" y="163"/>
                  <a:pt x="100" y="163"/>
                </a:cubicBezTo>
                <a:cubicBezTo>
                  <a:pt x="382" y="163"/>
                  <a:pt x="382" y="163"/>
                  <a:pt x="382" y="163"/>
                </a:cubicBezTo>
                <a:cubicBezTo>
                  <a:pt x="382" y="174"/>
                  <a:pt x="382" y="174"/>
                  <a:pt x="382" y="174"/>
                </a:cubicBezTo>
                <a:cubicBezTo>
                  <a:pt x="382" y="179"/>
                  <a:pt x="386" y="184"/>
                  <a:pt x="392" y="184"/>
                </a:cubicBezTo>
                <a:cubicBezTo>
                  <a:pt x="430" y="184"/>
                  <a:pt x="430" y="184"/>
                  <a:pt x="430" y="184"/>
                </a:cubicBezTo>
                <a:cubicBezTo>
                  <a:pt x="436" y="184"/>
                  <a:pt x="440" y="179"/>
                  <a:pt x="440" y="174"/>
                </a:cubicBezTo>
                <a:cubicBezTo>
                  <a:pt x="440" y="163"/>
                  <a:pt x="440" y="163"/>
                  <a:pt x="440" y="163"/>
                </a:cubicBezTo>
                <a:cubicBezTo>
                  <a:pt x="466" y="163"/>
                  <a:pt x="466" y="163"/>
                  <a:pt x="466" y="163"/>
                </a:cubicBezTo>
                <a:cubicBezTo>
                  <a:pt x="475" y="163"/>
                  <a:pt x="482" y="156"/>
                  <a:pt x="482" y="147"/>
                </a:cubicBezTo>
                <a:cubicBezTo>
                  <a:pt x="482" y="72"/>
                  <a:pt x="482" y="72"/>
                  <a:pt x="482" y="72"/>
                </a:cubicBezTo>
                <a:cubicBezTo>
                  <a:pt x="482" y="67"/>
                  <a:pt x="479" y="64"/>
                  <a:pt x="474" y="64"/>
                </a:cubicBezTo>
                <a:cubicBezTo>
                  <a:pt x="470" y="64"/>
                  <a:pt x="466" y="67"/>
                  <a:pt x="466" y="72"/>
                </a:cubicBezTo>
                <a:cubicBezTo>
                  <a:pt x="466" y="72"/>
                  <a:pt x="466" y="72"/>
                  <a:pt x="466" y="72"/>
                </a:cubicBezTo>
                <a:cubicBezTo>
                  <a:pt x="466" y="147"/>
                  <a:pt x="466" y="147"/>
                  <a:pt x="466" y="147"/>
                </a:cubicBezTo>
                <a:cubicBezTo>
                  <a:pt x="16" y="147"/>
                  <a:pt x="16" y="147"/>
                  <a:pt x="16" y="147"/>
                </a:cubicBezTo>
                <a:cubicBezTo>
                  <a:pt x="16" y="16"/>
                  <a:pt x="16" y="16"/>
                  <a:pt x="16" y="16"/>
                </a:cubicBezTo>
                <a:cubicBezTo>
                  <a:pt x="466" y="16"/>
                  <a:pt x="466" y="16"/>
                  <a:pt x="466" y="16"/>
                </a:cubicBezTo>
                <a:cubicBezTo>
                  <a:pt x="466" y="40"/>
                  <a:pt x="466" y="40"/>
                  <a:pt x="466" y="40"/>
                </a:cubicBezTo>
                <a:cubicBezTo>
                  <a:pt x="466" y="45"/>
                  <a:pt x="470" y="48"/>
                  <a:pt x="474" y="48"/>
                </a:cubicBezTo>
                <a:close/>
                <a:moveTo>
                  <a:pt x="49" y="88"/>
                </a:moveTo>
                <a:cubicBezTo>
                  <a:pt x="78" y="88"/>
                  <a:pt x="78" y="88"/>
                  <a:pt x="78" y="88"/>
                </a:cubicBezTo>
                <a:cubicBezTo>
                  <a:pt x="82" y="88"/>
                  <a:pt x="86" y="84"/>
                  <a:pt x="86" y="80"/>
                </a:cubicBezTo>
                <a:cubicBezTo>
                  <a:pt x="86" y="36"/>
                  <a:pt x="86" y="36"/>
                  <a:pt x="86" y="36"/>
                </a:cubicBezTo>
                <a:cubicBezTo>
                  <a:pt x="86" y="32"/>
                  <a:pt x="82" y="28"/>
                  <a:pt x="78" y="28"/>
                </a:cubicBezTo>
                <a:cubicBezTo>
                  <a:pt x="49" y="28"/>
                  <a:pt x="49" y="28"/>
                  <a:pt x="49" y="28"/>
                </a:cubicBezTo>
                <a:cubicBezTo>
                  <a:pt x="44" y="28"/>
                  <a:pt x="41" y="32"/>
                  <a:pt x="41" y="36"/>
                </a:cubicBezTo>
                <a:cubicBezTo>
                  <a:pt x="41" y="80"/>
                  <a:pt x="41" y="80"/>
                  <a:pt x="41" y="80"/>
                </a:cubicBezTo>
                <a:cubicBezTo>
                  <a:pt x="41" y="84"/>
                  <a:pt x="44" y="88"/>
                  <a:pt x="49" y="88"/>
                </a:cubicBezTo>
                <a:close/>
                <a:moveTo>
                  <a:pt x="310" y="46"/>
                </a:moveTo>
                <a:cubicBezTo>
                  <a:pt x="310" y="36"/>
                  <a:pt x="302" y="28"/>
                  <a:pt x="292" y="28"/>
                </a:cubicBezTo>
                <a:cubicBezTo>
                  <a:pt x="281" y="28"/>
                  <a:pt x="273" y="36"/>
                  <a:pt x="273" y="46"/>
                </a:cubicBezTo>
                <a:cubicBezTo>
                  <a:pt x="273" y="56"/>
                  <a:pt x="281" y="65"/>
                  <a:pt x="292" y="65"/>
                </a:cubicBezTo>
                <a:cubicBezTo>
                  <a:pt x="302" y="65"/>
                  <a:pt x="310" y="56"/>
                  <a:pt x="310" y="46"/>
                </a:cubicBezTo>
                <a:close/>
                <a:moveTo>
                  <a:pt x="254" y="46"/>
                </a:moveTo>
                <a:cubicBezTo>
                  <a:pt x="254" y="36"/>
                  <a:pt x="246" y="28"/>
                  <a:pt x="236" y="28"/>
                </a:cubicBezTo>
                <a:cubicBezTo>
                  <a:pt x="225" y="28"/>
                  <a:pt x="217" y="36"/>
                  <a:pt x="217" y="46"/>
                </a:cubicBezTo>
                <a:cubicBezTo>
                  <a:pt x="217" y="56"/>
                  <a:pt x="225" y="65"/>
                  <a:pt x="236" y="65"/>
                </a:cubicBezTo>
                <a:cubicBezTo>
                  <a:pt x="246" y="65"/>
                  <a:pt x="254" y="56"/>
                  <a:pt x="254" y="46"/>
                </a:cubicBezTo>
                <a:close/>
                <a:moveTo>
                  <a:pt x="198" y="46"/>
                </a:moveTo>
                <a:cubicBezTo>
                  <a:pt x="198" y="36"/>
                  <a:pt x="190" y="28"/>
                  <a:pt x="180" y="28"/>
                </a:cubicBezTo>
                <a:cubicBezTo>
                  <a:pt x="169" y="28"/>
                  <a:pt x="161" y="36"/>
                  <a:pt x="161" y="46"/>
                </a:cubicBezTo>
                <a:cubicBezTo>
                  <a:pt x="161" y="56"/>
                  <a:pt x="169" y="65"/>
                  <a:pt x="180" y="65"/>
                </a:cubicBezTo>
                <a:cubicBezTo>
                  <a:pt x="190" y="65"/>
                  <a:pt x="198" y="56"/>
                  <a:pt x="198" y="46"/>
                </a:cubicBezTo>
                <a:close/>
              </a:path>
            </a:pathLst>
          </a:custGeom>
          <a:solidFill>
            <a:srgbClr val="FFFFFF"/>
          </a:solidFill>
          <a:ln>
            <a:noFill/>
          </a:ln>
        </p:spPr>
        <p:txBody>
          <a:bodyPr/>
          <a:lstStyle/>
          <a:p>
            <a:endParaRPr lang="sv-SE"/>
          </a:p>
        </p:txBody>
      </p:sp>
      <p:sp>
        <p:nvSpPr>
          <p:cNvPr id="48" name="Freeform 3"/>
          <p:cNvSpPr>
            <a:spLocks noChangeAspect="1"/>
          </p:cNvSpPr>
          <p:nvPr/>
        </p:nvSpPr>
        <p:spPr bwMode="auto">
          <a:xfrm>
            <a:off x="9459185" y="3227532"/>
            <a:ext cx="242077" cy="153545"/>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FFFF"/>
          </a:solidFill>
          <a:ln>
            <a:noFill/>
          </a:ln>
        </p:spPr>
        <p:txBody>
          <a:bodyPr/>
          <a:lstStyle/>
          <a:p>
            <a:endParaRPr lang="sv-SE"/>
          </a:p>
        </p:txBody>
      </p:sp>
      <p:grpSp>
        <p:nvGrpSpPr>
          <p:cNvPr id="49" name="Grupp 168"/>
          <p:cNvGrpSpPr/>
          <p:nvPr/>
        </p:nvGrpSpPr>
        <p:grpSpPr>
          <a:xfrm>
            <a:off x="9017024" y="3482901"/>
            <a:ext cx="723440" cy="207092"/>
            <a:chOff x="10022060" y="2967646"/>
            <a:chExt cx="795784" cy="227801"/>
          </a:xfrm>
        </p:grpSpPr>
        <p:sp>
          <p:nvSpPr>
            <p:cNvPr id="50" name="Freeform 3"/>
            <p:cNvSpPr>
              <a:spLocks noChangeAspect="1" noEditPoints="1"/>
            </p:cNvSpPr>
            <p:nvPr/>
          </p:nvSpPr>
          <p:spPr bwMode="auto">
            <a:xfrm>
              <a:off x="10022060" y="2967646"/>
              <a:ext cx="217934" cy="227801"/>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p:spPr>
          <p:txBody>
            <a:bodyPr/>
            <a:lstStyle/>
            <a:p>
              <a:endParaRPr lang="en-US" b="1" dirty="0"/>
            </a:p>
          </p:txBody>
        </p:sp>
        <p:sp>
          <p:nvSpPr>
            <p:cNvPr id="51" name="Freeform 3"/>
            <p:cNvSpPr>
              <a:spLocks noChangeAspect="1" noEditPoints="1"/>
            </p:cNvSpPr>
            <p:nvPr/>
          </p:nvSpPr>
          <p:spPr bwMode="auto">
            <a:xfrm>
              <a:off x="10310985" y="2967646"/>
              <a:ext cx="217934" cy="227801"/>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p:spPr>
          <p:txBody>
            <a:bodyPr/>
            <a:lstStyle/>
            <a:p>
              <a:endParaRPr lang="en-US" b="1" dirty="0"/>
            </a:p>
          </p:txBody>
        </p:sp>
        <p:sp>
          <p:nvSpPr>
            <p:cNvPr id="52" name="Freeform 3"/>
            <p:cNvSpPr>
              <a:spLocks noChangeAspect="1" noEditPoints="1"/>
            </p:cNvSpPr>
            <p:nvPr/>
          </p:nvSpPr>
          <p:spPr bwMode="auto">
            <a:xfrm>
              <a:off x="10599910" y="2967646"/>
              <a:ext cx="217934" cy="227801"/>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p:spPr>
          <p:txBody>
            <a:bodyPr/>
            <a:lstStyle/>
            <a:p>
              <a:endParaRPr lang="en-US" b="1" dirty="0"/>
            </a:p>
          </p:txBody>
        </p:sp>
      </p:grpSp>
      <p:sp>
        <p:nvSpPr>
          <p:cNvPr id="53" name="Freeform 3"/>
          <p:cNvSpPr>
            <a:spLocks noChangeAspect="1" noEditPoints="1"/>
          </p:cNvSpPr>
          <p:nvPr/>
        </p:nvSpPr>
        <p:spPr bwMode="auto">
          <a:xfrm>
            <a:off x="4145132" y="3287702"/>
            <a:ext cx="198122" cy="207092"/>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p:spPr>
        <p:txBody>
          <a:bodyPr/>
          <a:lstStyle/>
          <a:p>
            <a:endParaRPr lang="en-US" b="1" dirty="0"/>
          </a:p>
        </p:txBody>
      </p:sp>
      <p:sp>
        <p:nvSpPr>
          <p:cNvPr id="54" name="Freeform 7"/>
          <p:cNvSpPr>
            <a:spLocks noChangeAspect="1" noEditPoints="1"/>
          </p:cNvSpPr>
          <p:nvPr/>
        </p:nvSpPr>
        <p:spPr bwMode="auto">
          <a:xfrm>
            <a:off x="3800828" y="3262644"/>
            <a:ext cx="245695" cy="203991"/>
          </a:xfrm>
          <a:custGeom>
            <a:avLst/>
            <a:gdLst>
              <a:gd name="T0" fmla="*/ 2147483647 w 322"/>
              <a:gd name="T1" fmla="*/ 2147483647 h 267"/>
              <a:gd name="T2" fmla="*/ 2147483647 w 322"/>
              <a:gd name="T3" fmla="*/ 2147483647 h 267"/>
              <a:gd name="T4" fmla="*/ 2147483647 w 322"/>
              <a:gd name="T5" fmla="*/ 2147483647 h 267"/>
              <a:gd name="T6" fmla="*/ 2147483647 w 322"/>
              <a:gd name="T7" fmla="*/ 2147483647 h 267"/>
              <a:gd name="T8" fmla="*/ 2147483647 w 322"/>
              <a:gd name="T9" fmla="*/ 2147483647 h 267"/>
              <a:gd name="T10" fmla="*/ 2147483647 w 322"/>
              <a:gd name="T11" fmla="*/ 2147483647 h 267"/>
              <a:gd name="T12" fmla="*/ 2147483647 w 322"/>
              <a:gd name="T13" fmla="*/ 2147483647 h 267"/>
              <a:gd name="T14" fmla="*/ 2147483647 w 322"/>
              <a:gd name="T15" fmla="*/ 2147483647 h 267"/>
              <a:gd name="T16" fmla="*/ 2147483647 w 322"/>
              <a:gd name="T17" fmla="*/ 2147483647 h 267"/>
              <a:gd name="T18" fmla="*/ 2147483647 w 322"/>
              <a:gd name="T19" fmla="*/ 2147483647 h 267"/>
              <a:gd name="T20" fmla="*/ 2147483647 w 322"/>
              <a:gd name="T21" fmla="*/ 2147483647 h 267"/>
              <a:gd name="T22" fmla="*/ 2147483647 w 322"/>
              <a:gd name="T23" fmla="*/ 2147483647 h 267"/>
              <a:gd name="T24" fmla="*/ 2147483647 w 322"/>
              <a:gd name="T25" fmla="*/ 2147483647 h 267"/>
              <a:gd name="T26" fmla="*/ 2147483647 w 322"/>
              <a:gd name="T27" fmla="*/ 2147483647 h 267"/>
              <a:gd name="T28" fmla="*/ 2147483647 w 322"/>
              <a:gd name="T29" fmla="*/ 2147483647 h 267"/>
              <a:gd name="T30" fmla="*/ 0 w 322"/>
              <a:gd name="T31" fmla="*/ 2147483647 h 267"/>
              <a:gd name="T32" fmla="*/ 2147483647 w 322"/>
              <a:gd name="T33" fmla="*/ 2147483647 h 267"/>
              <a:gd name="T34" fmla="*/ 2147483647 w 322"/>
              <a:gd name="T35" fmla="*/ 2147483647 h 267"/>
              <a:gd name="T36" fmla="*/ 2147483647 w 322"/>
              <a:gd name="T37" fmla="*/ 2147483647 h 267"/>
              <a:gd name="T38" fmla="*/ 2147483647 w 322"/>
              <a:gd name="T39" fmla="*/ 2147483647 h 267"/>
              <a:gd name="T40" fmla="*/ 2147483647 w 322"/>
              <a:gd name="T41" fmla="*/ 2147483647 h 267"/>
              <a:gd name="T42" fmla="*/ 2147483647 w 322"/>
              <a:gd name="T43" fmla="*/ 2147483647 h 267"/>
              <a:gd name="T44" fmla="*/ 2147483647 w 322"/>
              <a:gd name="T45" fmla="*/ 2147483647 h 267"/>
              <a:gd name="T46" fmla="*/ 2147483647 w 322"/>
              <a:gd name="T47" fmla="*/ 2147483647 h 267"/>
              <a:gd name="T48" fmla="*/ 2147483647 w 322"/>
              <a:gd name="T49" fmla="*/ 2147483647 h 267"/>
              <a:gd name="T50" fmla="*/ 2147483647 w 322"/>
              <a:gd name="T51" fmla="*/ 2147483647 h 267"/>
              <a:gd name="T52" fmla="*/ 2147483647 w 322"/>
              <a:gd name="T53" fmla="*/ 2147483647 h 267"/>
              <a:gd name="T54" fmla="*/ 2147483647 w 322"/>
              <a:gd name="T55" fmla="*/ 2147483647 h 267"/>
              <a:gd name="T56" fmla="*/ 2147483647 w 322"/>
              <a:gd name="T57" fmla="*/ 2147483647 h 267"/>
              <a:gd name="T58" fmla="*/ 2147483647 w 322"/>
              <a:gd name="T59" fmla="*/ 2147483647 h 267"/>
              <a:gd name="T60" fmla="*/ 2147483647 w 322"/>
              <a:gd name="T61" fmla="*/ 2147483647 h 267"/>
              <a:gd name="T62" fmla="*/ 2147483647 w 322"/>
              <a:gd name="T63" fmla="*/ 2147483647 h 267"/>
              <a:gd name="T64" fmla="*/ 2147483647 w 322"/>
              <a:gd name="T65" fmla="*/ 2147483647 h 267"/>
              <a:gd name="T66" fmla="*/ 2147483647 w 322"/>
              <a:gd name="T67" fmla="*/ 2147483647 h 267"/>
              <a:gd name="T68" fmla="*/ 2147483647 w 322"/>
              <a:gd name="T69" fmla="*/ 2147483647 h 267"/>
              <a:gd name="T70" fmla="*/ 2147483647 w 322"/>
              <a:gd name="T71" fmla="*/ 2147483647 h 267"/>
              <a:gd name="T72" fmla="*/ 2147483647 w 322"/>
              <a:gd name="T73" fmla="*/ 2147483647 h 267"/>
              <a:gd name="T74" fmla="*/ 2147483647 w 322"/>
              <a:gd name="T75" fmla="*/ 2147483647 h 267"/>
              <a:gd name="T76" fmla="*/ 2147483647 w 322"/>
              <a:gd name="T77" fmla="*/ 2147483647 h 267"/>
              <a:gd name="T78" fmla="*/ 2147483647 w 322"/>
              <a:gd name="T79" fmla="*/ 2147483647 h 267"/>
              <a:gd name="T80" fmla="*/ 2147483647 w 322"/>
              <a:gd name="T81" fmla="*/ 2147483647 h 267"/>
              <a:gd name="T82" fmla="*/ 2147483647 w 322"/>
              <a:gd name="T83" fmla="*/ 2147483647 h 267"/>
              <a:gd name="T84" fmla="*/ 2147483647 w 322"/>
              <a:gd name="T85" fmla="*/ 2147483647 h 267"/>
              <a:gd name="T86" fmla="*/ 2147483647 w 322"/>
              <a:gd name="T87" fmla="*/ 2147483647 h 267"/>
              <a:gd name="T88" fmla="*/ 2147483647 w 322"/>
              <a:gd name="T89" fmla="*/ 2147483647 h 267"/>
              <a:gd name="T90" fmla="*/ 2147483647 w 322"/>
              <a:gd name="T91" fmla="*/ 2147483647 h 267"/>
              <a:gd name="T92" fmla="*/ 2147483647 w 322"/>
              <a:gd name="T93" fmla="*/ 2147483647 h 267"/>
              <a:gd name="T94" fmla="*/ 2147483647 w 322"/>
              <a:gd name="T95" fmla="*/ 2147483647 h 26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22" h="267">
                <a:moveTo>
                  <a:pt x="140" y="181"/>
                </a:moveTo>
                <a:cubicBezTo>
                  <a:pt x="140" y="224"/>
                  <a:pt x="140" y="224"/>
                  <a:pt x="140" y="224"/>
                </a:cubicBezTo>
                <a:cubicBezTo>
                  <a:pt x="140" y="228"/>
                  <a:pt x="144" y="232"/>
                  <a:pt x="148" y="232"/>
                </a:cubicBezTo>
                <a:cubicBezTo>
                  <a:pt x="153" y="232"/>
                  <a:pt x="156" y="228"/>
                  <a:pt x="156" y="224"/>
                </a:cubicBezTo>
                <a:cubicBezTo>
                  <a:pt x="156" y="181"/>
                  <a:pt x="156" y="181"/>
                  <a:pt x="156" y="181"/>
                </a:cubicBezTo>
                <a:cubicBezTo>
                  <a:pt x="156" y="176"/>
                  <a:pt x="153" y="173"/>
                  <a:pt x="148" y="173"/>
                </a:cubicBezTo>
                <a:cubicBezTo>
                  <a:pt x="144" y="173"/>
                  <a:pt x="140" y="176"/>
                  <a:pt x="140" y="181"/>
                </a:cubicBezTo>
                <a:close/>
                <a:moveTo>
                  <a:pt x="182" y="173"/>
                </a:moveTo>
                <a:cubicBezTo>
                  <a:pt x="178" y="173"/>
                  <a:pt x="174" y="176"/>
                  <a:pt x="174" y="181"/>
                </a:cubicBezTo>
                <a:cubicBezTo>
                  <a:pt x="174" y="223"/>
                  <a:pt x="174" y="223"/>
                  <a:pt x="174" y="223"/>
                </a:cubicBezTo>
                <a:cubicBezTo>
                  <a:pt x="174" y="227"/>
                  <a:pt x="178" y="231"/>
                  <a:pt x="182" y="231"/>
                </a:cubicBezTo>
                <a:cubicBezTo>
                  <a:pt x="212" y="231"/>
                  <a:pt x="212" y="231"/>
                  <a:pt x="212" y="231"/>
                </a:cubicBezTo>
                <a:cubicBezTo>
                  <a:pt x="217" y="231"/>
                  <a:pt x="220" y="227"/>
                  <a:pt x="220" y="223"/>
                </a:cubicBezTo>
                <a:cubicBezTo>
                  <a:pt x="220" y="181"/>
                  <a:pt x="220" y="181"/>
                  <a:pt x="220" y="181"/>
                </a:cubicBezTo>
                <a:cubicBezTo>
                  <a:pt x="220" y="176"/>
                  <a:pt x="217" y="173"/>
                  <a:pt x="212" y="173"/>
                </a:cubicBezTo>
                <a:lnTo>
                  <a:pt x="182" y="173"/>
                </a:lnTo>
                <a:close/>
                <a:moveTo>
                  <a:pt x="247" y="173"/>
                </a:moveTo>
                <a:cubicBezTo>
                  <a:pt x="242" y="173"/>
                  <a:pt x="239" y="176"/>
                  <a:pt x="239" y="181"/>
                </a:cubicBezTo>
                <a:cubicBezTo>
                  <a:pt x="239" y="223"/>
                  <a:pt x="239" y="223"/>
                  <a:pt x="239" y="223"/>
                </a:cubicBezTo>
                <a:cubicBezTo>
                  <a:pt x="239" y="227"/>
                  <a:pt x="242" y="231"/>
                  <a:pt x="247" y="231"/>
                </a:cubicBezTo>
                <a:cubicBezTo>
                  <a:pt x="277" y="231"/>
                  <a:pt x="277" y="231"/>
                  <a:pt x="277" y="231"/>
                </a:cubicBezTo>
                <a:cubicBezTo>
                  <a:pt x="281" y="231"/>
                  <a:pt x="285" y="227"/>
                  <a:pt x="285" y="223"/>
                </a:cubicBezTo>
                <a:cubicBezTo>
                  <a:pt x="285" y="181"/>
                  <a:pt x="285" y="181"/>
                  <a:pt x="285" y="181"/>
                </a:cubicBezTo>
                <a:cubicBezTo>
                  <a:pt x="285" y="176"/>
                  <a:pt x="281" y="173"/>
                  <a:pt x="277" y="173"/>
                </a:cubicBezTo>
                <a:lnTo>
                  <a:pt x="247" y="173"/>
                </a:lnTo>
                <a:close/>
                <a:moveTo>
                  <a:pt x="314" y="173"/>
                </a:moveTo>
                <a:cubicBezTo>
                  <a:pt x="318" y="173"/>
                  <a:pt x="322" y="169"/>
                  <a:pt x="322" y="165"/>
                </a:cubicBezTo>
                <a:cubicBezTo>
                  <a:pt x="322" y="150"/>
                  <a:pt x="322" y="150"/>
                  <a:pt x="322" y="150"/>
                </a:cubicBezTo>
                <a:cubicBezTo>
                  <a:pt x="322" y="142"/>
                  <a:pt x="315" y="135"/>
                  <a:pt x="307" y="135"/>
                </a:cubicBezTo>
                <a:cubicBezTo>
                  <a:pt x="15" y="135"/>
                  <a:pt x="15" y="135"/>
                  <a:pt x="15" y="135"/>
                </a:cubicBezTo>
                <a:cubicBezTo>
                  <a:pt x="7" y="135"/>
                  <a:pt x="0" y="142"/>
                  <a:pt x="0" y="150"/>
                </a:cubicBezTo>
                <a:cubicBezTo>
                  <a:pt x="0" y="252"/>
                  <a:pt x="0" y="252"/>
                  <a:pt x="0" y="252"/>
                </a:cubicBezTo>
                <a:cubicBezTo>
                  <a:pt x="0" y="261"/>
                  <a:pt x="7" y="267"/>
                  <a:pt x="15" y="267"/>
                </a:cubicBezTo>
                <a:cubicBezTo>
                  <a:pt x="307" y="267"/>
                  <a:pt x="307" y="267"/>
                  <a:pt x="307" y="267"/>
                </a:cubicBezTo>
                <a:cubicBezTo>
                  <a:pt x="315" y="267"/>
                  <a:pt x="322" y="261"/>
                  <a:pt x="322" y="252"/>
                </a:cubicBezTo>
                <a:cubicBezTo>
                  <a:pt x="322" y="196"/>
                  <a:pt x="322" y="196"/>
                  <a:pt x="322" y="196"/>
                </a:cubicBezTo>
                <a:cubicBezTo>
                  <a:pt x="322" y="192"/>
                  <a:pt x="318" y="188"/>
                  <a:pt x="314" y="188"/>
                </a:cubicBezTo>
                <a:cubicBezTo>
                  <a:pt x="310" y="188"/>
                  <a:pt x="306" y="192"/>
                  <a:pt x="306" y="196"/>
                </a:cubicBezTo>
                <a:cubicBezTo>
                  <a:pt x="306" y="251"/>
                  <a:pt x="306" y="251"/>
                  <a:pt x="306" y="251"/>
                </a:cubicBezTo>
                <a:cubicBezTo>
                  <a:pt x="16" y="251"/>
                  <a:pt x="16" y="251"/>
                  <a:pt x="16" y="251"/>
                </a:cubicBezTo>
                <a:cubicBezTo>
                  <a:pt x="16" y="151"/>
                  <a:pt x="16" y="151"/>
                  <a:pt x="16" y="151"/>
                </a:cubicBezTo>
                <a:cubicBezTo>
                  <a:pt x="306" y="151"/>
                  <a:pt x="306" y="151"/>
                  <a:pt x="306" y="151"/>
                </a:cubicBezTo>
                <a:cubicBezTo>
                  <a:pt x="306" y="165"/>
                  <a:pt x="306" y="165"/>
                  <a:pt x="306" y="165"/>
                </a:cubicBezTo>
                <a:cubicBezTo>
                  <a:pt x="306" y="169"/>
                  <a:pt x="310" y="173"/>
                  <a:pt x="314" y="173"/>
                </a:cubicBezTo>
                <a:close/>
                <a:moveTo>
                  <a:pt x="37" y="181"/>
                </a:moveTo>
                <a:cubicBezTo>
                  <a:pt x="37" y="224"/>
                  <a:pt x="37" y="224"/>
                  <a:pt x="37" y="224"/>
                </a:cubicBezTo>
                <a:cubicBezTo>
                  <a:pt x="37" y="228"/>
                  <a:pt x="41" y="232"/>
                  <a:pt x="45" y="232"/>
                </a:cubicBezTo>
                <a:cubicBezTo>
                  <a:pt x="50" y="232"/>
                  <a:pt x="53" y="228"/>
                  <a:pt x="53" y="224"/>
                </a:cubicBezTo>
                <a:cubicBezTo>
                  <a:pt x="53" y="181"/>
                  <a:pt x="53" y="181"/>
                  <a:pt x="53" y="181"/>
                </a:cubicBezTo>
                <a:cubicBezTo>
                  <a:pt x="53" y="176"/>
                  <a:pt x="50" y="173"/>
                  <a:pt x="45" y="173"/>
                </a:cubicBezTo>
                <a:cubicBezTo>
                  <a:pt x="41" y="173"/>
                  <a:pt x="37" y="176"/>
                  <a:pt x="37" y="181"/>
                </a:cubicBezTo>
                <a:close/>
                <a:moveTo>
                  <a:pt x="106" y="181"/>
                </a:moveTo>
                <a:cubicBezTo>
                  <a:pt x="106" y="224"/>
                  <a:pt x="106" y="224"/>
                  <a:pt x="106" y="224"/>
                </a:cubicBezTo>
                <a:cubicBezTo>
                  <a:pt x="106" y="228"/>
                  <a:pt x="109" y="232"/>
                  <a:pt x="114" y="232"/>
                </a:cubicBezTo>
                <a:cubicBezTo>
                  <a:pt x="118" y="232"/>
                  <a:pt x="122" y="228"/>
                  <a:pt x="122" y="224"/>
                </a:cubicBezTo>
                <a:cubicBezTo>
                  <a:pt x="122" y="181"/>
                  <a:pt x="122" y="181"/>
                  <a:pt x="122" y="181"/>
                </a:cubicBezTo>
                <a:cubicBezTo>
                  <a:pt x="122" y="176"/>
                  <a:pt x="118" y="173"/>
                  <a:pt x="114" y="173"/>
                </a:cubicBezTo>
                <a:cubicBezTo>
                  <a:pt x="109" y="173"/>
                  <a:pt x="106" y="176"/>
                  <a:pt x="106" y="181"/>
                </a:cubicBezTo>
                <a:close/>
                <a:moveTo>
                  <a:pt x="71" y="181"/>
                </a:moveTo>
                <a:cubicBezTo>
                  <a:pt x="71" y="224"/>
                  <a:pt x="71" y="224"/>
                  <a:pt x="71" y="224"/>
                </a:cubicBezTo>
                <a:cubicBezTo>
                  <a:pt x="71" y="228"/>
                  <a:pt x="75" y="232"/>
                  <a:pt x="79" y="232"/>
                </a:cubicBezTo>
                <a:cubicBezTo>
                  <a:pt x="84" y="232"/>
                  <a:pt x="87" y="228"/>
                  <a:pt x="87" y="224"/>
                </a:cubicBezTo>
                <a:cubicBezTo>
                  <a:pt x="87" y="181"/>
                  <a:pt x="87" y="181"/>
                  <a:pt x="87" y="181"/>
                </a:cubicBezTo>
                <a:cubicBezTo>
                  <a:pt x="87" y="176"/>
                  <a:pt x="84" y="173"/>
                  <a:pt x="79" y="173"/>
                </a:cubicBezTo>
                <a:cubicBezTo>
                  <a:pt x="75" y="173"/>
                  <a:pt x="71" y="176"/>
                  <a:pt x="71" y="181"/>
                </a:cubicBezTo>
                <a:close/>
                <a:moveTo>
                  <a:pt x="76" y="51"/>
                </a:moveTo>
                <a:cubicBezTo>
                  <a:pt x="76" y="51"/>
                  <a:pt x="76" y="51"/>
                  <a:pt x="76" y="51"/>
                </a:cubicBezTo>
                <a:cubicBezTo>
                  <a:pt x="100" y="28"/>
                  <a:pt x="130" y="16"/>
                  <a:pt x="161" y="16"/>
                </a:cubicBezTo>
                <a:cubicBezTo>
                  <a:pt x="192" y="16"/>
                  <a:pt x="223" y="28"/>
                  <a:pt x="246" y="51"/>
                </a:cubicBezTo>
                <a:cubicBezTo>
                  <a:pt x="250" y="55"/>
                  <a:pt x="255" y="55"/>
                  <a:pt x="258" y="51"/>
                </a:cubicBezTo>
                <a:cubicBezTo>
                  <a:pt x="259" y="50"/>
                  <a:pt x="260" y="48"/>
                  <a:pt x="260" y="46"/>
                </a:cubicBezTo>
                <a:cubicBezTo>
                  <a:pt x="260" y="44"/>
                  <a:pt x="259" y="42"/>
                  <a:pt x="258" y="40"/>
                </a:cubicBezTo>
                <a:cubicBezTo>
                  <a:pt x="231" y="13"/>
                  <a:pt x="196" y="0"/>
                  <a:pt x="161" y="0"/>
                </a:cubicBezTo>
                <a:cubicBezTo>
                  <a:pt x="126" y="0"/>
                  <a:pt x="91" y="13"/>
                  <a:pt x="65" y="40"/>
                </a:cubicBezTo>
                <a:cubicBezTo>
                  <a:pt x="62" y="43"/>
                  <a:pt x="62" y="48"/>
                  <a:pt x="65" y="51"/>
                </a:cubicBezTo>
                <a:cubicBezTo>
                  <a:pt x="68" y="55"/>
                  <a:pt x="73" y="55"/>
                  <a:pt x="76" y="51"/>
                </a:cubicBezTo>
                <a:close/>
                <a:moveTo>
                  <a:pt x="119" y="95"/>
                </a:moveTo>
                <a:cubicBezTo>
                  <a:pt x="116" y="98"/>
                  <a:pt x="116" y="103"/>
                  <a:pt x="119" y="106"/>
                </a:cubicBezTo>
                <a:cubicBezTo>
                  <a:pt x="122" y="109"/>
                  <a:pt x="127" y="109"/>
                  <a:pt x="130" y="106"/>
                </a:cubicBezTo>
                <a:cubicBezTo>
                  <a:pt x="139" y="97"/>
                  <a:pt x="150" y="93"/>
                  <a:pt x="161" y="93"/>
                </a:cubicBezTo>
                <a:cubicBezTo>
                  <a:pt x="172" y="93"/>
                  <a:pt x="183" y="97"/>
                  <a:pt x="192" y="106"/>
                </a:cubicBezTo>
                <a:cubicBezTo>
                  <a:pt x="195" y="109"/>
                  <a:pt x="200" y="109"/>
                  <a:pt x="203" y="106"/>
                </a:cubicBezTo>
                <a:cubicBezTo>
                  <a:pt x="205" y="104"/>
                  <a:pt x="206" y="102"/>
                  <a:pt x="206" y="100"/>
                </a:cubicBezTo>
                <a:cubicBezTo>
                  <a:pt x="206" y="98"/>
                  <a:pt x="205" y="96"/>
                  <a:pt x="203" y="95"/>
                </a:cubicBezTo>
                <a:cubicBezTo>
                  <a:pt x="192" y="83"/>
                  <a:pt x="176" y="77"/>
                  <a:pt x="161" y="77"/>
                </a:cubicBezTo>
                <a:cubicBezTo>
                  <a:pt x="146" y="77"/>
                  <a:pt x="131" y="83"/>
                  <a:pt x="119" y="95"/>
                </a:cubicBezTo>
                <a:close/>
                <a:moveTo>
                  <a:pt x="231" y="79"/>
                </a:moveTo>
                <a:cubicBezTo>
                  <a:pt x="232" y="77"/>
                  <a:pt x="233" y="75"/>
                  <a:pt x="233" y="73"/>
                </a:cubicBezTo>
                <a:cubicBezTo>
                  <a:pt x="233" y="71"/>
                  <a:pt x="232" y="69"/>
                  <a:pt x="231" y="67"/>
                </a:cubicBezTo>
                <a:cubicBezTo>
                  <a:pt x="211" y="48"/>
                  <a:pt x="186" y="39"/>
                  <a:pt x="161" y="39"/>
                </a:cubicBezTo>
                <a:cubicBezTo>
                  <a:pt x="136" y="39"/>
                  <a:pt x="111" y="48"/>
                  <a:pt x="92" y="67"/>
                </a:cubicBezTo>
                <a:cubicBezTo>
                  <a:pt x="89" y="71"/>
                  <a:pt x="89" y="76"/>
                  <a:pt x="92" y="79"/>
                </a:cubicBezTo>
                <a:cubicBezTo>
                  <a:pt x="95" y="82"/>
                  <a:pt x="100" y="82"/>
                  <a:pt x="103" y="79"/>
                </a:cubicBezTo>
                <a:cubicBezTo>
                  <a:pt x="119" y="63"/>
                  <a:pt x="140" y="55"/>
                  <a:pt x="161" y="55"/>
                </a:cubicBezTo>
                <a:cubicBezTo>
                  <a:pt x="182" y="55"/>
                  <a:pt x="203" y="63"/>
                  <a:pt x="219" y="79"/>
                </a:cubicBezTo>
                <a:cubicBezTo>
                  <a:pt x="222" y="82"/>
                  <a:pt x="227" y="82"/>
                  <a:pt x="231" y="79"/>
                </a:cubicBezTo>
                <a:close/>
              </a:path>
            </a:pathLst>
          </a:custGeom>
          <a:solidFill>
            <a:srgbClr val="FFFFFF"/>
          </a:solidFill>
          <a:ln>
            <a:noFill/>
          </a:ln>
        </p:spPr>
        <p:txBody>
          <a:bodyPr/>
          <a:lstStyle/>
          <a:p>
            <a:endParaRPr lang="sv-SE"/>
          </a:p>
        </p:txBody>
      </p:sp>
      <p:grpSp>
        <p:nvGrpSpPr>
          <p:cNvPr id="55" name="Grupp 175"/>
          <p:cNvGrpSpPr/>
          <p:nvPr/>
        </p:nvGrpSpPr>
        <p:grpSpPr>
          <a:xfrm>
            <a:off x="3946628" y="3573684"/>
            <a:ext cx="430535" cy="129827"/>
            <a:chOff x="4784376" y="3064581"/>
            <a:chExt cx="430535" cy="129827"/>
          </a:xfrm>
        </p:grpSpPr>
        <p:grpSp>
          <p:nvGrpSpPr>
            <p:cNvPr id="56" name="Grupp 176"/>
            <p:cNvGrpSpPr/>
            <p:nvPr/>
          </p:nvGrpSpPr>
          <p:grpSpPr>
            <a:xfrm>
              <a:off x="4872774" y="3064581"/>
              <a:ext cx="244800" cy="129827"/>
              <a:chOff x="4833472" y="3068672"/>
              <a:chExt cx="351662" cy="125736"/>
            </a:xfrm>
          </p:grpSpPr>
          <p:cxnSp>
            <p:nvCxnSpPr>
              <p:cNvPr id="60" name="Rak 180"/>
              <p:cNvCxnSpPr/>
              <p:nvPr/>
            </p:nvCxnSpPr>
            <p:spPr bwMode="auto">
              <a:xfrm>
                <a:off x="4833472" y="3068672"/>
                <a:ext cx="351662" cy="0"/>
              </a:xfrm>
              <a:prstGeom prst="line">
                <a:avLst/>
              </a:prstGeom>
              <a:solidFill>
                <a:schemeClr val="accent1"/>
              </a:solidFill>
              <a:ln w="12700" cap="flat" cmpd="sng" algn="ctr">
                <a:solidFill>
                  <a:srgbClr val="FFFFFF"/>
                </a:solidFill>
                <a:prstDash val="solid"/>
                <a:round/>
                <a:headEnd type="none" w="med" len="med"/>
                <a:tailEnd type="none" w="med" len="med"/>
              </a:ln>
              <a:effectLst/>
            </p:spPr>
          </p:cxnSp>
          <p:cxnSp>
            <p:nvCxnSpPr>
              <p:cNvPr id="61" name="Rak 181"/>
              <p:cNvCxnSpPr/>
              <p:nvPr/>
            </p:nvCxnSpPr>
            <p:spPr bwMode="auto">
              <a:xfrm>
                <a:off x="4833472" y="3194408"/>
                <a:ext cx="351662" cy="0"/>
              </a:xfrm>
              <a:prstGeom prst="line">
                <a:avLst/>
              </a:prstGeom>
              <a:solidFill>
                <a:schemeClr val="accent1"/>
              </a:solidFill>
              <a:ln w="12700" cap="flat" cmpd="sng" algn="ctr">
                <a:solidFill>
                  <a:srgbClr val="FFFFFF"/>
                </a:solidFill>
                <a:prstDash val="solid"/>
                <a:round/>
                <a:headEnd type="none" w="med" len="med"/>
                <a:tailEnd type="none" w="med" len="med"/>
              </a:ln>
              <a:effectLst/>
            </p:spPr>
          </p:cxnSp>
        </p:grpSp>
        <p:sp>
          <p:nvSpPr>
            <p:cNvPr id="57" name="Rektangel 177"/>
            <p:cNvSpPr/>
            <p:nvPr/>
          </p:nvSpPr>
          <p:spPr bwMode="auto">
            <a:xfrm>
              <a:off x="4784376" y="3093508"/>
              <a:ext cx="71973" cy="71973"/>
            </a:xfrm>
            <a:prstGeom prst="rect">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effectLst/>
                <a:latin typeface="Arial" charset="0"/>
              </a:endParaRPr>
            </a:p>
          </p:txBody>
        </p:sp>
        <p:sp>
          <p:nvSpPr>
            <p:cNvPr id="58" name="Ellips 178"/>
            <p:cNvSpPr/>
            <p:nvPr/>
          </p:nvSpPr>
          <p:spPr bwMode="auto">
            <a:xfrm>
              <a:off x="5127276" y="3085677"/>
              <a:ext cx="87635" cy="87635"/>
            </a:xfrm>
            <a:prstGeom prst="ellipse">
              <a:avLst/>
            </a:prstGeom>
            <a:noFill/>
            <a:ln w="12700" cap="flat" cmpd="sng" algn="ctr">
              <a:solidFill>
                <a:srgbClr val="FFFFFF"/>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effectLst/>
                <a:latin typeface="Arial" charset="0"/>
              </a:endParaRPr>
            </a:p>
          </p:txBody>
        </p:sp>
        <p:cxnSp>
          <p:nvCxnSpPr>
            <p:cNvPr id="59" name="Rak 179"/>
            <p:cNvCxnSpPr/>
            <p:nvPr/>
          </p:nvCxnSpPr>
          <p:spPr bwMode="auto">
            <a:xfrm>
              <a:off x="4908683" y="3129494"/>
              <a:ext cx="171317" cy="0"/>
            </a:xfrm>
            <a:prstGeom prst="line">
              <a:avLst/>
            </a:prstGeom>
            <a:solidFill>
              <a:schemeClr val="accent1"/>
            </a:solidFill>
            <a:ln w="12700" cap="flat" cmpd="sng" algn="ctr">
              <a:solidFill>
                <a:srgbClr val="FFFFFF"/>
              </a:solidFill>
              <a:prstDash val="solid"/>
              <a:round/>
              <a:headEnd type="none" w="med" len="med"/>
              <a:tailEnd type="triangle" w="med" len="med"/>
            </a:ln>
            <a:effectLst/>
          </p:spPr>
        </p:cxnSp>
      </p:grpSp>
      <p:sp>
        <p:nvSpPr>
          <p:cNvPr id="62" name="textruta 214"/>
          <p:cNvSpPr txBox="1"/>
          <p:nvPr/>
        </p:nvSpPr>
        <p:spPr>
          <a:xfrm>
            <a:off x="4524789" y="3322728"/>
            <a:ext cx="876730" cy="282769"/>
          </a:xfrm>
          <a:prstGeom prst="rect">
            <a:avLst/>
          </a:prstGeom>
          <a:noFill/>
        </p:spPr>
        <p:txBody>
          <a:bodyPr wrap="square" lIns="0" tIns="0" rIns="0" bIns="0" rtlCol="0" anchor="ctr" anchorCtr="0">
            <a:noAutofit/>
          </a:bodyPr>
          <a:lstStyle/>
          <a:p>
            <a:r>
              <a:rPr lang="en-US" sz="1100" dirty="0">
                <a:latin typeface="Arial" panose="020B0604020202020204" pitchFamily="34" charset="0"/>
                <a:cs typeface="Arial" panose="020B0604020202020204" pitchFamily="34" charset="0"/>
              </a:rPr>
              <a:t>Process </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automation</a:t>
            </a:r>
          </a:p>
        </p:txBody>
      </p:sp>
      <p:sp>
        <p:nvSpPr>
          <p:cNvPr id="63" name="textruta 214"/>
          <p:cNvSpPr txBox="1"/>
          <p:nvPr/>
        </p:nvSpPr>
        <p:spPr>
          <a:xfrm>
            <a:off x="9863290" y="3322728"/>
            <a:ext cx="1520451" cy="282769"/>
          </a:xfrm>
          <a:prstGeom prst="rect">
            <a:avLst/>
          </a:prstGeom>
          <a:noFill/>
        </p:spPr>
        <p:txBody>
          <a:bodyPr wrap="square" lIns="0" tIns="0" rIns="0" bIns="0" rtlCol="0" anchor="ctr" anchorCtr="0">
            <a:noAutofit/>
          </a:bodyPr>
          <a:lstStyle/>
          <a:p>
            <a:r>
              <a:rPr lang="en-US" sz="1100" dirty="0">
                <a:latin typeface="Arial" panose="020B0604020202020204" pitchFamily="34" charset="0"/>
                <a:cs typeface="Arial" panose="020B0604020202020204" pitchFamily="34" charset="0"/>
              </a:rPr>
              <a:t>Cloud robotics and </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remote control </a:t>
            </a:r>
          </a:p>
        </p:txBody>
      </p:sp>
      <p:grpSp>
        <p:nvGrpSpPr>
          <p:cNvPr id="64" name="Grupp 36"/>
          <p:cNvGrpSpPr/>
          <p:nvPr/>
        </p:nvGrpSpPr>
        <p:grpSpPr>
          <a:xfrm>
            <a:off x="9011068" y="2607061"/>
            <a:ext cx="673777" cy="405434"/>
            <a:chOff x="9048271" y="2315101"/>
            <a:chExt cx="815271" cy="490575"/>
          </a:xfrm>
        </p:grpSpPr>
        <p:sp>
          <p:nvSpPr>
            <p:cNvPr id="65" name="Freeform 3"/>
            <p:cNvSpPr>
              <a:spLocks noChangeAspect="1"/>
            </p:cNvSpPr>
            <p:nvPr/>
          </p:nvSpPr>
          <p:spPr bwMode="auto">
            <a:xfrm>
              <a:off x="9253570" y="2315101"/>
              <a:ext cx="292914" cy="185789"/>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FFFF"/>
            </a:solidFill>
            <a:ln>
              <a:noFill/>
            </a:ln>
          </p:spPr>
          <p:txBody>
            <a:bodyPr/>
            <a:lstStyle/>
            <a:p>
              <a:endParaRPr lang="sv-SE"/>
            </a:p>
          </p:txBody>
        </p:sp>
        <p:sp>
          <p:nvSpPr>
            <p:cNvPr id="66" name="Freeform 3"/>
            <p:cNvSpPr>
              <a:spLocks noChangeAspect="1" noEditPoints="1"/>
            </p:cNvSpPr>
            <p:nvPr/>
          </p:nvSpPr>
          <p:spPr bwMode="auto">
            <a:xfrm>
              <a:off x="9048271" y="2634988"/>
              <a:ext cx="342527" cy="158961"/>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rgbClr val="FFFFFF"/>
            </a:solidFill>
            <a:ln>
              <a:noFill/>
            </a:ln>
          </p:spPr>
          <p:txBody>
            <a:bodyPr/>
            <a:lstStyle/>
            <a:p>
              <a:endParaRPr lang="sv-SE"/>
            </a:p>
          </p:txBody>
        </p:sp>
        <p:sp>
          <p:nvSpPr>
            <p:cNvPr id="67" name="Freeform 3"/>
            <p:cNvSpPr>
              <a:spLocks noChangeAspect="1" noEditPoints="1"/>
            </p:cNvSpPr>
            <p:nvPr/>
          </p:nvSpPr>
          <p:spPr bwMode="auto">
            <a:xfrm>
              <a:off x="9534344" y="2605634"/>
              <a:ext cx="329198" cy="200042"/>
            </a:xfrm>
            <a:custGeom>
              <a:avLst/>
              <a:gdLst>
                <a:gd name="T0" fmla="*/ 2147483647 w 464"/>
                <a:gd name="T1" fmla="*/ 2147483647 h 282"/>
                <a:gd name="T2" fmla="*/ 2147483647 w 464"/>
                <a:gd name="T3" fmla="*/ 0 h 282"/>
                <a:gd name="T4" fmla="*/ 2147483647 w 464"/>
                <a:gd name="T5" fmla="*/ 2147483647 h 282"/>
                <a:gd name="T6" fmla="*/ 2147483647 w 464"/>
                <a:gd name="T7" fmla="*/ 2147483647 h 282"/>
                <a:gd name="T8" fmla="*/ 2147483647 w 464"/>
                <a:gd name="T9" fmla="*/ 2147483647 h 282"/>
                <a:gd name="T10" fmla="*/ 0 w 464"/>
                <a:gd name="T11" fmla="*/ 2147483647 h 282"/>
                <a:gd name="T12" fmla="*/ 2147483647 w 464"/>
                <a:gd name="T13" fmla="*/ 2147483647 h 282"/>
                <a:gd name="T14" fmla="*/ 2147483647 w 464"/>
                <a:gd name="T15" fmla="*/ 2147483647 h 282"/>
                <a:gd name="T16" fmla="*/ 2147483647 w 464"/>
                <a:gd name="T17" fmla="*/ 2147483647 h 282"/>
                <a:gd name="T18" fmla="*/ 2147483647 w 464"/>
                <a:gd name="T19" fmla="*/ 2147483647 h 282"/>
                <a:gd name="T20" fmla="*/ 2147483647 w 464"/>
                <a:gd name="T21" fmla="*/ 2147483647 h 282"/>
                <a:gd name="T22" fmla="*/ 2147483647 w 464"/>
                <a:gd name="T23" fmla="*/ 2147483647 h 282"/>
                <a:gd name="T24" fmla="*/ 2147483647 w 464"/>
                <a:gd name="T25" fmla="*/ 2147483647 h 282"/>
                <a:gd name="T26" fmla="*/ 2147483647 w 464"/>
                <a:gd name="T27" fmla="*/ 2147483647 h 282"/>
                <a:gd name="T28" fmla="*/ 2147483647 w 464"/>
                <a:gd name="T29" fmla="*/ 2147483647 h 282"/>
                <a:gd name="T30" fmla="*/ 2147483647 w 464"/>
                <a:gd name="T31" fmla="*/ 2147483647 h 282"/>
                <a:gd name="T32" fmla="*/ 2147483647 w 464"/>
                <a:gd name="T33" fmla="*/ 2147483647 h 282"/>
                <a:gd name="T34" fmla="*/ 2147483647 w 464"/>
                <a:gd name="T35" fmla="*/ 2147483647 h 282"/>
                <a:gd name="T36" fmla="*/ 2147483647 w 464"/>
                <a:gd name="T37" fmla="*/ 2147483647 h 282"/>
                <a:gd name="T38" fmla="*/ 2147483647 w 464"/>
                <a:gd name="T39" fmla="*/ 2147483647 h 282"/>
                <a:gd name="T40" fmla="*/ 2147483647 w 464"/>
                <a:gd name="T41" fmla="*/ 2147483647 h 282"/>
                <a:gd name="T42" fmla="*/ 2147483647 w 464"/>
                <a:gd name="T43" fmla="*/ 2147483647 h 282"/>
                <a:gd name="T44" fmla="*/ 2147483647 w 464"/>
                <a:gd name="T45" fmla="*/ 2147483647 h 282"/>
                <a:gd name="T46" fmla="*/ 2147483647 w 464"/>
                <a:gd name="T47" fmla="*/ 2147483647 h 282"/>
                <a:gd name="T48" fmla="*/ 2147483647 w 464"/>
                <a:gd name="T49" fmla="*/ 2147483647 h 282"/>
                <a:gd name="T50" fmla="*/ 2147483647 w 464"/>
                <a:gd name="T51" fmla="*/ 2147483647 h 282"/>
                <a:gd name="T52" fmla="*/ 2147483647 w 464"/>
                <a:gd name="T53" fmla="*/ 2147483647 h 282"/>
                <a:gd name="T54" fmla="*/ 2147483647 w 464"/>
                <a:gd name="T55" fmla="*/ 2147483647 h 282"/>
                <a:gd name="T56" fmla="*/ 2147483647 w 464"/>
                <a:gd name="T57" fmla="*/ 2147483647 h 282"/>
                <a:gd name="T58" fmla="*/ 2147483647 w 464"/>
                <a:gd name="T59" fmla="*/ 2147483647 h 282"/>
                <a:gd name="T60" fmla="*/ 2147483647 w 464"/>
                <a:gd name="T61" fmla="*/ 2147483647 h 282"/>
                <a:gd name="T62" fmla="*/ 2147483647 w 464"/>
                <a:gd name="T63" fmla="*/ 2147483647 h 282"/>
                <a:gd name="T64" fmla="*/ 2147483647 w 464"/>
                <a:gd name="T65" fmla="*/ 2147483647 h 282"/>
                <a:gd name="T66" fmla="*/ 2147483647 w 464"/>
                <a:gd name="T67" fmla="*/ 2147483647 h 282"/>
                <a:gd name="T68" fmla="*/ 2147483647 w 464"/>
                <a:gd name="T69" fmla="*/ 2147483647 h 282"/>
                <a:gd name="T70" fmla="*/ 2147483647 w 464"/>
                <a:gd name="T71" fmla="*/ 2147483647 h 282"/>
                <a:gd name="T72" fmla="*/ 2147483647 w 464"/>
                <a:gd name="T73" fmla="*/ 2147483647 h 282"/>
                <a:gd name="T74" fmla="*/ 2147483647 w 464"/>
                <a:gd name="T75" fmla="*/ 2147483647 h 282"/>
                <a:gd name="T76" fmla="*/ 2147483647 w 464"/>
                <a:gd name="T77" fmla="*/ 2147483647 h 282"/>
                <a:gd name="T78" fmla="*/ 2147483647 w 464"/>
                <a:gd name="T79" fmla="*/ 2147483647 h 2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282">
                  <a:moveTo>
                    <a:pt x="456" y="52"/>
                  </a:moveTo>
                  <a:cubicBezTo>
                    <a:pt x="461" y="52"/>
                    <a:pt x="464" y="49"/>
                    <a:pt x="464" y="44"/>
                  </a:cubicBezTo>
                  <a:cubicBezTo>
                    <a:pt x="464" y="17"/>
                    <a:pt x="464" y="17"/>
                    <a:pt x="464" y="17"/>
                  </a:cubicBezTo>
                  <a:cubicBezTo>
                    <a:pt x="464" y="8"/>
                    <a:pt x="456" y="0"/>
                    <a:pt x="447" y="0"/>
                  </a:cubicBezTo>
                  <a:cubicBezTo>
                    <a:pt x="196" y="0"/>
                    <a:pt x="196" y="0"/>
                    <a:pt x="196" y="0"/>
                  </a:cubicBezTo>
                  <a:cubicBezTo>
                    <a:pt x="187" y="0"/>
                    <a:pt x="179" y="8"/>
                    <a:pt x="179" y="17"/>
                  </a:cubicBezTo>
                  <a:cubicBezTo>
                    <a:pt x="179" y="71"/>
                    <a:pt x="179" y="71"/>
                    <a:pt x="179" y="71"/>
                  </a:cubicBezTo>
                  <a:cubicBezTo>
                    <a:pt x="156" y="71"/>
                    <a:pt x="156" y="71"/>
                    <a:pt x="156" y="71"/>
                  </a:cubicBezTo>
                  <a:cubicBezTo>
                    <a:pt x="156" y="63"/>
                    <a:pt x="156" y="63"/>
                    <a:pt x="156" y="63"/>
                  </a:cubicBezTo>
                  <a:cubicBezTo>
                    <a:pt x="156" y="53"/>
                    <a:pt x="148" y="45"/>
                    <a:pt x="138" y="45"/>
                  </a:cubicBezTo>
                  <a:cubicBezTo>
                    <a:pt x="59" y="45"/>
                    <a:pt x="59" y="45"/>
                    <a:pt x="59" y="45"/>
                  </a:cubicBezTo>
                  <a:cubicBezTo>
                    <a:pt x="24" y="45"/>
                    <a:pt x="0" y="101"/>
                    <a:pt x="0" y="153"/>
                  </a:cubicBezTo>
                  <a:cubicBezTo>
                    <a:pt x="0" y="240"/>
                    <a:pt x="0" y="240"/>
                    <a:pt x="0" y="240"/>
                  </a:cubicBezTo>
                  <a:cubicBezTo>
                    <a:pt x="0" y="242"/>
                    <a:pt x="1" y="244"/>
                    <a:pt x="2" y="246"/>
                  </a:cubicBezTo>
                  <a:cubicBezTo>
                    <a:pt x="4" y="247"/>
                    <a:pt x="6" y="248"/>
                    <a:pt x="8" y="248"/>
                  </a:cubicBezTo>
                  <a:cubicBezTo>
                    <a:pt x="40" y="248"/>
                    <a:pt x="40" y="248"/>
                    <a:pt x="40" y="248"/>
                  </a:cubicBezTo>
                  <a:cubicBezTo>
                    <a:pt x="44" y="267"/>
                    <a:pt x="61" y="282"/>
                    <a:pt x="81" y="282"/>
                  </a:cubicBezTo>
                  <a:cubicBezTo>
                    <a:pt x="101" y="282"/>
                    <a:pt x="118" y="267"/>
                    <a:pt x="122" y="248"/>
                  </a:cubicBezTo>
                  <a:cubicBezTo>
                    <a:pt x="148" y="248"/>
                    <a:pt x="148" y="248"/>
                    <a:pt x="148" y="248"/>
                  </a:cubicBezTo>
                  <a:cubicBezTo>
                    <a:pt x="152" y="248"/>
                    <a:pt x="155" y="245"/>
                    <a:pt x="156" y="241"/>
                  </a:cubicBezTo>
                  <a:cubicBezTo>
                    <a:pt x="319" y="241"/>
                    <a:pt x="319" y="241"/>
                    <a:pt x="319" y="241"/>
                  </a:cubicBezTo>
                  <a:cubicBezTo>
                    <a:pt x="319" y="263"/>
                    <a:pt x="338" y="282"/>
                    <a:pt x="360" y="282"/>
                  </a:cubicBezTo>
                  <a:cubicBezTo>
                    <a:pt x="383" y="282"/>
                    <a:pt x="402" y="263"/>
                    <a:pt x="402" y="241"/>
                  </a:cubicBezTo>
                  <a:cubicBezTo>
                    <a:pt x="447" y="241"/>
                    <a:pt x="447" y="241"/>
                    <a:pt x="447" y="241"/>
                  </a:cubicBezTo>
                  <a:cubicBezTo>
                    <a:pt x="456" y="241"/>
                    <a:pt x="464" y="233"/>
                    <a:pt x="464" y="223"/>
                  </a:cubicBezTo>
                  <a:cubicBezTo>
                    <a:pt x="464" y="76"/>
                    <a:pt x="464" y="76"/>
                    <a:pt x="464" y="76"/>
                  </a:cubicBezTo>
                  <a:cubicBezTo>
                    <a:pt x="464" y="71"/>
                    <a:pt x="461" y="68"/>
                    <a:pt x="456" y="68"/>
                  </a:cubicBezTo>
                  <a:cubicBezTo>
                    <a:pt x="452" y="68"/>
                    <a:pt x="448" y="71"/>
                    <a:pt x="448" y="76"/>
                  </a:cubicBezTo>
                  <a:cubicBezTo>
                    <a:pt x="448" y="168"/>
                    <a:pt x="448" y="168"/>
                    <a:pt x="448" y="168"/>
                  </a:cubicBezTo>
                  <a:cubicBezTo>
                    <a:pt x="195" y="168"/>
                    <a:pt x="195" y="168"/>
                    <a:pt x="195" y="168"/>
                  </a:cubicBezTo>
                  <a:cubicBezTo>
                    <a:pt x="195" y="17"/>
                    <a:pt x="195" y="17"/>
                    <a:pt x="195" y="17"/>
                  </a:cubicBezTo>
                  <a:cubicBezTo>
                    <a:pt x="195" y="17"/>
                    <a:pt x="195" y="16"/>
                    <a:pt x="196" y="16"/>
                  </a:cubicBezTo>
                  <a:cubicBezTo>
                    <a:pt x="447" y="16"/>
                    <a:pt x="447" y="16"/>
                    <a:pt x="447" y="16"/>
                  </a:cubicBezTo>
                  <a:cubicBezTo>
                    <a:pt x="448" y="16"/>
                    <a:pt x="448" y="17"/>
                    <a:pt x="448" y="17"/>
                  </a:cubicBezTo>
                  <a:cubicBezTo>
                    <a:pt x="448" y="44"/>
                    <a:pt x="448" y="44"/>
                    <a:pt x="448" y="44"/>
                  </a:cubicBezTo>
                  <a:cubicBezTo>
                    <a:pt x="448" y="49"/>
                    <a:pt x="452" y="52"/>
                    <a:pt x="456" y="52"/>
                  </a:cubicBezTo>
                  <a:close/>
                  <a:moveTo>
                    <a:pt x="27" y="95"/>
                  </a:moveTo>
                  <a:cubicBezTo>
                    <a:pt x="27" y="95"/>
                    <a:pt x="28" y="95"/>
                    <a:pt x="28" y="95"/>
                  </a:cubicBezTo>
                  <a:cubicBezTo>
                    <a:pt x="86" y="95"/>
                    <a:pt x="86" y="95"/>
                    <a:pt x="86" y="95"/>
                  </a:cubicBezTo>
                  <a:cubicBezTo>
                    <a:pt x="86" y="145"/>
                    <a:pt x="86" y="145"/>
                    <a:pt x="86" y="145"/>
                  </a:cubicBezTo>
                  <a:cubicBezTo>
                    <a:pt x="16" y="145"/>
                    <a:pt x="16" y="145"/>
                    <a:pt x="16" y="145"/>
                  </a:cubicBezTo>
                  <a:cubicBezTo>
                    <a:pt x="17" y="127"/>
                    <a:pt x="21" y="109"/>
                    <a:pt x="27" y="95"/>
                  </a:cubicBezTo>
                  <a:close/>
                  <a:moveTo>
                    <a:pt x="81" y="266"/>
                  </a:moveTo>
                  <a:cubicBezTo>
                    <a:pt x="67" y="266"/>
                    <a:pt x="55" y="254"/>
                    <a:pt x="55" y="240"/>
                  </a:cubicBezTo>
                  <a:cubicBezTo>
                    <a:pt x="55" y="226"/>
                    <a:pt x="67" y="214"/>
                    <a:pt x="81" y="214"/>
                  </a:cubicBezTo>
                  <a:cubicBezTo>
                    <a:pt x="95" y="214"/>
                    <a:pt x="107" y="226"/>
                    <a:pt x="107" y="240"/>
                  </a:cubicBezTo>
                  <a:cubicBezTo>
                    <a:pt x="107" y="254"/>
                    <a:pt x="95" y="266"/>
                    <a:pt x="81" y="266"/>
                  </a:cubicBezTo>
                  <a:close/>
                  <a:moveTo>
                    <a:pt x="140" y="232"/>
                  </a:moveTo>
                  <a:cubicBezTo>
                    <a:pt x="122" y="232"/>
                    <a:pt x="122" y="232"/>
                    <a:pt x="122" y="232"/>
                  </a:cubicBezTo>
                  <a:cubicBezTo>
                    <a:pt x="118" y="213"/>
                    <a:pt x="101" y="198"/>
                    <a:pt x="81" y="198"/>
                  </a:cubicBezTo>
                  <a:cubicBezTo>
                    <a:pt x="61" y="198"/>
                    <a:pt x="44" y="213"/>
                    <a:pt x="40" y="232"/>
                  </a:cubicBezTo>
                  <a:cubicBezTo>
                    <a:pt x="16" y="232"/>
                    <a:pt x="16" y="232"/>
                    <a:pt x="16" y="232"/>
                  </a:cubicBezTo>
                  <a:cubicBezTo>
                    <a:pt x="16" y="161"/>
                    <a:pt x="16" y="161"/>
                    <a:pt x="16" y="161"/>
                  </a:cubicBezTo>
                  <a:cubicBezTo>
                    <a:pt x="94" y="161"/>
                    <a:pt x="94" y="161"/>
                    <a:pt x="94" y="161"/>
                  </a:cubicBezTo>
                  <a:cubicBezTo>
                    <a:pt x="99" y="161"/>
                    <a:pt x="102" y="157"/>
                    <a:pt x="102" y="153"/>
                  </a:cubicBezTo>
                  <a:cubicBezTo>
                    <a:pt x="102" y="87"/>
                    <a:pt x="102" y="87"/>
                    <a:pt x="102" y="87"/>
                  </a:cubicBezTo>
                  <a:cubicBezTo>
                    <a:pt x="102" y="83"/>
                    <a:pt x="99" y="79"/>
                    <a:pt x="94" y="79"/>
                  </a:cubicBezTo>
                  <a:cubicBezTo>
                    <a:pt x="35" y="79"/>
                    <a:pt x="35" y="79"/>
                    <a:pt x="35" y="79"/>
                  </a:cubicBezTo>
                  <a:cubicBezTo>
                    <a:pt x="42" y="68"/>
                    <a:pt x="50" y="61"/>
                    <a:pt x="59" y="61"/>
                  </a:cubicBezTo>
                  <a:cubicBezTo>
                    <a:pt x="138" y="61"/>
                    <a:pt x="138" y="61"/>
                    <a:pt x="138" y="61"/>
                  </a:cubicBezTo>
                  <a:cubicBezTo>
                    <a:pt x="139" y="61"/>
                    <a:pt x="140" y="62"/>
                    <a:pt x="140" y="63"/>
                  </a:cubicBezTo>
                  <a:lnTo>
                    <a:pt x="140" y="232"/>
                  </a:lnTo>
                  <a:close/>
                  <a:moveTo>
                    <a:pt x="179" y="225"/>
                  </a:moveTo>
                  <a:cubicBezTo>
                    <a:pt x="156" y="225"/>
                    <a:pt x="156" y="225"/>
                    <a:pt x="156" y="225"/>
                  </a:cubicBezTo>
                  <a:cubicBezTo>
                    <a:pt x="156" y="87"/>
                    <a:pt x="156" y="87"/>
                    <a:pt x="156" y="87"/>
                  </a:cubicBezTo>
                  <a:cubicBezTo>
                    <a:pt x="179" y="87"/>
                    <a:pt x="179" y="87"/>
                    <a:pt x="179" y="87"/>
                  </a:cubicBezTo>
                  <a:lnTo>
                    <a:pt x="179" y="225"/>
                  </a:lnTo>
                  <a:close/>
                  <a:moveTo>
                    <a:pt x="360" y="266"/>
                  </a:moveTo>
                  <a:cubicBezTo>
                    <a:pt x="346" y="266"/>
                    <a:pt x="335" y="254"/>
                    <a:pt x="335" y="240"/>
                  </a:cubicBezTo>
                  <a:cubicBezTo>
                    <a:pt x="335" y="226"/>
                    <a:pt x="346" y="214"/>
                    <a:pt x="360" y="214"/>
                  </a:cubicBezTo>
                  <a:cubicBezTo>
                    <a:pt x="375" y="214"/>
                    <a:pt x="386" y="226"/>
                    <a:pt x="386" y="240"/>
                  </a:cubicBezTo>
                  <a:cubicBezTo>
                    <a:pt x="386" y="254"/>
                    <a:pt x="375" y="266"/>
                    <a:pt x="360" y="266"/>
                  </a:cubicBezTo>
                  <a:close/>
                  <a:moveTo>
                    <a:pt x="448" y="184"/>
                  </a:moveTo>
                  <a:cubicBezTo>
                    <a:pt x="448" y="223"/>
                    <a:pt x="448" y="223"/>
                    <a:pt x="448" y="223"/>
                  </a:cubicBezTo>
                  <a:cubicBezTo>
                    <a:pt x="448" y="224"/>
                    <a:pt x="448" y="225"/>
                    <a:pt x="447" y="225"/>
                  </a:cubicBezTo>
                  <a:cubicBezTo>
                    <a:pt x="399" y="225"/>
                    <a:pt x="399" y="225"/>
                    <a:pt x="399" y="225"/>
                  </a:cubicBezTo>
                  <a:cubicBezTo>
                    <a:pt x="393" y="209"/>
                    <a:pt x="378" y="198"/>
                    <a:pt x="360" y="198"/>
                  </a:cubicBezTo>
                  <a:cubicBezTo>
                    <a:pt x="343" y="198"/>
                    <a:pt x="327" y="209"/>
                    <a:pt x="321" y="225"/>
                  </a:cubicBezTo>
                  <a:cubicBezTo>
                    <a:pt x="195" y="225"/>
                    <a:pt x="195" y="225"/>
                    <a:pt x="195" y="225"/>
                  </a:cubicBezTo>
                  <a:cubicBezTo>
                    <a:pt x="195" y="184"/>
                    <a:pt x="195" y="184"/>
                    <a:pt x="195" y="184"/>
                  </a:cubicBezTo>
                  <a:lnTo>
                    <a:pt x="448" y="184"/>
                  </a:lnTo>
                  <a:close/>
                </a:path>
              </a:pathLst>
            </a:custGeom>
            <a:solidFill>
              <a:srgbClr val="FFFFFF"/>
            </a:solidFill>
            <a:ln>
              <a:noFill/>
            </a:ln>
          </p:spPr>
          <p:txBody>
            <a:bodyPr/>
            <a:lstStyle/>
            <a:p>
              <a:endParaRPr lang="sv-SE"/>
            </a:p>
          </p:txBody>
        </p:sp>
        <p:cxnSp>
          <p:nvCxnSpPr>
            <p:cNvPr id="68" name="Rak 22"/>
            <p:cNvCxnSpPr/>
            <p:nvPr/>
          </p:nvCxnSpPr>
          <p:spPr bwMode="auto">
            <a:xfrm flipH="1">
              <a:off x="9270909" y="2540342"/>
              <a:ext cx="41077" cy="99628"/>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69" name="Rak 190"/>
            <p:cNvCxnSpPr/>
            <p:nvPr/>
          </p:nvCxnSpPr>
          <p:spPr bwMode="auto">
            <a:xfrm>
              <a:off x="9493159" y="2540342"/>
              <a:ext cx="41077" cy="99628"/>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70" name="Rak 191"/>
            <p:cNvCxnSpPr/>
            <p:nvPr/>
          </p:nvCxnSpPr>
          <p:spPr bwMode="auto">
            <a:xfrm flipH="1">
              <a:off x="9390799" y="2698356"/>
              <a:ext cx="102360" cy="0"/>
            </a:xfrm>
            <a:prstGeom prst="line">
              <a:avLst/>
            </a:prstGeom>
            <a:solidFill>
              <a:schemeClr val="accent1"/>
            </a:solidFill>
            <a:ln w="19050" cap="rnd" cmpd="sng" algn="ctr">
              <a:solidFill>
                <a:schemeClr val="bg1"/>
              </a:solidFill>
              <a:prstDash val="sysDot"/>
              <a:round/>
              <a:headEnd type="none" w="med" len="med"/>
              <a:tailEnd type="none" w="med" len="med"/>
            </a:ln>
            <a:effectLst/>
          </p:spPr>
        </p:cxnSp>
      </p:grpSp>
      <p:cxnSp>
        <p:nvCxnSpPr>
          <p:cNvPr id="71" name="Rak 195"/>
          <p:cNvCxnSpPr/>
          <p:nvPr/>
        </p:nvCxnSpPr>
        <p:spPr bwMode="auto">
          <a:xfrm flipH="1" flipV="1">
            <a:off x="3898935" y="3483162"/>
            <a:ext cx="89451" cy="86162"/>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72" name="Rak 196"/>
          <p:cNvCxnSpPr/>
          <p:nvPr/>
        </p:nvCxnSpPr>
        <p:spPr bwMode="auto">
          <a:xfrm flipH="1">
            <a:off x="4080783" y="3449790"/>
            <a:ext cx="84595" cy="0"/>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73" name="Rak 200"/>
          <p:cNvCxnSpPr/>
          <p:nvPr/>
        </p:nvCxnSpPr>
        <p:spPr bwMode="auto">
          <a:xfrm flipH="1">
            <a:off x="9436366" y="3409161"/>
            <a:ext cx="33948" cy="82337"/>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74" name="Rak 201"/>
          <p:cNvCxnSpPr/>
          <p:nvPr/>
        </p:nvCxnSpPr>
        <p:spPr bwMode="auto">
          <a:xfrm flipH="1">
            <a:off x="9309009" y="3321382"/>
            <a:ext cx="116012" cy="0"/>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75" name="Rak 202"/>
          <p:cNvCxnSpPr/>
          <p:nvPr/>
        </p:nvCxnSpPr>
        <p:spPr bwMode="auto">
          <a:xfrm>
            <a:off x="9588766" y="3405278"/>
            <a:ext cx="86338" cy="75635"/>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76" name="Rak 203"/>
          <p:cNvCxnSpPr/>
          <p:nvPr/>
        </p:nvCxnSpPr>
        <p:spPr bwMode="auto">
          <a:xfrm flipH="1">
            <a:off x="9136575" y="3368509"/>
            <a:ext cx="299893" cy="126285"/>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77" name="Rak 204"/>
          <p:cNvCxnSpPr/>
          <p:nvPr/>
        </p:nvCxnSpPr>
        <p:spPr bwMode="auto">
          <a:xfrm flipH="1" flipV="1">
            <a:off x="9566524" y="4691936"/>
            <a:ext cx="57150" cy="79012"/>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78" name="Rak 205"/>
          <p:cNvCxnSpPr/>
          <p:nvPr/>
        </p:nvCxnSpPr>
        <p:spPr bwMode="auto">
          <a:xfrm flipH="1">
            <a:off x="9286033" y="4656710"/>
            <a:ext cx="107591" cy="0"/>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79" name="Rak 206"/>
          <p:cNvCxnSpPr/>
          <p:nvPr/>
        </p:nvCxnSpPr>
        <p:spPr bwMode="auto">
          <a:xfrm flipH="1">
            <a:off x="9331530" y="4826569"/>
            <a:ext cx="106545" cy="71441"/>
          </a:xfrm>
          <a:prstGeom prst="line">
            <a:avLst/>
          </a:prstGeom>
          <a:solidFill>
            <a:schemeClr val="accent1"/>
          </a:solidFill>
          <a:ln w="19050" cap="rnd" cmpd="sng" algn="ctr">
            <a:solidFill>
              <a:schemeClr val="bg1"/>
            </a:solidFill>
            <a:prstDash val="sysDot"/>
            <a:round/>
            <a:headEnd type="none" w="med" len="med"/>
            <a:tailEnd type="none" w="med" len="med"/>
          </a:ln>
          <a:effectLst/>
        </p:spPr>
      </p:cxnSp>
      <p:sp>
        <p:nvSpPr>
          <p:cNvPr id="80" name="Freeform 3"/>
          <p:cNvSpPr>
            <a:spLocks noChangeAspect="1" noEditPoints="1"/>
          </p:cNvSpPr>
          <p:nvPr/>
        </p:nvSpPr>
        <p:spPr bwMode="auto">
          <a:xfrm>
            <a:off x="3820151" y="4500433"/>
            <a:ext cx="136171" cy="237802"/>
          </a:xfrm>
          <a:custGeom>
            <a:avLst/>
            <a:gdLst>
              <a:gd name="T0" fmla="*/ 2147483647 w 232"/>
              <a:gd name="T1" fmla="*/ 2147483647 h 405"/>
              <a:gd name="T2" fmla="*/ 2147483647 w 232"/>
              <a:gd name="T3" fmla="*/ 2147483647 h 405"/>
              <a:gd name="T4" fmla="*/ 2147483647 w 232"/>
              <a:gd name="T5" fmla="*/ 2147483647 h 405"/>
              <a:gd name="T6" fmla="*/ 2147483647 w 232"/>
              <a:gd name="T7" fmla="*/ 2147483647 h 405"/>
              <a:gd name="T8" fmla="*/ 2147483647 w 232"/>
              <a:gd name="T9" fmla="*/ 2147483647 h 405"/>
              <a:gd name="T10" fmla="*/ 2147483647 w 232"/>
              <a:gd name="T11" fmla="*/ 2147483647 h 405"/>
              <a:gd name="T12" fmla="*/ 2147483647 w 232"/>
              <a:gd name="T13" fmla="*/ 2147483647 h 405"/>
              <a:gd name="T14" fmla="*/ 2147483647 w 232"/>
              <a:gd name="T15" fmla="*/ 2147483647 h 405"/>
              <a:gd name="T16" fmla="*/ 2147483647 w 232"/>
              <a:gd name="T17" fmla="*/ 2147483647 h 405"/>
              <a:gd name="T18" fmla="*/ 2147483647 w 232"/>
              <a:gd name="T19" fmla="*/ 2147483647 h 405"/>
              <a:gd name="T20" fmla="*/ 2147483647 w 232"/>
              <a:gd name="T21" fmla="*/ 2147483647 h 405"/>
              <a:gd name="T22" fmla="*/ 2147483647 w 232"/>
              <a:gd name="T23" fmla="*/ 2147483647 h 405"/>
              <a:gd name="T24" fmla="*/ 2147483647 w 232"/>
              <a:gd name="T25" fmla="*/ 2147483647 h 405"/>
              <a:gd name="T26" fmla="*/ 2147483647 w 232"/>
              <a:gd name="T27" fmla="*/ 2147483647 h 405"/>
              <a:gd name="T28" fmla="*/ 2147483647 w 232"/>
              <a:gd name="T29" fmla="*/ 2147483647 h 405"/>
              <a:gd name="T30" fmla="*/ 2147483647 w 232"/>
              <a:gd name="T31" fmla="*/ 2147483647 h 405"/>
              <a:gd name="T32" fmla="*/ 2147483647 w 232"/>
              <a:gd name="T33" fmla="*/ 2147483647 h 405"/>
              <a:gd name="T34" fmla="*/ 2147483647 w 232"/>
              <a:gd name="T35" fmla="*/ 2147483647 h 405"/>
              <a:gd name="T36" fmla="*/ 2147483647 w 232"/>
              <a:gd name="T37" fmla="*/ 2147483647 h 405"/>
              <a:gd name="T38" fmla="*/ 2147483647 w 232"/>
              <a:gd name="T39" fmla="*/ 2147483647 h 405"/>
              <a:gd name="T40" fmla="*/ 2147483647 w 232"/>
              <a:gd name="T41" fmla="*/ 2147483647 h 405"/>
              <a:gd name="T42" fmla="*/ 2147483647 w 232"/>
              <a:gd name="T43" fmla="*/ 2147483647 h 405"/>
              <a:gd name="T44" fmla="*/ 2147483647 w 232"/>
              <a:gd name="T45" fmla="*/ 2147483647 h 405"/>
              <a:gd name="T46" fmla="*/ 2147483647 w 232"/>
              <a:gd name="T47" fmla="*/ 2147483647 h 405"/>
              <a:gd name="T48" fmla="*/ 2147483647 w 232"/>
              <a:gd name="T49" fmla="*/ 2147483647 h 405"/>
              <a:gd name="T50" fmla="*/ 2147483647 w 232"/>
              <a:gd name="T51" fmla="*/ 2147483647 h 405"/>
              <a:gd name="T52" fmla="*/ 2147483647 w 232"/>
              <a:gd name="T53" fmla="*/ 2147483647 h 405"/>
              <a:gd name="T54" fmla="*/ 2147483647 w 232"/>
              <a:gd name="T55" fmla="*/ 2147483647 h 405"/>
              <a:gd name="T56" fmla="*/ 2147483647 w 232"/>
              <a:gd name="T57" fmla="*/ 2147483647 h 405"/>
              <a:gd name="T58" fmla="*/ 2147483647 w 232"/>
              <a:gd name="T59" fmla="*/ 2147483647 h 405"/>
              <a:gd name="T60" fmla="*/ 2147483647 w 232"/>
              <a:gd name="T61" fmla="*/ 2147483647 h 405"/>
              <a:gd name="T62" fmla="*/ 2147483647 w 232"/>
              <a:gd name="T63" fmla="*/ 2147483647 h 405"/>
              <a:gd name="T64" fmla="*/ 2147483647 w 232"/>
              <a:gd name="T65" fmla="*/ 2147483647 h 405"/>
              <a:gd name="T66" fmla="*/ 2147483647 w 232"/>
              <a:gd name="T67" fmla="*/ 2147483647 h 405"/>
              <a:gd name="T68" fmla="*/ 2147483647 w 232"/>
              <a:gd name="T69" fmla="*/ 2147483647 h 405"/>
              <a:gd name="T70" fmla="*/ 2147483647 w 232"/>
              <a:gd name="T71" fmla="*/ 2147483647 h 405"/>
              <a:gd name="T72" fmla="*/ 2147483647 w 232"/>
              <a:gd name="T73" fmla="*/ 2147483647 h 405"/>
              <a:gd name="T74" fmla="*/ 2147483647 w 232"/>
              <a:gd name="T75" fmla="*/ 2147483647 h 405"/>
              <a:gd name="T76" fmla="*/ 2147483647 w 232"/>
              <a:gd name="T77" fmla="*/ 2147483647 h 405"/>
              <a:gd name="T78" fmla="*/ 2147483647 w 232"/>
              <a:gd name="T79" fmla="*/ 2147483647 h 405"/>
              <a:gd name="T80" fmla="*/ 2147483647 w 232"/>
              <a:gd name="T81" fmla="*/ 2147483647 h 405"/>
              <a:gd name="T82" fmla="*/ 2147483647 w 232"/>
              <a:gd name="T83" fmla="*/ 2147483647 h 405"/>
              <a:gd name="T84" fmla="*/ 2147483647 w 232"/>
              <a:gd name="T85" fmla="*/ 2147483647 h 405"/>
              <a:gd name="T86" fmla="*/ 2147483647 w 232"/>
              <a:gd name="T87" fmla="*/ 2147483647 h 405"/>
              <a:gd name="T88" fmla="*/ 2147483647 w 232"/>
              <a:gd name="T89" fmla="*/ 2147483647 h 40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32" h="405">
                <a:moveTo>
                  <a:pt x="218" y="87"/>
                </a:moveTo>
                <a:cubicBezTo>
                  <a:pt x="210" y="94"/>
                  <a:pt x="201" y="103"/>
                  <a:pt x="196" y="108"/>
                </a:cubicBezTo>
                <a:cubicBezTo>
                  <a:pt x="164" y="75"/>
                  <a:pt x="164" y="75"/>
                  <a:pt x="164" y="75"/>
                </a:cubicBezTo>
                <a:cubicBezTo>
                  <a:pt x="187" y="51"/>
                  <a:pt x="228" y="15"/>
                  <a:pt x="228" y="15"/>
                </a:cubicBezTo>
                <a:cubicBezTo>
                  <a:pt x="232" y="12"/>
                  <a:pt x="232" y="7"/>
                  <a:pt x="229" y="3"/>
                </a:cubicBezTo>
                <a:cubicBezTo>
                  <a:pt x="226" y="0"/>
                  <a:pt x="221" y="0"/>
                  <a:pt x="218" y="3"/>
                </a:cubicBezTo>
                <a:cubicBezTo>
                  <a:pt x="216" y="4"/>
                  <a:pt x="173" y="42"/>
                  <a:pt x="149" y="67"/>
                </a:cubicBezTo>
                <a:cubicBezTo>
                  <a:pt x="147" y="66"/>
                  <a:pt x="144" y="66"/>
                  <a:pt x="141" y="66"/>
                </a:cubicBezTo>
                <a:cubicBezTo>
                  <a:pt x="133" y="66"/>
                  <a:pt x="126" y="69"/>
                  <a:pt x="120" y="75"/>
                </a:cubicBezTo>
                <a:cubicBezTo>
                  <a:pt x="82" y="112"/>
                  <a:pt x="82" y="112"/>
                  <a:pt x="82" y="112"/>
                </a:cubicBezTo>
                <a:cubicBezTo>
                  <a:pt x="70" y="124"/>
                  <a:pt x="70" y="142"/>
                  <a:pt x="80" y="154"/>
                </a:cubicBezTo>
                <a:cubicBezTo>
                  <a:pt x="76" y="160"/>
                  <a:pt x="69" y="172"/>
                  <a:pt x="63" y="182"/>
                </a:cubicBezTo>
                <a:cubicBezTo>
                  <a:pt x="56" y="183"/>
                  <a:pt x="51" y="181"/>
                  <a:pt x="47" y="178"/>
                </a:cubicBezTo>
                <a:cubicBezTo>
                  <a:pt x="32" y="166"/>
                  <a:pt x="39" y="125"/>
                  <a:pt x="45" y="105"/>
                </a:cubicBezTo>
                <a:cubicBezTo>
                  <a:pt x="46" y="106"/>
                  <a:pt x="48" y="106"/>
                  <a:pt x="50" y="106"/>
                </a:cubicBezTo>
                <a:cubicBezTo>
                  <a:pt x="50" y="106"/>
                  <a:pt x="50" y="106"/>
                  <a:pt x="50" y="106"/>
                </a:cubicBezTo>
                <a:cubicBezTo>
                  <a:pt x="64" y="106"/>
                  <a:pt x="79" y="96"/>
                  <a:pt x="89" y="81"/>
                </a:cubicBezTo>
                <a:cubicBezTo>
                  <a:pt x="105" y="60"/>
                  <a:pt x="105" y="34"/>
                  <a:pt x="89" y="23"/>
                </a:cubicBezTo>
                <a:cubicBezTo>
                  <a:pt x="85" y="20"/>
                  <a:pt x="79" y="18"/>
                  <a:pt x="73" y="18"/>
                </a:cubicBezTo>
                <a:cubicBezTo>
                  <a:pt x="59" y="18"/>
                  <a:pt x="44" y="28"/>
                  <a:pt x="34" y="43"/>
                </a:cubicBezTo>
                <a:cubicBezTo>
                  <a:pt x="27" y="52"/>
                  <a:pt x="23" y="64"/>
                  <a:pt x="22" y="74"/>
                </a:cubicBezTo>
                <a:cubicBezTo>
                  <a:pt x="22" y="84"/>
                  <a:pt x="25" y="92"/>
                  <a:pt x="30" y="97"/>
                </a:cubicBezTo>
                <a:cubicBezTo>
                  <a:pt x="26" y="111"/>
                  <a:pt x="11" y="169"/>
                  <a:pt x="37" y="191"/>
                </a:cubicBezTo>
                <a:cubicBezTo>
                  <a:pt x="42" y="195"/>
                  <a:pt x="48" y="197"/>
                  <a:pt x="56" y="198"/>
                </a:cubicBezTo>
                <a:cubicBezTo>
                  <a:pt x="51" y="211"/>
                  <a:pt x="45" y="240"/>
                  <a:pt x="40" y="265"/>
                </a:cubicBezTo>
                <a:cubicBezTo>
                  <a:pt x="37" y="280"/>
                  <a:pt x="33" y="297"/>
                  <a:pt x="32" y="300"/>
                </a:cubicBezTo>
                <a:cubicBezTo>
                  <a:pt x="32" y="300"/>
                  <a:pt x="31" y="302"/>
                  <a:pt x="30" y="304"/>
                </a:cubicBezTo>
                <a:cubicBezTo>
                  <a:pt x="22" y="316"/>
                  <a:pt x="0" y="350"/>
                  <a:pt x="13" y="386"/>
                </a:cubicBezTo>
                <a:cubicBezTo>
                  <a:pt x="13" y="387"/>
                  <a:pt x="13" y="387"/>
                  <a:pt x="13" y="387"/>
                </a:cubicBezTo>
                <a:cubicBezTo>
                  <a:pt x="19" y="401"/>
                  <a:pt x="24" y="405"/>
                  <a:pt x="34" y="405"/>
                </a:cubicBezTo>
                <a:cubicBezTo>
                  <a:pt x="43" y="405"/>
                  <a:pt x="53" y="401"/>
                  <a:pt x="56" y="393"/>
                </a:cubicBezTo>
                <a:cubicBezTo>
                  <a:pt x="56" y="391"/>
                  <a:pt x="57" y="388"/>
                  <a:pt x="58" y="384"/>
                </a:cubicBezTo>
                <a:cubicBezTo>
                  <a:pt x="74" y="385"/>
                  <a:pt x="81" y="380"/>
                  <a:pt x="87" y="355"/>
                </a:cubicBezTo>
                <a:cubicBezTo>
                  <a:pt x="89" y="344"/>
                  <a:pt x="83" y="334"/>
                  <a:pt x="79" y="327"/>
                </a:cubicBezTo>
                <a:cubicBezTo>
                  <a:pt x="78" y="325"/>
                  <a:pt x="76" y="322"/>
                  <a:pt x="75" y="320"/>
                </a:cubicBezTo>
                <a:cubicBezTo>
                  <a:pt x="132" y="201"/>
                  <a:pt x="132" y="201"/>
                  <a:pt x="132" y="201"/>
                </a:cubicBezTo>
                <a:cubicBezTo>
                  <a:pt x="135" y="202"/>
                  <a:pt x="138" y="203"/>
                  <a:pt x="141" y="203"/>
                </a:cubicBezTo>
                <a:cubicBezTo>
                  <a:pt x="149" y="203"/>
                  <a:pt x="157" y="200"/>
                  <a:pt x="163" y="194"/>
                </a:cubicBezTo>
                <a:cubicBezTo>
                  <a:pt x="178" y="179"/>
                  <a:pt x="178" y="179"/>
                  <a:pt x="178" y="179"/>
                </a:cubicBezTo>
                <a:cubicBezTo>
                  <a:pt x="181" y="176"/>
                  <a:pt x="181" y="171"/>
                  <a:pt x="178" y="168"/>
                </a:cubicBezTo>
                <a:cubicBezTo>
                  <a:pt x="175" y="165"/>
                  <a:pt x="170" y="165"/>
                  <a:pt x="167" y="168"/>
                </a:cubicBezTo>
                <a:cubicBezTo>
                  <a:pt x="152" y="182"/>
                  <a:pt x="152" y="182"/>
                  <a:pt x="152" y="182"/>
                </a:cubicBezTo>
                <a:cubicBezTo>
                  <a:pt x="146" y="188"/>
                  <a:pt x="137" y="188"/>
                  <a:pt x="131" y="182"/>
                </a:cubicBezTo>
                <a:cubicBezTo>
                  <a:pt x="93" y="145"/>
                  <a:pt x="93" y="145"/>
                  <a:pt x="93" y="145"/>
                </a:cubicBezTo>
                <a:cubicBezTo>
                  <a:pt x="87" y="139"/>
                  <a:pt x="87" y="130"/>
                  <a:pt x="93" y="124"/>
                </a:cubicBezTo>
                <a:cubicBezTo>
                  <a:pt x="131" y="86"/>
                  <a:pt x="131" y="86"/>
                  <a:pt x="131" y="86"/>
                </a:cubicBezTo>
                <a:cubicBezTo>
                  <a:pt x="137" y="80"/>
                  <a:pt x="146" y="80"/>
                  <a:pt x="152" y="86"/>
                </a:cubicBezTo>
                <a:cubicBezTo>
                  <a:pt x="190" y="124"/>
                  <a:pt x="190" y="124"/>
                  <a:pt x="190" y="124"/>
                </a:cubicBezTo>
                <a:cubicBezTo>
                  <a:pt x="195" y="130"/>
                  <a:pt x="195" y="139"/>
                  <a:pt x="190" y="145"/>
                </a:cubicBezTo>
                <a:cubicBezTo>
                  <a:pt x="189" y="145"/>
                  <a:pt x="189" y="145"/>
                  <a:pt x="189" y="145"/>
                </a:cubicBezTo>
                <a:cubicBezTo>
                  <a:pt x="186" y="148"/>
                  <a:pt x="186" y="153"/>
                  <a:pt x="189" y="157"/>
                </a:cubicBezTo>
                <a:cubicBezTo>
                  <a:pt x="192" y="160"/>
                  <a:pt x="197" y="160"/>
                  <a:pt x="200" y="157"/>
                </a:cubicBezTo>
                <a:cubicBezTo>
                  <a:pt x="201" y="156"/>
                  <a:pt x="201" y="156"/>
                  <a:pt x="201" y="156"/>
                </a:cubicBezTo>
                <a:cubicBezTo>
                  <a:pt x="211" y="146"/>
                  <a:pt x="213" y="131"/>
                  <a:pt x="207" y="120"/>
                </a:cubicBezTo>
                <a:cubicBezTo>
                  <a:pt x="210" y="116"/>
                  <a:pt x="219" y="107"/>
                  <a:pt x="228" y="100"/>
                </a:cubicBezTo>
                <a:cubicBezTo>
                  <a:pt x="231" y="97"/>
                  <a:pt x="232" y="92"/>
                  <a:pt x="229" y="89"/>
                </a:cubicBezTo>
                <a:cubicBezTo>
                  <a:pt x="227" y="85"/>
                  <a:pt x="221" y="85"/>
                  <a:pt x="218" y="87"/>
                </a:cubicBezTo>
                <a:close/>
                <a:moveTo>
                  <a:pt x="38" y="75"/>
                </a:moveTo>
                <a:cubicBezTo>
                  <a:pt x="39" y="67"/>
                  <a:pt x="42" y="59"/>
                  <a:pt x="47" y="52"/>
                </a:cubicBezTo>
                <a:cubicBezTo>
                  <a:pt x="55" y="40"/>
                  <a:pt x="66" y="34"/>
                  <a:pt x="73" y="34"/>
                </a:cubicBezTo>
                <a:cubicBezTo>
                  <a:pt x="76" y="34"/>
                  <a:pt x="78" y="35"/>
                  <a:pt x="80" y="36"/>
                </a:cubicBezTo>
                <a:cubicBezTo>
                  <a:pt x="87" y="41"/>
                  <a:pt x="87" y="57"/>
                  <a:pt x="76" y="72"/>
                </a:cubicBezTo>
                <a:cubicBezTo>
                  <a:pt x="68" y="84"/>
                  <a:pt x="57" y="90"/>
                  <a:pt x="50" y="90"/>
                </a:cubicBezTo>
                <a:cubicBezTo>
                  <a:pt x="47" y="90"/>
                  <a:pt x="45" y="89"/>
                  <a:pt x="43" y="88"/>
                </a:cubicBezTo>
                <a:cubicBezTo>
                  <a:pt x="39" y="85"/>
                  <a:pt x="38" y="78"/>
                  <a:pt x="38" y="75"/>
                </a:cubicBezTo>
                <a:close/>
                <a:moveTo>
                  <a:pt x="119" y="193"/>
                </a:moveTo>
                <a:cubicBezTo>
                  <a:pt x="60" y="315"/>
                  <a:pt x="60" y="315"/>
                  <a:pt x="60" y="315"/>
                </a:cubicBezTo>
                <a:cubicBezTo>
                  <a:pt x="57" y="321"/>
                  <a:pt x="61" y="328"/>
                  <a:pt x="65" y="335"/>
                </a:cubicBezTo>
                <a:cubicBezTo>
                  <a:pt x="68" y="340"/>
                  <a:pt x="72" y="347"/>
                  <a:pt x="71" y="352"/>
                </a:cubicBezTo>
                <a:cubicBezTo>
                  <a:pt x="68" y="367"/>
                  <a:pt x="67" y="368"/>
                  <a:pt x="60" y="368"/>
                </a:cubicBezTo>
                <a:cubicBezTo>
                  <a:pt x="61" y="365"/>
                  <a:pt x="61" y="362"/>
                  <a:pt x="62" y="359"/>
                </a:cubicBezTo>
                <a:cubicBezTo>
                  <a:pt x="62" y="354"/>
                  <a:pt x="59" y="350"/>
                  <a:pt x="55" y="350"/>
                </a:cubicBezTo>
                <a:cubicBezTo>
                  <a:pt x="50" y="349"/>
                  <a:pt x="46" y="352"/>
                  <a:pt x="46" y="357"/>
                </a:cubicBezTo>
                <a:cubicBezTo>
                  <a:pt x="43" y="375"/>
                  <a:pt x="43" y="375"/>
                  <a:pt x="43" y="375"/>
                </a:cubicBezTo>
                <a:cubicBezTo>
                  <a:pt x="43" y="375"/>
                  <a:pt x="43" y="375"/>
                  <a:pt x="43" y="376"/>
                </a:cubicBezTo>
                <a:cubicBezTo>
                  <a:pt x="42" y="381"/>
                  <a:pt x="42" y="385"/>
                  <a:pt x="41" y="386"/>
                </a:cubicBezTo>
                <a:cubicBezTo>
                  <a:pt x="41" y="387"/>
                  <a:pt x="37" y="389"/>
                  <a:pt x="34" y="389"/>
                </a:cubicBezTo>
                <a:cubicBezTo>
                  <a:pt x="33" y="389"/>
                  <a:pt x="33" y="389"/>
                  <a:pt x="33" y="389"/>
                </a:cubicBezTo>
                <a:cubicBezTo>
                  <a:pt x="33" y="389"/>
                  <a:pt x="31" y="388"/>
                  <a:pt x="28" y="381"/>
                </a:cubicBezTo>
                <a:cubicBezTo>
                  <a:pt x="18" y="352"/>
                  <a:pt x="36" y="324"/>
                  <a:pt x="43" y="312"/>
                </a:cubicBezTo>
                <a:cubicBezTo>
                  <a:pt x="45" y="310"/>
                  <a:pt x="46" y="308"/>
                  <a:pt x="47" y="307"/>
                </a:cubicBezTo>
                <a:cubicBezTo>
                  <a:pt x="48" y="303"/>
                  <a:pt x="50" y="294"/>
                  <a:pt x="56" y="269"/>
                </a:cubicBezTo>
                <a:cubicBezTo>
                  <a:pt x="61" y="244"/>
                  <a:pt x="68" y="210"/>
                  <a:pt x="72" y="200"/>
                </a:cubicBezTo>
                <a:cubicBezTo>
                  <a:pt x="72" y="199"/>
                  <a:pt x="73" y="198"/>
                  <a:pt x="73" y="197"/>
                </a:cubicBezTo>
                <a:cubicBezTo>
                  <a:pt x="84" y="195"/>
                  <a:pt x="96" y="190"/>
                  <a:pt x="109" y="183"/>
                </a:cubicBezTo>
                <a:lnTo>
                  <a:pt x="119" y="193"/>
                </a:lnTo>
                <a:close/>
                <a:moveTo>
                  <a:pt x="92" y="166"/>
                </a:moveTo>
                <a:cubicBezTo>
                  <a:pt x="97" y="171"/>
                  <a:pt x="97" y="171"/>
                  <a:pt x="97" y="171"/>
                </a:cubicBezTo>
                <a:cubicBezTo>
                  <a:pt x="93" y="173"/>
                  <a:pt x="89" y="175"/>
                  <a:pt x="85" y="177"/>
                </a:cubicBezTo>
                <a:cubicBezTo>
                  <a:pt x="87" y="173"/>
                  <a:pt x="90" y="169"/>
                  <a:pt x="92" y="166"/>
                </a:cubicBezTo>
                <a:close/>
              </a:path>
            </a:pathLst>
          </a:custGeom>
          <a:solidFill>
            <a:srgbClr val="FFFFFF"/>
          </a:solidFill>
          <a:ln>
            <a:noFill/>
          </a:ln>
        </p:spPr>
        <p:txBody>
          <a:bodyPr/>
          <a:lstStyle/>
          <a:p>
            <a:endParaRPr lang="sv-SE"/>
          </a:p>
        </p:txBody>
      </p:sp>
      <p:cxnSp>
        <p:nvCxnSpPr>
          <p:cNvPr id="81" name="Rak 214"/>
          <p:cNvCxnSpPr/>
          <p:nvPr/>
        </p:nvCxnSpPr>
        <p:spPr bwMode="auto">
          <a:xfrm flipH="1">
            <a:off x="3988678" y="4714452"/>
            <a:ext cx="147818" cy="118467"/>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82" name="Rak 215"/>
          <p:cNvCxnSpPr/>
          <p:nvPr/>
        </p:nvCxnSpPr>
        <p:spPr bwMode="auto">
          <a:xfrm flipH="1">
            <a:off x="3995028" y="4885310"/>
            <a:ext cx="228174" cy="0"/>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83" name="Rak 216"/>
          <p:cNvCxnSpPr/>
          <p:nvPr/>
        </p:nvCxnSpPr>
        <p:spPr bwMode="auto">
          <a:xfrm>
            <a:off x="4223202" y="4708102"/>
            <a:ext cx="56624" cy="67029"/>
          </a:xfrm>
          <a:prstGeom prst="line">
            <a:avLst/>
          </a:prstGeom>
          <a:solidFill>
            <a:schemeClr val="accent1"/>
          </a:solidFill>
          <a:ln w="19050" cap="rnd" cmpd="sng" algn="ctr">
            <a:solidFill>
              <a:schemeClr val="bg1"/>
            </a:solidFill>
            <a:prstDash val="sysDot"/>
            <a:round/>
            <a:headEnd type="none" w="med" len="med"/>
            <a:tailEnd type="none" w="med" len="med"/>
          </a:ln>
          <a:effectLst/>
        </p:spPr>
      </p:cxnSp>
      <p:sp>
        <p:nvSpPr>
          <p:cNvPr id="84" name="textruta 214"/>
          <p:cNvSpPr txBox="1"/>
          <p:nvPr/>
        </p:nvSpPr>
        <p:spPr>
          <a:xfrm>
            <a:off x="4524789" y="3953857"/>
            <a:ext cx="1112082" cy="308170"/>
          </a:xfrm>
          <a:prstGeom prst="rect">
            <a:avLst/>
          </a:prstGeom>
          <a:noFill/>
        </p:spPr>
        <p:txBody>
          <a:bodyPr wrap="square" lIns="0" tIns="0" rIns="0" bIns="0" rtlCol="0" anchor="ctr" anchorCtr="0">
            <a:noAutofit/>
          </a:bodyPr>
          <a:lstStyle/>
          <a:p>
            <a:r>
              <a:rPr lang="en-US" sz="1100" dirty="0">
                <a:latin typeface="Arial" panose="020B0604020202020204" pitchFamily="34" charset="0"/>
                <a:cs typeface="Arial" panose="020B0604020202020204" pitchFamily="34" charset="0"/>
              </a:rPr>
              <a:t>Metering and smart grid</a:t>
            </a:r>
          </a:p>
        </p:txBody>
      </p:sp>
      <p:sp>
        <p:nvSpPr>
          <p:cNvPr id="85" name="textruta 214"/>
          <p:cNvSpPr txBox="1"/>
          <p:nvPr/>
        </p:nvSpPr>
        <p:spPr>
          <a:xfrm>
            <a:off x="9863290" y="3874083"/>
            <a:ext cx="1722968" cy="467719"/>
          </a:xfrm>
          <a:prstGeom prst="rect">
            <a:avLst/>
          </a:prstGeom>
          <a:noFill/>
        </p:spPr>
        <p:txBody>
          <a:bodyPr wrap="square" lIns="0" tIns="0" rIns="0" bIns="0" rtlCol="0" anchor="ctr" anchorCtr="0">
            <a:noAutofit/>
          </a:bodyPr>
          <a:lstStyle/>
          <a:p>
            <a:r>
              <a:rPr lang="en-US" sz="1100" dirty="0">
                <a:latin typeface="Arial" panose="020B0604020202020204" pitchFamily="34" charset="0"/>
                <a:cs typeface="Arial" panose="020B0604020202020204" pitchFamily="34" charset="0"/>
              </a:rPr>
              <a:t>Machine intelligence </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and real-time control</a:t>
            </a:r>
          </a:p>
        </p:txBody>
      </p:sp>
      <p:sp>
        <p:nvSpPr>
          <p:cNvPr id="86" name="textruta 214"/>
          <p:cNvSpPr txBox="1"/>
          <p:nvPr/>
        </p:nvSpPr>
        <p:spPr>
          <a:xfrm>
            <a:off x="643855" y="3141759"/>
            <a:ext cx="2165626" cy="644252"/>
          </a:xfrm>
          <a:prstGeom prst="rect">
            <a:avLst/>
          </a:prstGeom>
          <a:noFill/>
        </p:spPr>
        <p:txBody>
          <a:bodyPr wrap="square" lIns="0" tIns="0" rIns="0" bIns="0" rtlCol="0" anchor="ctr" anchorCtr="0">
            <a:noAutofit/>
          </a:bodyPr>
          <a:lstStyle/>
          <a:p>
            <a:r>
              <a:rPr lang="en-US" sz="1500" dirty="0"/>
              <a:t>Manufacturing </a:t>
            </a:r>
            <a:endParaRPr lang="en-US" sz="1500" dirty="0">
              <a:latin typeface="Arial" panose="020B0604020202020204" pitchFamily="34" charset="0"/>
              <a:cs typeface="Arial" panose="020B0604020202020204" pitchFamily="34" charset="0"/>
            </a:endParaRPr>
          </a:p>
        </p:txBody>
      </p:sp>
      <p:sp>
        <p:nvSpPr>
          <p:cNvPr id="87" name="textruta 214"/>
          <p:cNvSpPr txBox="1"/>
          <p:nvPr/>
        </p:nvSpPr>
        <p:spPr>
          <a:xfrm>
            <a:off x="643855" y="4430263"/>
            <a:ext cx="2165626" cy="644250"/>
          </a:xfrm>
          <a:prstGeom prst="rect">
            <a:avLst/>
          </a:prstGeom>
          <a:noFill/>
        </p:spPr>
        <p:txBody>
          <a:bodyPr wrap="square" lIns="0" tIns="0" rIns="0" bIns="0" rtlCol="0" anchor="ctr" anchorCtr="0">
            <a:noAutofit/>
          </a:bodyPr>
          <a:lstStyle/>
          <a:p>
            <a:r>
              <a:rPr lang="en-US" sz="1500" dirty="0"/>
              <a:t>Healthcare</a:t>
            </a:r>
          </a:p>
        </p:txBody>
      </p:sp>
      <p:sp>
        <p:nvSpPr>
          <p:cNvPr id="88" name="textruta 214"/>
          <p:cNvSpPr txBox="1"/>
          <p:nvPr/>
        </p:nvSpPr>
        <p:spPr>
          <a:xfrm>
            <a:off x="643855" y="3786011"/>
            <a:ext cx="2165626" cy="644252"/>
          </a:xfrm>
          <a:prstGeom prst="rect">
            <a:avLst/>
          </a:prstGeom>
          <a:noFill/>
        </p:spPr>
        <p:txBody>
          <a:bodyPr wrap="square" lIns="0" tIns="0" rIns="0" bIns="0" rtlCol="0" anchor="ctr" anchorCtr="0">
            <a:noAutofit/>
          </a:bodyPr>
          <a:lstStyle/>
          <a:p>
            <a:r>
              <a:rPr lang="en-US" sz="1500" dirty="0"/>
              <a:t>Energy &amp; Utilities</a:t>
            </a:r>
          </a:p>
        </p:txBody>
      </p:sp>
      <p:sp>
        <p:nvSpPr>
          <p:cNvPr id="89" name="textruta 214"/>
          <p:cNvSpPr txBox="1"/>
          <p:nvPr/>
        </p:nvSpPr>
        <p:spPr>
          <a:xfrm>
            <a:off x="643855" y="2497506"/>
            <a:ext cx="1957013" cy="659961"/>
          </a:xfrm>
          <a:prstGeom prst="rect">
            <a:avLst/>
          </a:prstGeom>
          <a:noFill/>
        </p:spPr>
        <p:txBody>
          <a:bodyPr wrap="square" lIns="0" tIns="0" rIns="0" bIns="0" rtlCol="0" anchor="ctr" anchorCtr="0">
            <a:noAutofit/>
          </a:bodyPr>
          <a:lstStyle/>
          <a:p>
            <a:r>
              <a:rPr lang="en-US" sz="1500" dirty="0"/>
              <a:t>Automotive</a:t>
            </a:r>
            <a:endParaRPr lang="en-US" sz="1500" dirty="0">
              <a:latin typeface="Arial" panose="020B0604020202020204" pitchFamily="34" charset="0"/>
              <a:cs typeface="Arial" panose="020B0604020202020204" pitchFamily="34" charset="0"/>
            </a:endParaRPr>
          </a:p>
        </p:txBody>
      </p:sp>
      <p:sp>
        <p:nvSpPr>
          <p:cNvPr id="90" name="Freeform 3"/>
          <p:cNvSpPr>
            <a:spLocks noChangeAspect="1" noEditPoints="1"/>
          </p:cNvSpPr>
          <p:nvPr/>
        </p:nvSpPr>
        <p:spPr bwMode="auto">
          <a:xfrm>
            <a:off x="2572503" y="3313971"/>
            <a:ext cx="309274" cy="323276"/>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p:spPr>
        <p:txBody>
          <a:bodyPr/>
          <a:lstStyle/>
          <a:p>
            <a:endParaRPr lang="en-US" b="1" dirty="0"/>
          </a:p>
        </p:txBody>
      </p:sp>
      <p:sp>
        <p:nvSpPr>
          <p:cNvPr id="91" name="Freeform 3"/>
          <p:cNvSpPr>
            <a:spLocks noChangeAspect="1" noEditPoints="1"/>
          </p:cNvSpPr>
          <p:nvPr/>
        </p:nvSpPr>
        <p:spPr bwMode="auto">
          <a:xfrm>
            <a:off x="2545164" y="4639693"/>
            <a:ext cx="363952" cy="213523"/>
          </a:xfrm>
          <a:custGeom>
            <a:avLst/>
            <a:gdLst>
              <a:gd name="T0" fmla="*/ 2147483647 w 464"/>
              <a:gd name="T1" fmla="*/ 2147483647 h 272"/>
              <a:gd name="T2" fmla="*/ 2147483647 w 464"/>
              <a:gd name="T3" fmla="*/ 2147483647 h 272"/>
              <a:gd name="T4" fmla="*/ 2147483647 w 464"/>
              <a:gd name="T5" fmla="*/ 2147483647 h 272"/>
              <a:gd name="T6" fmla="*/ 2147483647 w 464"/>
              <a:gd name="T7" fmla="*/ 2147483647 h 272"/>
              <a:gd name="T8" fmla="*/ 2147483647 w 464"/>
              <a:gd name="T9" fmla="*/ 2147483647 h 272"/>
              <a:gd name="T10" fmla="*/ 2147483647 w 464"/>
              <a:gd name="T11" fmla="*/ 2147483647 h 272"/>
              <a:gd name="T12" fmla="*/ 2147483647 w 464"/>
              <a:gd name="T13" fmla="*/ 2147483647 h 272"/>
              <a:gd name="T14" fmla="*/ 2147483647 w 464"/>
              <a:gd name="T15" fmla="*/ 2147483647 h 272"/>
              <a:gd name="T16" fmla="*/ 0 w 464"/>
              <a:gd name="T17" fmla="*/ 2147483647 h 272"/>
              <a:gd name="T18" fmla="*/ 2147483647 w 464"/>
              <a:gd name="T19" fmla="*/ 2147483647 h 272"/>
              <a:gd name="T20" fmla="*/ 2147483647 w 464"/>
              <a:gd name="T21" fmla="*/ 2147483647 h 272"/>
              <a:gd name="T22" fmla="*/ 2147483647 w 464"/>
              <a:gd name="T23" fmla="*/ 2147483647 h 272"/>
              <a:gd name="T24" fmla="*/ 2147483647 w 464"/>
              <a:gd name="T25" fmla="*/ 2147483647 h 272"/>
              <a:gd name="T26" fmla="*/ 2147483647 w 464"/>
              <a:gd name="T27" fmla="*/ 2147483647 h 272"/>
              <a:gd name="T28" fmla="*/ 2147483647 w 464"/>
              <a:gd name="T29" fmla="*/ 2147483647 h 272"/>
              <a:gd name="T30" fmla="*/ 2147483647 w 464"/>
              <a:gd name="T31" fmla="*/ 2147483647 h 272"/>
              <a:gd name="T32" fmla="*/ 2147483647 w 464"/>
              <a:gd name="T33" fmla="*/ 2147483647 h 272"/>
              <a:gd name="T34" fmla="*/ 2147483647 w 464"/>
              <a:gd name="T35" fmla="*/ 2147483647 h 272"/>
              <a:gd name="T36" fmla="*/ 2147483647 w 464"/>
              <a:gd name="T37" fmla="*/ 2147483647 h 272"/>
              <a:gd name="T38" fmla="*/ 2147483647 w 464"/>
              <a:gd name="T39" fmla="*/ 2147483647 h 272"/>
              <a:gd name="T40" fmla="*/ 2147483647 w 464"/>
              <a:gd name="T41" fmla="*/ 2147483647 h 272"/>
              <a:gd name="T42" fmla="*/ 2147483647 w 464"/>
              <a:gd name="T43" fmla="*/ 2147483647 h 272"/>
              <a:gd name="T44" fmla="*/ 2147483647 w 464"/>
              <a:gd name="T45" fmla="*/ 2147483647 h 272"/>
              <a:gd name="T46" fmla="*/ 2147483647 w 464"/>
              <a:gd name="T47" fmla="*/ 2147483647 h 272"/>
              <a:gd name="T48" fmla="*/ 2147483647 w 464"/>
              <a:gd name="T49" fmla="*/ 2147483647 h 272"/>
              <a:gd name="T50" fmla="*/ 2147483647 w 464"/>
              <a:gd name="T51" fmla="*/ 2147483647 h 272"/>
              <a:gd name="T52" fmla="*/ 2147483647 w 464"/>
              <a:gd name="T53" fmla="*/ 2147483647 h 272"/>
              <a:gd name="T54" fmla="*/ 2147483647 w 464"/>
              <a:gd name="T55" fmla="*/ 2147483647 h 272"/>
              <a:gd name="T56" fmla="*/ 2147483647 w 464"/>
              <a:gd name="T57" fmla="*/ 2147483647 h 272"/>
              <a:gd name="T58" fmla="*/ 2147483647 w 464"/>
              <a:gd name="T59" fmla="*/ 2147483647 h 272"/>
              <a:gd name="T60" fmla="*/ 2147483647 w 464"/>
              <a:gd name="T61" fmla="*/ 2147483647 h 272"/>
              <a:gd name="T62" fmla="*/ 2147483647 w 464"/>
              <a:gd name="T63" fmla="*/ 2147483647 h 2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4" h="272">
                <a:moveTo>
                  <a:pt x="456" y="91"/>
                </a:moveTo>
                <a:cubicBezTo>
                  <a:pt x="461" y="91"/>
                  <a:pt x="464" y="88"/>
                  <a:pt x="464" y="83"/>
                </a:cubicBezTo>
                <a:cubicBezTo>
                  <a:pt x="464" y="24"/>
                  <a:pt x="464" y="24"/>
                  <a:pt x="464" y="24"/>
                </a:cubicBezTo>
                <a:cubicBezTo>
                  <a:pt x="464" y="20"/>
                  <a:pt x="461" y="16"/>
                  <a:pt x="456" y="16"/>
                </a:cubicBezTo>
                <a:cubicBezTo>
                  <a:pt x="452" y="16"/>
                  <a:pt x="448" y="20"/>
                  <a:pt x="448" y="24"/>
                </a:cubicBezTo>
                <a:cubicBezTo>
                  <a:pt x="448" y="41"/>
                  <a:pt x="448" y="41"/>
                  <a:pt x="448" y="41"/>
                </a:cubicBezTo>
                <a:cubicBezTo>
                  <a:pt x="431" y="44"/>
                  <a:pt x="423" y="58"/>
                  <a:pt x="416" y="70"/>
                </a:cubicBezTo>
                <a:cubicBezTo>
                  <a:pt x="408" y="83"/>
                  <a:pt x="404" y="88"/>
                  <a:pt x="395" y="88"/>
                </a:cubicBezTo>
                <a:cubicBezTo>
                  <a:pt x="361" y="85"/>
                  <a:pt x="293" y="81"/>
                  <a:pt x="255" y="81"/>
                </a:cubicBezTo>
                <a:cubicBezTo>
                  <a:pt x="206" y="81"/>
                  <a:pt x="155" y="87"/>
                  <a:pt x="131" y="90"/>
                </a:cubicBezTo>
                <a:cubicBezTo>
                  <a:pt x="132" y="87"/>
                  <a:pt x="132" y="84"/>
                  <a:pt x="132" y="81"/>
                </a:cubicBezTo>
                <a:cubicBezTo>
                  <a:pt x="132" y="51"/>
                  <a:pt x="108" y="27"/>
                  <a:pt x="78" y="27"/>
                </a:cubicBezTo>
                <a:cubicBezTo>
                  <a:pt x="49" y="27"/>
                  <a:pt x="25" y="51"/>
                  <a:pt x="25" y="81"/>
                </a:cubicBezTo>
                <a:cubicBezTo>
                  <a:pt x="25" y="85"/>
                  <a:pt x="25" y="89"/>
                  <a:pt x="26" y="92"/>
                </a:cubicBezTo>
                <a:cubicBezTo>
                  <a:pt x="22" y="92"/>
                  <a:pt x="19" y="92"/>
                  <a:pt x="16" y="92"/>
                </a:cubicBezTo>
                <a:cubicBezTo>
                  <a:pt x="16" y="8"/>
                  <a:pt x="16" y="8"/>
                  <a:pt x="16" y="8"/>
                </a:cubicBezTo>
                <a:cubicBezTo>
                  <a:pt x="16" y="3"/>
                  <a:pt x="12" y="0"/>
                  <a:pt x="8" y="0"/>
                </a:cubicBezTo>
                <a:cubicBezTo>
                  <a:pt x="4" y="0"/>
                  <a:pt x="0" y="3"/>
                  <a:pt x="0" y="8"/>
                </a:cubicBezTo>
                <a:cubicBezTo>
                  <a:pt x="0" y="264"/>
                  <a:pt x="0" y="264"/>
                  <a:pt x="0" y="264"/>
                </a:cubicBezTo>
                <a:cubicBezTo>
                  <a:pt x="0" y="268"/>
                  <a:pt x="4" y="272"/>
                  <a:pt x="8" y="272"/>
                </a:cubicBezTo>
                <a:cubicBezTo>
                  <a:pt x="12" y="272"/>
                  <a:pt x="16" y="268"/>
                  <a:pt x="16" y="264"/>
                </a:cubicBezTo>
                <a:cubicBezTo>
                  <a:pt x="16" y="245"/>
                  <a:pt x="16" y="245"/>
                  <a:pt x="16" y="245"/>
                </a:cubicBezTo>
                <a:cubicBezTo>
                  <a:pt x="20" y="247"/>
                  <a:pt x="25" y="248"/>
                  <a:pt x="31" y="248"/>
                </a:cubicBezTo>
                <a:cubicBezTo>
                  <a:pt x="434" y="248"/>
                  <a:pt x="434" y="248"/>
                  <a:pt x="434" y="248"/>
                </a:cubicBezTo>
                <a:cubicBezTo>
                  <a:pt x="439" y="248"/>
                  <a:pt x="444" y="247"/>
                  <a:pt x="448" y="245"/>
                </a:cubicBezTo>
                <a:cubicBezTo>
                  <a:pt x="448" y="264"/>
                  <a:pt x="448" y="264"/>
                  <a:pt x="448" y="264"/>
                </a:cubicBezTo>
                <a:cubicBezTo>
                  <a:pt x="448" y="268"/>
                  <a:pt x="452" y="272"/>
                  <a:pt x="456" y="272"/>
                </a:cubicBezTo>
                <a:cubicBezTo>
                  <a:pt x="461" y="272"/>
                  <a:pt x="464" y="268"/>
                  <a:pt x="464" y="264"/>
                </a:cubicBezTo>
                <a:cubicBezTo>
                  <a:pt x="464" y="115"/>
                  <a:pt x="464" y="115"/>
                  <a:pt x="464" y="115"/>
                </a:cubicBezTo>
                <a:cubicBezTo>
                  <a:pt x="464" y="111"/>
                  <a:pt x="461" y="107"/>
                  <a:pt x="456" y="107"/>
                </a:cubicBezTo>
                <a:cubicBezTo>
                  <a:pt x="452" y="107"/>
                  <a:pt x="448" y="111"/>
                  <a:pt x="448" y="115"/>
                </a:cubicBezTo>
                <a:cubicBezTo>
                  <a:pt x="448" y="191"/>
                  <a:pt x="448" y="191"/>
                  <a:pt x="448" y="191"/>
                </a:cubicBezTo>
                <a:cubicBezTo>
                  <a:pt x="119" y="191"/>
                  <a:pt x="119" y="191"/>
                  <a:pt x="119" y="191"/>
                </a:cubicBezTo>
                <a:cubicBezTo>
                  <a:pt x="111" y="191"/>
                  <a:pt x="104" y="184"/>
                  <a:pt x="104" y="176"/>
                </a:cubicBezTo>
                <a:cubicBezTo>
                  <a:pt x="104" y="122"/>
                  <a:pt x="104" y="122"/>
                  <a:pt x="104" y="122"/>
                </a:cubicBezTo>
                <a:cubicBezTo>
                  <a:pt x="104" y="112"/>
                  <a:pt x="114" y="109"/>
                  <a:pt x="121" y="107"/>
                </a:cubicBezTo>
                <a:cubicBezTo>
                  <a:pt x="125" y="107"/>
                  <a:pt x="192" y="97"/>
                  <a:pt x="255" y="97"/>
                </a:cubicBezTo>
                <a:cubicBezTo>
                  <a:pt x="293" y="97"/>
                  <a:pt x="360" y="101"/>
                  <a:pt x="394" y="104"/>
                </a:cubicBezTo>
                <a:cubicBezTo>
                  <a:pt x="413" y="105"/>
                  <a:pt x="422" y="90"/>
                  <a:pt x="429" y="78"/>
                </a:cubicBezTo>
                <a:cubicBezTo>
                  <a:pt x="436" y="68"/>
                  <a:pt x="440" y="60"/>
                  <a:pt x="448" y="58"/>
                </a:cubicBezTo>
                <a:cubicBezTo>
                  <a:pt x="448" y="83"/>
                  <a:pt x="448" y="83"/>
                  <a:pt x="448" y="83"/>
                </a:cubicBezTo>
                <a:cubicBezTo>
                  <a:pt x="448" y="88"/>
                  <a:pt x="452" y="91"/>
                  <a:pt x="456" y="91"/>
                </a:cubicBezTo>
                <a:close/>
                <a:moveTo>
                  <a:pt x="16" y="108"/>
                </a:moveTo>
                <a:cubicBezTo>
                  <a:pt x="39" y="109"/>
                  <a:pt x="74" y="115"/>
                  <a:pt x="83" y="129"/>
                </a:cubicBezTo>
                <a:cubicBezTo>
                  <a:pt x="31" y="129"/>
                  <a:pt x="31" y="129"/>
                  <a:pt x="31" y="129"/>
                </a:cubicBezTo>
                <a:cubicBezTo>
                  <a:pt x="25" y="129"/>
                  <a:pt x="20" y="130"/>
                  <a:pt x="16" y="133"/>
                </a:cubicBezTo>
                <a:lnTo>
                  <a:pt x="16" y="108"/>
                </a:lnTo>
                <a:close/>
                <a:moveTo>
                  <a:pt x="119" y="207"/>
                </a:moveTo>
                <a:cubicBezTo>
                  <a:pt x="448" y="207"/>
                  <a:pt x="448" y="207"/>
                  <a:pt x="448" y="207"/>
                </a:cubicBezTo>
                <a:cubicBezTo>
                  <a:pt x="448" y="218"/>
                  <a:pt x="448" y="218"/>
                  <a:pt x="448" y="218"/>
                </a:cubicBezTo>
                <a:cubicBezTo>
                  <a:pt x="448" y="226"/>
                  <a:pt x="442" y="232"/>
                  <a:pt x="434" y="232"/>
                </a:cubicBezTo>
                <a:cubicBezTo>
                  <a:pt x="31" y="232"/>
                  <a:pt x="31" y="232"/>
                  <a:pt x="31" y="232"/>
                </a:cubicBezTo>
                <a:cubicBezTo>
                  <a:pt x="23" y="232"/>
                  <a:pt x="16" y="226"/>
                  <a:pt x="16" y="218"/>
                </a:cubicBezTo>
                <a:cubicBezTo>
                  <a:pt x="16" y="160"/>
                  <a:pt x="16" y="160"/>
                  <a:pt x="16" y="160"/>
                </a:cubicBezTo>
                <a:cubicBezTo>
                  <a:pt x="16" y="152"/>
                  <a:pt x="23" y="145"/>
                  <a:pt x="31" y="145"/>
                </a:cubicBezTo>
                <a:cubicBezTo>
                  <a:pt x="88" y="145"/>
                  <a:pt x="88" y="145"/>
                  <a:pt x="88" y="145"/>
                </a:cubicBezTo>
                <a:cubicBezTo>
                  <a:pt x="88" y="176"/>
                  <a:pt x="88" y="176"/>
                  <a:pt x="88" y="176"/>
                </a:cubicBezTo>
                <a:cubicBezTo>
                  <a:pt x="88" y="193"/>
                  <a:pt x="102" y="207"/>
                  <a:pt x="119" y="207"/>
                </a:cubicBezTo>
                <a:close/>
                <a:moveTo>
                  <a:pt x="114" y="92"/>
                </a:moveTo>
                <a:cubicBezTo>
                  <a:pt x="102" y="96"/>
                  <a:pt x="93" y="103"/>
                  <a:pt x="90" y="113"/>
                </a:cubicBezTo>
                <a:cubicBezTo>
                  <a:pt x="79" y="103"/>
                  <a:pt x="60" y="98"/>
                  <a:pt x="44" y="95"/>
                </a:cubicBezTo>
                <a:cubicBezTo>
                  <a:pt x="42" y="90"/>
                  <a:pt x="41" y="86"/>
                  <a:pt x="41" y="81"/>
                </a:cubicBezTo>
                <a:cubicBezTo>
                  <a:pt x="41" y="60"/>
                  <a:pt x="58" y="43"/>
                  <a:pt x="78" y="43"/>
                </a:cubicBezTo>
                <a:cubicBezTo>
                  <a:pt x="99" y="43"/>
                  <a:pt x="116" y="60"/>
                  <a:pt x="116" y="81"/>
                </a:cubicBezTo>
                <a:cubicBezTo>
                  <a:pt x="116" y="85"/>
                  <a:pt x="115" y="89"/>
                  <a:pt x="114" y="92"/>
                </a:cubicBezTo>
                <a:close/>
              </a:path>
            </a:pathLst>
          </a:custGeom>
          <a:solidFill>
            <a:srgbClr val="FFFFFF"/>
          </a:solidFill>
          <a:ln>
            <a:noFill/>
          </a:ln>
        </p:spPr>
        <p:txBody>
          <a:bodyPr/>
          <a:lstStyle/>
          <a:p>
            <a:endParaRPr lang="sv-SE"/>
          </a:p>
        </p:txBody>
      </p:sp>
      <p:sp>
        <p:nvSpPr>
          <p:cNvPr id="92" name="Freeform 3"/>
          <p:cNvSpPr>
            <a:spLocks noChangeAspect="1" noEditPoints="1"/>
          </p:cNvSpPr>
          <p:nvPr/>
        </p:nvSpPr>
        <p:spPr bwMode="auto">
          <a:xfrm>
            <a:off x="2498503" y="2735533"/>
            <a:ext cx="457274" cy="212213"/>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rgbClr val="FFFFFF"/>
          </a:solidFill>
          <a:ln>
            <a:noFill/>
          </a:ln>
          <a:extLst/>
        </p:spPr>
        <p:txBody>
          <a:bodyPr/>
          <a:lstStyle/>
          <a:p>
            <a:endParaRPr lang="en-US" b="1" dirty="0"/>
          </a:p>
        </p:txBody>
      </p:sp>
      <p:sp>
        <p:nvSpPr>
          <p:cNvPr id="93" name="Freeform 6"/>
          <p:cNvSpPr>
            <a:spLocks noChangeAspect="1" noEditPoints="1"/>
          </p:cNvSpPr>
          <p:nvPr/>
        </p:nvSpPr>
        <p:spPr bwMode="auto">
          <a:xfrm>
            <a:off x="2543518" y="3928029"/>
            <a:ext cx="367245" cy="367638"/>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FFFFFF"/>
          </a:solidFill>
          <a:ln>
            <a:noFill/>
          </a:ln>
        </p:spPr>
        <p:txBody>
          <a:bodyPr/>
          <a:lstStyle/>
          <a:p>
            <a:endParaRPr lang="sv-SE" dirty="0"/>
          </a:p>
        </p:txBody>
      </p:sp>
      <p:cxnSp>
        <p:nvCxnSpPr>
          <p:cNvPr id="94" name="Rak 233"/>
          <p:cNvCxnSpPr>
            <a:cxnSpLocks/>
          </p:cNvCxnSpPr>
          <p:nvPr/>
        </p:nvCxnSpPr>
        <p:spPr bwMode="auto">
          <a:xfrm>
            <a:off x="2344701" y="2497507"/>
            <a:ext cx="0" cy="2577006"/>
          </a:xfrm>
          <a:prstGeom prst="line">
            <a:avLst/>
          </a:prstGeom>
          <a:solidFill>
            <a:schemeClr val="accent1"/>
          </a:solidFill>
          <a:ln w="12700" cap="flat" cmpd="sng" algn="ctr">
            <a:solidFill>
              <a:srgbClr val="FFFFFF"/>
            </a:solidFill>
            <a:prstDash val="solid"/>
            <a:round/>
            <a:headEnd type="none" w="med" len="med"/>
            <a:tailEnd type="none" w="med" len="med"/>
          </a:ln>
          <a:effectLst/>
        </p:spPr>
      </p:cxnSp>
      <p:cxnSp>
        <p:nvCxnSpPr>
          <p:cNvPr id="95" name="Rak 234"/>
          <p:cNvCxnSpPr>
            <a:cxnSpLocks/>
          </p:cNvCxnSpPr>
          <p:nvPr/>
        </p:nvCxnSpPr>
        <p:spPr bwMode="auto">
          <a:xfrm>
            <a:off x="3147581" y="2497507"/>
            <a:ext cx="0" cy="2577006"/>
          </a:xfrm>
          <a:prstGeom prst="line">
            <a:avLst/>
          </a:prstGeom>
          <a:solidFill>
            <a:schemeClr val="accent1"/>
          </a:solidFill>
          <a:ln w="12700" cap="flat" cmpd="sng" algn="ctr">
            <a:solidFill>
              <a:srgbClr val="FFFFFF"/>
            </a:solidFill>
            <a:prstDash val="solid"/>
            <a:round/>
            <a:headEnd type="none" w="med" len="med"/>
            <a:tailEnd type="none" w="med" len="med"/>
          </a:ln>
          <a:effectLst/>
        </p:spPr>
      </p:cxnSp>
      <p:sp>
        <p:nvSpPr>
          <p:cNvPr id="96" name="Freeform 6"/>
          <p:cNvSpPr>
            <a:spLocks noChangeAspect="1" noEditPoints="1"/>
          </p:cNvSpPr>
          <p:nvPr/>
        </p:nvSpPr>
        <p:spPr bwMode="auto">
          <a:xfrm>
            <a:off x="3853176" y="4004656"/>
            <a:ext cx="229703" cy="229950"/>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FFFFFF"/>
          </a:solidFill>
          <a:ln>
            <a:noFill/>
          </a:ln>
        </p:spPr>
        <p:txBody>
          <a:bodyPr/>
          <a:lstStyle/>
          <a:p>
            <a:endParaRPr lang="sv-SE" dirty="0"/>
          </a:p>
        </p:txBody>
      </p:sp>
      <p:sp>
        <p:nvSpPr>
          <p:cNvPr id="97" name="Freeform 3"/>
          <p:cNvSpPr>
            <a:spLocks noChangeAspect="1" noEditPoints="1"/>
          </p:cNvSpPr>
          <p:nvPr/>
        </p:nvSpPr>
        <p:spPr bwMode="auto">
          <a:xfrm>
            <a:off x="6563764" y="4001571"/>
            <a:ext cx="172775" cy="234429"/>
          </a:xfrm>
          <a:custGeom>
            <a:avLst/>
            <a:gdLst>
              <a:gd name="T0" fmla="*/ 2147483647 w 300"/>
              <a:gd name="T1" fmla="*/ 2147483647 h 407"/>
              <a:gd name="T2" fmla="*/ 2147483647 w 300"/>
              <a:gd name="T3" fmla="*/ 0 h 407"/>
              <a:gd name="T4" fmla="*/ 0 w 300"/>
              <a:gd name="T5" fmla="*/ 2147483647 h 407"/>
              <a:gd name="T6" fmla="*/ 2147483647 w 300"/>
              <a:gd name="T7" fmla="*/ 2147483647 h 407"/>
              <a:gd name="T8" fmla="*/ 2147483647 w 300"/>
              <a:gd name="T9" fmla="*/ 2147483647 h 407"/>
              <a:gd name="T10" fmla="*/ 2147483647 w 300"/>
              <a:gd name="T11" fmla="*/ 2147483647 h 407"/>
              <a:gd name="T12" fmla="*/ 2147483647 w 300"/>
              <a:gd name="T13" fmla="*/ 2147483647 h 407"/>
              <a:gd name="T14" fmla="*/ 2147483647 w 300"/>
              <a:gd name="T15" fmla="*/ 2147483647 h 407"/>
              <a:gd name="T16" fmla="*/ 2147483647 w 300"/>
              <a:gd name="T17" fmla="*/ 2147483647 h 407"/>
              <a:gd name="T18" fmla="*/ 2147483647 w 300"/>
              <a:gd name="T19" fmla="*/ 2147483647 h 407"/>
              <a:gd name="T20" fmla="*/ 2147483647 w 300"/>
              <a:gd name="T21" fmla="*/ 2147483647 h 407"/>
              <a:gd name="T22" fmla="*/ 2147483647 w 300"/>
              <a:gd name="T23" fmla="*/ 2147483647 h 407"/>
              <a:gd name="T24" fmla="*/ 2147483647 w 300"/>
              <a:gd name="T25" fmla="*/ 2147483647 h 407"/>
              <a:gd name="T26" fmla="*/ 2147483647 w 300"/>
              <a:gd name="T27" fmla="*/ 2147483647 h 407"/>
              <a:gd name="T28" fmla="*/ 2147483647 w 300"/>
              <a:gd name="T29" fmla="*/ 2147483647 h 407"/>
              <a:gd name="T30" fmla="*/ 2147483647 w 300"/>
              <a:gd name="T31" fmla="*/ 2147483647 h 407"/>
              <a:gd name="T32" fmla="*/ 2147483647 w 300"/>
              <a:gd name="T33" fmla="*/ 2147483647 h 407"/>
              <a:gd name="T34" fmla="*/ 2147483647 w 300"/>
              <a:gd name="T35" fmla="*/ 2147483647 h 407"/>
              <a:gd name="T36" fmla="*/ 2147483647 w 300"/>
              <a:gd name="T37" fmla="*/ 2147483647 h 407"/>
              <a:gd name="T38" fmla="*/ 2147483647 w 300"/>
              <a:gd name="T39" fmla="*/ 2147483647 h 407"/>
              <a:gd name="T40" fmla="*/ 2147483647 w 300"/>
              <a:gd name="T41" fmla="*/ 2147483647 h 407"/>
              <a:gd name="T42" fmla="*/ 2147483647 w 300"/>
              <a:gd name="T43" fmla="*/ 2147483647 h 407"/>
              <a:gd name="T44" fmla="*/ 2147483647 w 300"/>
              <a:gd name="T45" fmla="*/ 2147483647 h 407"/>
              <a:gd name="T46" fmla="*/ 2147483647 w 300"/>
              <a:gd name="T47" fmla="*/ 2147483647 h 407"/>
              <a:gd name="T48" fmla="*/ 2147483647 w 300"/>
              <a:gd name="T49" fmla="*/ 2147483647 h 407"/>
              <a:gd name="T50" fmla="*/ 2147483647 w 300"/>
              <a:gd name="T51" fmla="*/ 2147483647 h 407"/>
              <a:gd name="T52" fmla="*/ 2147483647 w 300"/>
              <a:gd name="T53" fmla="*/ 2147483647 h 407"/>
              <a:gd name="T54" fmla="*/ 2147483647 w 300"/>
              <a:gd name="T55" fmla="*/ 2147483647 h 407"/>
              <a:gd name="T56" fmla="*/ 2147483647 w 300"/>
              <a:gd name="T57" fmla="*/ 2147483647 h 407"/>
              <a:gd name="T58" fmla="*/ 2147483647 w 300"/>
              <a:gd name="T59" fmla="*/ 2147483647 h 407"/>
              <a:gd name="T60" fmla="*/ 2147483647 w 300"/>
              <a:gd name="T61" fmla="*/ 2147483647 h 407"/>
              <a:gd name="T62" fmla="*/ 2147483647 w 300"/>
              <a:gd name="T63" fmla="*/ 2147483647 h 407"/>
              <a:gd name="T64" fmla="*/ 2147483647 w 300"/>
              <a:gd name="T65" fmla="*/ 2147483647 h 407"/>
              <a:gd name="T66" fmla="*/ 2147483647 w 300"/>
              <a:gd name="T67" fmla="*/ 2147483647 h 407"/>
              <a:gd name="T68" fmla="*/ 2147483647 w 300"/>
              <a:gd name="T69" fmla="*/ 2147483647 h 4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00" h="407">
                <a:moveTo>
                  <a:pt x="292" y="57"/>
                </a:moveTo>
                <a:cubicBezTo>
                  <a:pt x="297" y="57"/>
                  <a:pt x="300" y="54"/>
                  <a:pt x="300" y="49"/>
                </a:cubicBezTo>
                <a:cubicBezTo>
                  <a:pt x="300" y="31"/>
                  <a:pt x="300" y="31"/>
                  <a:pt x="300" y="31"/>
                </a:cubicBezTo>
                <a:cubicBezTo>
                  <a:pt x="300" y="19"/>
                  <a:pt x="292" y="0"/>
                  <a:pt x="269" y="0"/>
                </a:cubicBezTo>
                <a:cubicBezTo>
                  <a:pt x="31" y="0"/>
                  <a:pt x="31" y="0"/>
                  <a:pt x="31" y="0"/>
                </a:cubicBezTo>
                <a:cubicBezTo>
                  <a:pt x="19" y="0"/>
                  <a:pt x="0" y="8"/>
                  <a:pt x="0" y="31"/>
                </a:cubicBezTo>
                <a:cubicBezTo>
                  <a:pt x="0" y="377"/>
                  <a:pt x="0" y="377"/>
                  <a:pt x="0" y="377"/>
                </a:cubicBezTo>
                <a:cubicBezTo>
                  <a:pt x="0" y="389"/>
                  <a:pt x="8" y="407"/>
                  <a:pt x="31" y="407"/>
                </a:cubicBezTo>
                <a:cubicBezTo>
                  <a:pt x="269" y="407"/>
                  <a:pt x="269" y="407"/>
                  <a:pt x="269" y="407"/>
                </a:cubicBezTo>
                <a:cubicBezTo>
                  <a:pt x="282" y="407"/>
                  <a:pt x="300" y="399"/>
                  <a:pt x="300" y="377"/>
                </a:cubicBezTo>
                <a:cubicBezTo>
                  <a:pt x="300" y="81"/>
                  <a:pt x="300" y="81"/>
                  <a:pt x="300" y="81"/>
                </a:cubicBezTo>
                <a:cubicBezTo>
                  <a:pt x="300" y="76"/>
                  <a:pt x="297" y="73"/>
                  <a:pt x="292" y="73"/>
                </a:cubicBezTo>
                <a:cubicBezTo>
                  <a:pt x="288" y="73"/>
                  <a:pt x="284" y="76"/>
                  <a:pt x="284" y="81"/>
                </a:cubicBezTo>
                <a:cubicBezTo>
                  <a:pt x="284" y="377"/>
                  <a:pt x="284" y="377"/>
                  <a:pt x="284" y="377"/>
                </a:cubicBezTo>
                <a:cubicBezTo>
                  <a:pt x="284" y="390"/>
                  <a:pt x="273" y="391"/>
                  <a:pt x="269" y="391"/>
                </a:cubicBezTo>
                <a:cubicBezTo>
                  <a:pt x="31" y="391"/>
                  <a:pt x="31" y="391"/>
                  <a:pt x="31" y="391"/>
                </a:cubicBezTo>
                <a:cubicBezTo>
                  <a:pt x="17" y="391"/>
                  <a:pt x="16" y="380"/>
                  <a:pt x="16" y="377"/>
                </a:cubicBezTo>
                <a:cubicBezTo>
                  <a:pt x="16" y="31"/>
                  <a:pt x="16" y="31"/>
                  <a:pt x="16" y="31"/>
                </a:cubicBezTo>
                <a:cubicBezTo>
                  <a:pt x="16" y="17"/>
                  <a:pt x="28" y="16"/>
                  <a:pt x="31" y="16"/>
                </a:cubicBezTo>
                <a:cubicBezTo>
                  <a:pt x="269" y="16"/>
                  <a:pt x="269" y="16"/>
                  <a:pt x="269" y="16"/>
                </a:cubicBezTo>
                <a:cubicBezTo>
                  <a:pt x="283" y="16"/>
                  <a:pt x="284" y="28"/>
                  <a:pt x="284" y="31"/>
                </a:cubicBezTo>
                <a:cubicBezTo>
                  <a:pt x="284" y="49"/>
                  <a:pt x="284" y="49"/>
                  <a:pt x="284" y="49"/>
                </a:cubicBezTo>
                <a:cubicBezTo>
                  <a:pt x="284" y="54"/>
                  <a:pt x="288" y="57"/>
                  <a:pt x="292" y="57"/>
                </a:cubicBezTo>
                <a:close/>
                <a:moveTo>
                  <a:pt x="232" y="303"/>
                </a:moveTo>
                <a:cubicBezTo>
                  <a:pt x="68" y="303"/>
                  <a:pt x="68" y="303"/>
                  <a:pt x="68" y="303"/>
                </a:cubicBezTo>
                <a:cubicBezTo>
                  <a:pt x="64" y="303"/>
                  <a:pt x="60" y="307"/>
                  <a:pt x="60" y="311"/>
                </a:cubicBezTo>
                <a:cubicBezTo>
                  <a:pt x="60" y="315"/>
                  <a:pt x="64" y="319"/>
                  <a:pt x="68" y="319"/>
                </a:cubicBezTo>
                <a:cubicBezTo>
                  <a:pt x="232" y="319"/>
                  <a:pt x="232" y="319"/>
                  <a:pt x="232" y="319"/>
                </a:cubicBezTo>
                <a:cubicBezTo>
                  <a:pt x="236" y="319"/>
                  <a:pt x="240" y="315"/>
                  <a:pt x="240" y="311"/>
                </a:cubicBezTo>
                <a:cubicBezTo>
                  <a:pt x="240" y="307"/>
                  <a:pt x="236" y="303"/>
                  <a:pt x="232" y="303"/>
                </a:cubicBezTo>
                <a:close/>
                <a:moveTo>
                  <a:pt x="150" y="226"/>
                </a:moveTo>
                <a:cubicBezTo>
                  <a:pt x="199" y="226"/>
                  <a:pt x="240" y="185"/>
                  <a:pt x="240" y="136"/>
                </a:cubicBezTo>
                <a:cubicBezTo>
                  <a:pt x="240" y="121"/>
                  <a:pt x="236" y="107"/>
                  <a:pt x="229" y="95"/>
                </a:cubicBezTo>
                <a:cubicBezTo>
                  <a:pt x="229" y="95"/>
                  <a:pt x="229" y="95"/>
                  <a:pt x="229" y="94"/>
                </a:cubicBezTo>
                <a:cubicBezTo>
                  <a:pt x="229" y="94"/>
                  <a:pt x="229" y="94"/>
                  <a:pt x="229" y="94"/>
                </a:cubicBezTo>
                <a:cubicBezTo>
                  <a:pt x="214" y="66"/>
                  <a:pt x="184" y="47"/>
                  <a:pt x="150" y="47"/>
                </a:cubicBezTo>
                <a:cubicBezTo>
                  <a:pt x="101" y="47"/>
                  <a:pt x="61" y="87"/>
                  <a:pt x="61" y="136"/>
                </a:cubicBezTo>
                <a:cubicBezTo>
                  <a:pt x="61" y="185"/>
                  <a:pt x="101" y="226"/>
                  <a:pt x="150" y="226"/>
                </a:cubicBezTo>
                <a:close/>
                <a:moveTo>
                  <a:pt x="218" y="109"/>
                </a:moveTo>
                <a:cubicBezTo>
                  <a:pt x="222" y="118"/>
                  <a:pt x="224" y="127"/>
                  <a:pt x="224" y="136"/>
                </a:cubicBezTo>
                <a:cubicBezTo>
                  <a:pt x="224" y="148"/>
                  <a:pt x="221" y="159"/>
                  <a:pt x="216" y="169"/>
                </a:cubicBezTo>
                <a:cubicBezTo>
                  <a:pt x="167" y="137"/>
                  <a:pt x="167" y="137"/>
                  <a:pt x="167" y="137"/>
                </a:cubicBezTo>
                <a:lnTo>
                  <a:pt x="218" y="109"/>
                </a:lnTo>
                <a:close/>
                <a:moveTo>
                  <a:pt x="143" y="63"/>
                </a:moveTo>
                <a:cubicBezTo>
                  <a:pt x="143" y="136"/>
                  <a:pt x="143" y="136"/>
                  <a:pt x="143" y="136"/>
                </a:cubicBezTo>
                <a:cubicBezTo>
                  <a:pt x="143" y="136"/>
                  <a:pt x="143" y="137"/>
                  <a:pt x="143" y="137"/>
                </a:cubicBezTo>
                <a:cubicBezTo>
                  <a:pt x="143" y="137"/>
                  <a:pt x="143" y="138"/>
                  <a:pt x="143" y="138"/>
                </a:cubicBezTo>
                <a:cubicBezTo>
                  <a:pt x="144" y="138"/>
                  <a:pt x="144" y="139"/>
                  <a:pt x="144" y="139"/>
                </a:cubicBezTo>
                <a:cubicBezTo>
                  <a:pt x="144" y="139"/>
                  <a:pt x="144" y="140"/>
                  <a:pt x="144" y="140"/>
                </a:cubicBezTo>
                <a:cubicBezTo>
                  <a:pt x="144" y="140"/>
                  <a:pt x="145" y="141"/>
                  <a:pt x="145" y="141"/>
                </a:cubicBezTo>
                <a:cubicBezTo>
                  <a:pt x="145" y="141"/>
                  <a:pt x="145" y="141"/>
                  <a:pt x="145" y="142"/>
                </a:cubicBezTo>
                <a:cubicBezTo>
                  <a:pt x="146" y="142"/>
                  <a:pt x="146" y="142"/>
                  <a:pt x="146" y="142"/>
                </a:cubicBezTo>
                <a:cubicBezTo>
                  <a:pt x="146" y="142"/>
                  <a:pt x="147" y="143"/>
                  <a:pt x="147" y="143"/>
                </a:cubicBezTo>
                <a:cubicBezTo>
                  <a:pt x="207" y="183"/>
                  <a:pt x="207" y="183"/>
                  <a:pt x="207" y="183"/>
                </a:cubicBezTo>
                <a:cubicBezTo>
                  <a:pt x="193" y="199"/>
                  <a:pt x="173" y="210"/>
                  <a:pt x="150" y="210"/>
                </a:cubicBezTo>
                <a:cubicBezTo>
                  <a:pt x="110" y="210"/>
                  <a:pt x="77" y="177"/>
                  <a:pt x="77" y="136"/>
                </a:cubicBezTo>
                <a:cubicBezTo>
                  <a:pt x="77" y="98"/>
                  <a:pt x="106" y="67"/>
                  <a:pt x="143" y="63"/>
                </a:cubicBezTo>
                <a:close/>
                <a:moveTo>
                  <a:pt x="232" y="347"/>
                </a:moveTo>
                <a:cubicBezTo>
                  <a:pt x="68" y="347"/>
                  <a:pt x="68" y="347"/>
                  <a:pt x="68" y="347"/>
                </a:cubicBezTo>
                <a:cubicBezTo>
                  <a:pt x="64" y="347"/>
                  <a:pt x="60" y="351"/>
                  <a:pt x="60" y="355"/>
                </a:cubicBezTo>
                <a:cubicBezTo>
                  <a:pt x="60" y="360"/>
                  <a:pt x="64" y="363"/>
                  <a:pt x="68" y="363"/>
                </a:cubicBezTo>
                <a:cubicBezTo>
                  <a:pt x="232" y="363"/>
                  <a:pt x="232" y="363"/>
                  <a:pt x="232" y="363"/>
                </a:cubicBezTo>
                <a:cubicBezTo>
                  <a:pt x="236" y="363"/>
                  <a:pt x="240" y="360"/>
                  <a:pt x="240" y="355"/>
                </a:cubicBezTo>
                <a:cubicBezTo>
                  <a:pt x="240" y="351"/>
                  <a:pt x="236" y="347"/>
                  <a:pt x="232" y="347"/>
                </a:cubicBezTo>
                <a:close/>
                <a:moveTo>
                  <a:pt x="232" y="259"/>
                </a:moveTo>
                <a:cubicBezTo>
                  <a:pt x="68" y="259"/>
                  <a:pt x="68" y="259"/>
                  <a:pt x="68" y="259"/>
                </a:cubicBezTo>
                <a:cubicBezTo>
                  <a:pt x="64" y="259"/>
                  <a:pt x="60" y="263"/>
                  <a:pt x="60" y="267"/>
                </a:cubicBezTo>
                <a:cubicBezTo>
                  <a:pt x="60" y="272"/>
                  <a:pt x="64" y="275"/>
                  <a:pt x="68" y="275"/>
                </a:cubicBezTo>
                <a:cubicBezTo>
                  <a:pt x="232" y="275"/>
                  <a:pt x="232" y="275"/>
                  <a:pt x="232" y="275"/>
                </a:cubicBezTo>
                <a:cubicBezTo>
                  <a:pt x="236" y="275"/>
                  <a:pt x="240" y="272"/>
                  <a:pt x="240" y="267"/>
                </a:cubicBezTo>
                <a:cubicBezTo>
                  <a:pt x="240" y="263"/>
                  <a:pt x="236" y="259"/>
                  <a:pt x="232" y="259"/>
                </a:cubicBezTo>
                <a:close/>
              </a:path>
            </a:pathLst>
          </a:custGeom>
          <a:solidFill>
            <a:srgbClr val="FFFFFF"/>
          </a:solidFill>
          <a:ln>
            <a:noFill/>
          </a:ln>
        </p:spPr>
        <p:txBody>
          <a:bodyPr/>
          <a:lstStyle/>
          <a:p>
            <a:endParaRPr lang="sv-SE"/>
          </a:p>
        </p:txBody>
      </p:sp>
      <p:grpSp>
        <p:nvGrpSpPr>
          <p:cNvPr id="98" name="Grupp 251"/>
          <p:cNvGrpSpPr/>
          <p:nvPr/>
        </p:nvGrpSpPr>
        <p:grpSpPr>
          <a:xfrm>
            <a:off x="9091982" y="4023718"/>
            <a:ext cx="279216" cy="174182"/>
            <a:chOff x="9033811" y="3671305"/>
            <a:chExt cx="279216" cy="174182"/>
          </a:xfrm>
        </p:grpSpPr>
        <p:sp>
          <p:nvSpPr>
            <p:cNvPr id="99" name="Rektangel med rundade hörn 244"/>
            <p:cNvSpPr/>
            <p:nvPr/>
          </p:nvSpPr>
          <p:spPr bwMode="auto">
            <a:xfrm>
              <a:off x="9033811" y="3671306"/>
              <a:ext cx="275528" cy="174181"/>
            </a:xfrm>
            <a:prstGeom prst="roundRect">
              <a:avLst/>
            </a:prstGeom>
            <a:noFill/>
            <a:ln w="9525" cap="flat" cmpd="sng" algn="ctr">
              <a:solidFill>
                <a:schemeClr val="bg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effectLst/>
                <a:latin typeface="Arial" charset="0"/>
              </a:endParaRPr>
            </a:p>
          </p:txBody>
        </p:sp>
        <p:sp>
          <p:nvSpPr>
            <p:cNvPr id="100" name="textruta 214"/>
            <p:cNvSpPr txBox="1"/>
            <p:nvPr/>
          </p:nvSpPr>
          <p:spPr>
            <a:xfrm>
              <a:off x="9037499" y="3671305"/>
              <a:ext cx="275528" cy="169667"/>
            </a:xfrm>
            <a:prstGeom prst="rect">
              <a:avLst/>
            </a:prstGeom>
            <a:noFill/>
          </p:spPr>
          <p:txBody>
            <a:bodyPr wrap="square" lIns="0" tIns="0" rIns="0" bIns="0" rtlCol="0" anchor="ctr" anchorCtr="0">
              <a:noAutofit/>
            </a:bodyPr>
            <a:lstStyle/>
            <a:p>
              <a:pPr algn="ctr"/>
              <a:r>
                <a:rPr lang="en-US" sz="900" dirty="0">
                  <a:latin typeface="Arial" panose="020B0604020202020204" pitchFamily="34" charset="0"/>
                  <a:cs typeface="Arial" panose="020B0604020202020204" pitchFamily="34" charset="0"/>
                </a:rPr>
                <a:t>AI</a:t>
              </a:r>
            </a:p>
          </p:txBody>
        </p:sp>
      </p:grpSp>
      <p:sp>
        <p:nvSpPr>
          <p:cNvPr id="101" name="Freeform 13"/>
          <p:cNvSpPr>
            <a:spLocks noChangeAspect="1" noEditPoints="1"/>
          </p:cNvSpPr>
          <p:nvPr/>
        </p:nvSpPr>
        <p:spPr bwMode="auto">
          <a:xfrm>
            <a:off x="9459185" y="4032006"/>
            <a:ext cx="272829" cy="159059"/>
          </a:xfrm>
          <a:custGeom>
            <a:avLst/>
            <a:gdLst>
              <a:gd name="T0" fmla="*/ 2147483646 w 625"/>
              <a:gd name="T1" fmla="*/ 2147483646 h 365"/>
              <a:gd name="T2" fmla="*/ 2147483646 w 625"/>
              <a:gd name="T3" fmla="*/ 2147483646 h 365"/>
              <a:gd name="T4" fmla="*/ 2147483646 w 625"/>
              <a:gd name="T5" fmla="*/ 2147483646 h 365"/>
              <a:gd name="T6" fmla="*/ 2147483646 w 625"/>
              <a:gd name="T7" fmla="*/ 2147483646 h 365"/>
              <a:gd name="T8" fmla="*/ 2147483646 w 625"/>
              <a:gd name="T9" fmla="*/ 2147483646 h 365"/>
              <a:gd name="T10" fmla="*/ 2147483646 w 625"/>
              <a:gd name="T11" fmla="*/ 2147483646 h 365"/>
              <a:gd name="T12" fmla="*/ 2147483646 w 625"/>
              <a:gd name="T13" fmla="*/ 2147483646 h 365"/>
              <a:gd name="T14" fmla="*/ 2147483646 w 625"/>
              <a:gd name="T15" fmla="*/ 2147483646 h 365"/>
              <a:gd name="T16" fmla="*/ 2147483646 w 625"/>
              <a:gd name="T17" fmla="*/ 2147483646 h 365"/>
              <a:gd name="T18" fmla="*/ 2147483646 w 625"/>
              <a:gd name="T19" fmla="*/ 2147483646 h 365"/>
              <a:gd name="T20" fmla="*/ 2147483646 w 625"/>
              <a:gd name="T21" fmla="*/ 2147483646 h 365"/>
              <a:gd name="T22" fmla="*/ 2147483646 w 625"/>
              <a:gd name="T23" fmla="*/ 2147483646 h 365"/>
              <a:gd name="T24" fmla="*/ 2147483646 w 625"/>
              <a:gd name="T25" fmla="*/ 2147483646 h 365"/>
              <a:gd name="T26" fmla="*/ 0 w 625"/>
              <a:gd name="T27" fmla="*/ 2147483646 h 365"/>
              <a:gd name="T28" fmla="*/ 2147483646 w 625"/>
              <a:gd name="T29" fmla="*/ 2147483646 h 365"/>
              <a:gd name="T30" fmla="*/ 2147483646 w 625"/>
              <a:gd name="T31" fmla="*/ 2147483646 h 365"/>
              <a:gd name="T32" fmla="*/ 2147483646 w 625"/>
              <a:gd name="T33" fmla="*/ 2147483646 h 365"/>
              <a:gd name="T34" fmla="*/ 2147483646 w 625"/>
              <a:gd name="T35" fmla="*/ 0 h 365"/>
              <a:gd name="T36" fmla="*/ 2147483646 w 625"/>
              <a:gd name="T37" fmla="*/ 2147483646 h 365"/>
              <a:gd name="T38" fmla="*/ 2147483646 w 625"/>
              <a:gd name="T39" fmla="*/ 2147483646 h 365"/>
              <a:gd name="T40" fmla="*/ 2147483646 w 625"/>
              <a:gd name="T41" fmla="*/ 2147483646 h 365"/>
              <a:gd name="T42" fmla="*/ 2147483646 w 625"/>
              <a:gd name="T43" fmla="*/ 2147483646 h 365"/>
              <a:gd name="T44" fmla="*/ 2147483646 w 625"/>
              <a:gd name="T45" fmla="*/ 2147483646 h 365"/>
              <a:gd name="T46" fmla="*/ 2147483646 w 625"/>
              <a:gd name="T47" fmla="*/ 2147483646 h 365"/>
              <a:gd name="T48" fmla="*/ 2147483646 w 625"/>
              <a:gd name="T49" fmla="*/ 2147483646 h 365"/>
              <a:gd name="T50" fmla="*/ 2147483646 w 625"/>
              <a:gd name="T51" fmla="*/ 2147483646 h 365"/>
              <a:gd name="T52" fmla="*/ 2147483646 w 625"/>
              <a:gd name="T53" fmla="*/ 2147483646 h 365"/>
              <a:gd name="T54" fmla="*/ 2147483646 w 625"/>
              <a:gd name="T55" fmla="*/ 2147483646 h 365"/>
              <a:gd name="T56" fmla="*/ 2147483646 w 625"/>
              <a:gd name="T57" fmla="*/ 2147483646 h 365"/>
              <a:gd name="T58" fmla="*/ 2147483646 w 625"/>
              <a:gd name="T59" fmla="*/ 2147483646 h 365"/>
              <a:gd name="T60" fmla="*/ 2147483646 w 625"/>
              <a:gd name="T61" fmla="*/ 2147483646 h 365"/>
              <a:gd name="T62" fmla="*/ 2147483646 w 625"/>
              <a:gd name="T63" fmla="*/ 2147483646 h 365"/>
              <a:gd name="T64" fmla="*/ 2147483646 w 625"/>
              <a:gd name="T65" fmla="*/ 2147483646 h 365"/>
              <a:gd name="T66" fmla="*/ 2147483646 w 625"/>
              <a:gd name="T67" fmla="*/ 2147483646 h 365"/>
              <a:gd name="T68" fmla="*/ 2147483646 w 625"/>
              <a:gd name="T69" fmla="*/ 2147483646 h 365"/>
              <a:gd name="T70" fmla="*/ 2147483646 w 625"/>
              <a:gd name="T71" fmla="*/ 2147483646 h 365"/>
              <a:gd name="T72" fmla="*/ 2147483646 w 625"/>
              <a:gd name="T73" fmla="*/ 2147483646 h 365"/>
              <a:gd name="T74" fmla="*/ 2147483646 w 625"/>
              <a:gd name="T75" fmla="*/ 2147483646 h 365"/>
              <a:gd name="T76" fmla="*/ 2147483646 w 625"/>
              <a:gd name="T77" fmla="*/ 2147483646 h 365"/>
              <a:gd name="T78" fmla="*/ 2147483646 w 625"/>
              <a:gd name="T79" fmla="*/ 2147483646 h 365"/>
              <a:gd name="T80" fmla="*/ 2147483646 w 625"/>
              <a:gd name="T81" fmla="*/ 2147483646 h 365"/>
              <a:gd name="T82" fmla="*/ 2147483646 w 625"/>
              <a:gd name="T83" fmla="*/ 2147483646 h 365"/>
              <a:gd name="T84" fmla="*/ 2147483646 w 625"/>
              <a:gd name="T85" fmla="*/ 2147483646 h 365"/>
              <a:gd name="T86" fmla="*/ 2147483646 w 625"/>
              <a:gd name="T87" fmla="*/ 2147483646 h 365"/>
              <a:gd name="T88" fmla="*/ 2147483646 w 625"/>
              <a:gd name="T89" fmla="*/ 2147483646 h 365"/>
              <a:gd name="T90" fmla="*/ 2147483646 w 625"/>
              <a:gd name="T91" fmla="*/ 2147483646 h 365"/>
              <a:gd name="T92" fmla="*/ 2147483646 w 625"/>
              <a:gd name="T93" fmla="*/ 2147483646 h 365"/>
              <a:gd name="T94" fmla="*/ 2147483646 w 625"/>
              <a:gd name="T95" fmla="*/ 2147483646 h 365"/>
              <a:gd name="T96" fmla="*/ 2147483646 w 625"/>
              <a:gd name="T97" fmla="*/ 2147483646 h 365"/>
              <a:gd name="T98" fmla="*/ 2147483646 w 625"/>
              <a:gd name="T99" fmla="*/ 2147483646 h 365"/>
              <a:gd name="T100" fmla="*/ 2147483646 w 625"/>
              <a:gd name="T101" fmla="*/ 2147483646 h 365"/>
              <a:gd name="T102" fmla="*/ 2147483646 w 625"/>
              <a:gd name="T103" fmla="*/ 2147483646 h 365"/>
              <a:gd name="T104" fmla="*/ 2147483646 w 625"/>
              <a:gd name="T105" fmla="*/ 2147483646 h 365"/>
              <a:gd name="T106" fmla="*/ 2147483646 w 625"/>
              <a:gd name="T107" fmla="*/ 2147483646 h 365"/>
              <a:gd name="T108" fmla="*/ 2147483646 w 625"/>
              <a:gd name="T109" fmla="*/ 2147483646 h 365"/>
              <a:gd name="T110" fmla="*/ 2147483646 w 625"/>
              <a:gd name="T111" fmla="*/ 2147483646 h 365"/>
              <a:gd name="T112" fmla="*/ 2147483646 w 625"/>
              <a:gd name="T113" fmla="*/ 2147483646 h 365"/>
              <a:gd name="T114" fmla="*/ 2147483646 w 625"/>
              <a:gd name="T115" fmla="*/ 2147483646 h 365"/>
              <a:gd name="T116" fmla="*/ 2147483646 w 625"/>
              <a:gd name="T117" fmla="*/ 2147483646 h 3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25" h="365">
                <a:moveTo>
                  <a:pt x="364" y="183"/>
                </a:moveTo>
                <a:cubicBezTo>
                  <a:pt x="364" y="211"/>
                  <a:pt x="341" y="234"/>
                  <a:pt x="312" y="234"/>
                </a:cubicBezTo>
                <a:cubicBezTo>
                  <a:pt x="283" y="234"/>
                  <a:pt x="260" y="211"/>
                  <a:pt x="260" y="183"/>
                </a:cubicBezTo>
                <a:cubicBezTo>
                  <a:pt x="260" y="154"/>
                  <a:pt x="283" y="131"/>
                  <a:pt x="312" y="131"/>
                </a:cubicBezTo>
                <a:cubicBezTo>
                  <a:pt x="341" y="131"/>
                  <a:pt x="364" y="154"/>
                  <a:pt x="364" y="183"/>
                </a:cubicBezTo>
                <a:close/>
                <a:moveTo>
                  <a:pt x="625" y="184"/>
                </a:moveTo>
                <a:cubicBezTo>
                  <a:pt x="625" y="191"/>
                  <a:pt x="621" y="195"/>
                  <a:pt x="616" y="200"/>
                </a:cubicBezTo>
                <a:cubicBezTo>
                  <a:pt x="614" y="202"/>
                  <a:pt x="612" y="203"/>
                  <a:pt x="611" y="205"/>
                </a:cubicBezTo>
                <a:cubicBezTo>
                  <a:pt x="491" y="328"/>
                  <a:pt x="392" y="360"/>
                  <a:pt x="331" y="364"/>
                </a:cubicBezTo>
                <a:cubicBezTo>
                  <a:pt x="331" y="364"/>
                  <a:pt x="317" y="365"/>
                  <a:pt x="312" y="365"/>
                </a:cubicBezTo>
                <a:cubicBezTo>
                  <a:pt x="304" y="365"/>
                  <a:pt x="295" y="364"/>
                  <a:pt x="285" y="362"/>
                </a:cubicBezTo>
                <a:cubicBezTo>
                  <a:pt x="224" y="355"/>
                  <a:pt x="128" y="322"/>
                  <a:pt x="15" y="204"/>
                </a:cubicBezTo>
                <a:cubicBezTo>
                  <a:pt x="13" y="203"/>
                  <a:pt x="12" y="201"/>
                  <a:pt x="10" y="200"/>
                </a:cubicBezTo>
                <a:cubicBezTo>
                  <a:pt x="5" y="194"/>
                  <a:pt x="0" y="190"/>
                  <a:pt x="0" y="181"/>
                </a:cubicBezTo>
                <a:cubicBezTo>
                  <a:pt x="0" y="174"/>
                  <a:pt x="4" y="170"/>
                  <a:pt x="9" y="165"/>
                </a:cubicBezTo>
                <a:cubicBezTo>
                  <a:pt x="11" y="164"/>
                  <a:pt x="13" y="162"/>
                  <a:pt x="15" y="160"/>
                </a:cubicBezTo>
                <a:cubicBezTo>
                  <a:pt x="134" y="37"/>
                  <a:pt x="233" y="5"/>
                  <a:pt x="294" y="1"/>
                </a:cubicBezTo>
                <a:cubicBezTo>
                  <a:pt x="294" y="1"/>
                  <a:pt x="307" y="0"/>
                  <a:pt x="312" y="0"/>
                </a:cubicBezTo>
                <a:cubicBezTo>
                  <a:pt x="319" y="0"/>
                  <a:pt x="327" y="1"/>
                  <a:pt x="337" y="2"/>
                </a:cubicBezTo>
                <a:cubicBezTo>
                  <a:pt x="400" y="9"/>
                  <a:pt x="469" y="41"/>
                  <a:pt x="536" y="94"/>
                </a:cubicBezTo>
                <a:cubicBezTo>
                  <a:pt x="538" y="95"/>
                  <a:pt x="538" y="95"/>
                  <a:pt x="538" y="95"/>
                </a:cubicBezTo>
                <a:cubicBezTo>
                  <a:pt x="543" y="100"/>
                  <a:pt x="544" y="108"/>
                  <a:pt x="539" y="113"/>
                </a:cubicBezTo>
                <a:cubicBezTo>
                  <a:pt x="537" y="116"/>
                  <a:pt x="533" y="118"/>
                  <a:pt x="529" y="118"/>
                </a:cubicBezTo>
                <a:cubicBezTo>
                  <a:pt x="526" y="118"/>
                  <a:pt x="523" y="117"/>
                  <a:pt x="521" y="115"/>
                </a:cubicBezTo>
                <a:cubicBezTo>
                  <a:pt x="518" y="113"/>
                  <a:pt x="518" y="113"/>
                  <a:pt x="518" y="113"/>
                </a:cubicBezTo>
                <a:cubicBezTo>
                  <a:pt x="501" y="100"/>
                  <a:pt x="484" y="88"/>
                  <a:pt x="467" y="77"/>
                </a:cubicBezTo>
                <a:cubicBezTo>
                  <a:pt x="457" y="71"/>
                  <a:pt x="457" y="71"/>
                  <a:pt x="457" y="71"/>
                </a:cubicBezTo>
                <a:cubicBezTo>
                  <a:pt x="463" y="81"/>
                  <a:pt x="463" y="81"/>
                  <a:pt x="463" y="81"/>
                </a:cubicBezTo>
                <a:cubicBezTo>
                  <a:pt x="483" y="111"/>
                  <a:pt x="494" y="146"/>
                  <a:pt x="494" y="183"/>
                </a:cubicBezTo>
                <a:cubicBezTo>
                  <a:pt x="494" y="219"/>
                  <a:pt x="483" y="255"/>
                  <a:pt x="462" y="285"/>
                </a:cubicBezTo>
                <a:cubicBezTo>
                  <a:pt x="456" y="295"/>
                  <a:pt x="456" y="295"/>
                  <a:pt x="456" y="295"/>
                </a:cubicBezTo>
                <a:cubicBezTo>
                  <a:pt x="466" y="289"/>
                  <a:pt x="466" y="289"/>
                  <a:pt x="466" y="289"/>
                </a:cubicBezTo>
                <a:cubicBezTo>
                  <a:pt x="508" y="263"/>
                  <a:pt x="551" y="228"/>
                  <a:pt x="593" y="185"/>
                </a:cubicBezTo>
                <a:cubicBezTo>
                  <a:pt x="594" y="183"/>
                  <a:pt x="594" y="183"/>
                  <a:pt x="594" y="183"/>
                </a:cubicBezTo>
                <a:cubicBezTo>
                  <a:pt x="593" y="181"/>
                  <a:pt x="593" y="181"/>
                  <a:pt x="593" y="181"/>
                </a:cubicBezTo>
                <a:cubicBezTo>
                  <a:pt x="585" y="174"/>
                  <a:pt x="571" y="159"/>
                  <a:pt x="563" y="151"/>
                </a:cubicBezTo>
                <a:cubicBezTo>
                  <a:pt x="561" y="149"/>
                  <a:pt x="561" y="149"/>
                  <a:pt x="561" y="149"/>
                </a:cubicBezTo>
                <a:cubicBezTo>
                  <a:pt x="556" y="144"/>
                  <a:pt x="555" y="136"/>
                  <a:pt x="560" y="131"/>
                </a:cubicBezTo>
                <a:cubicBezTo>
                  <a:pt x="564" y="126"/>
                  <a:pt x="573" y="125"/>
                  <a:pt x="578" y="129"/>
                </a:cubicBezTo>
                <a:cubicBezTo>
                  <a:pt x="578" y="129"/>
                  <a:pt x="580" y="131"/>
                  <a:pt x="580" y="131"/>
                </a:cubicBezTo>
                <a:cubicBezTo>
                  <a:pt x="588" y="138"/>
                  <a:pt x="603" y="154"/>
                  <a:pt x="611" y="161"/>
                </a:cubicBezTo>
                <a:cubicBezTo>
                  <a:pt x="612" y="163"/>
                  <a:pt x="613" y="164"/>
                  <a:pt x="615" y="165"/>
                </a:cubicBezTo>
                <a:cubicBezTo>
                  <a:pt x="620" y="171"/>
                  <a:pt x="625" y="175"/>
                  <a:pt x="625" y="184"/>
                </a:cubicBezTo>
                <a:close/>
                <a:moveTo>
                  <a:pt x="167" y="293"/>
                </a:moveTo>
                <a:cubicBezTo>
                  <a:pt x="160" y="283"/>
                  <a:pt x="160" y="283"/>
                  <a:pt x="160" y="283"/>
                </a:cubicBezTo>
                <a:cubicBezTo>
                  <a:pt x="140" y="253"/>
                  <a:pt x="130" y="219"/>
                  <a:pt x="130" y="183"/>
                </a:cubicBezTo>
                <a:cubicBezTo>
                  <a:pt x="130" y="146"/>
                  <a:pt x="141" y="111"/>
                  <a:pt x="161" y="81"/>
                </a:cubicBezTo>
                <a:cubicBezTo>
                  <a:pt x="167" y="71"/>
                  <a:pt x="167" y="71"/>
                  <a:pt x="167" y="71"/>
                </a:cubicBezTo>
                <a:cubicBezTo>
                  <a:pt x="157" y="77"/>
                  <a:pt x="157" y="77"/>
                  <a:pt x="157" y="77"/>
                </a:cubicBezTo>
                <a:cubicBezTo>
                  <a:pt x="116" y="103"/>
                  <a:pt x="74" y="137"/>
                  <a:pt x="33" y="180"/>
                </a:cubicBezTo>
                <a:cubicBezTo>
                  <a:pt x="31" y="182"/>
                  <a:pt x="31" y="182"/>
                  <a:pt x="31" y="182"/>
                </a:cubicBezTo>
                <a:cubicBezTo>
                  <a:pt x="33" y="184"/>
                  <a:pt x="33" y="184"/>
                  <a:pt x="33" y="184"/>
                </a:cubicBezTo>
                <a:cubicBezTo>
                  <a:pt x="74" y="227"/>
                  <a:pt x="116" y="262"/>
                  <a:pt x="157" y="287"/>
                </a:cubicBezTo>
                <a:lnTo>
                  <a:pt x="167" y="293"/>
                </a:lnTo>
                <a:close/>
                <a:moveTo>
                  <a:pt x="466" y="183"/>
                </a:moveTo>
                <a:cubicBezTo>
                  <a:pt x="466" y="98"/>
                  <a:pt x="397" y="29"/>
                  <a:pt x="312" y="29"/>
                </a:cubicBezTo>
                <a:cubicBezTo>
                  <a:pt x="227" y="29"/>
                  <a:pt x="158" y="98"/>
                  <a:pt x="158" y="183"/>
                </a:cubicBezTo>
                <a:cubicBezTo>
                  <a:pt x="158" y="267"/>
                  <a:pt x="227" y="336"/>
                  <a:pt x="312" y="336"/>
                </a:cubicBezTo>
                <a:cubicBezTo>
                  <a:pt x="397" y="336"/>
                  <a:pt x="466" y="267"/>
                  <a:pt x="466" y="183"/>
                </a:cubicBezTo>
                <a:close/>
              </a:path>
            </a:pathLst>
          </a:custGeom>
          <a:solidFill>
            <a:srgbClr val="FFFFFF"/>
          </a:solidFill>
          <a:ln>
            <a:noFill/>
          </a:ln>
          <a:extLst/>
        </p:spPr>
        <p:txBody>
          <a:bodyPr/>
          <a:lstStyle/>
          <a:p>
            <a:endParaRPr lang="en-US"/>
          </a:p>
        </p:txBody>
      </p:sp>
      <p:sp>
        <p:nvSpPr>
          <p:cNvPr id="102" name="Freeform 3"/>
          <p:cNvSpPr>
            <a:spLocks noChangeAspect="1"/>
          </p:cNvSpPr>
          <p:nvPr/>
        </p:nvSpPr>
        <p:spPr bwMode="auto">
          <a:xfrm>
            <a:off x="4090451" y="4524408"/>
            <a:ext cx="242077" cy="153545"/>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FFFF"/>
          </a:solidFill>
          <a:ln>
            <a:noFill/>
          </a:ln>
        </p:spPr>
        <p:txBody>
          <a:bodyPr/>
          <a:lstStyle/>
          <a:p>
            <a:endParaRPr lang="sv-SE"/>
          </a:p>
        </p:txBody>
      </p:sp>
      <p:cxnSp>
        <p:nvCxnSpPr>
          <p:cNvPr id="103" name="Rak 269"/>
          <p:cNvCxnSpPr/>
          <p:nvPr/>
        </p:nvCxnSpPr>
        <p:spPr bwMode="auto">
          <a:xfrm flipH="1">
            <a:off x="3937022" y="4644635"/>
            <a:ext cx="116012" cy="0"/>
          </a:xfrm>
          <a:prstGeom prst="line">
            <a:avLst/>
          </a:prstGeom>
          <a:solidFill>
            <a:schemeClr val="accent1"/>
          </a:solidFill>
          <a:ln w="19050" cap="rnd" cmpd="sng" algn="ctr">
            <a:solidFill>
              <a:schemeClr val="bg1"/>
            </a:solidFill>
            <a:prstDash val="sysDot"/>
            <a:round/>
            <a:headEnd type="none" w="med" len="med"/>
            <a:tailEnd type="none" w="med" len="med"/>
          </a:ln>
          <a:effectLst/>
        </p:spPr>
      </p:cxnSp>
      <p:sp>
        <p:nvSpPr>
          <p:cNvPr id="104" name="textruta 214"/>
          <p:cNvSpPr txBox="1"/>
          <p:nvPr/>
        </p:nvSpPr>
        <p:spPr>
          <a:xfrm>
            <a:off x="6954668" y="2684473"/>
            <a:ext cx="1553006" cy="282769"/>
          </a:xfrm>
          <a:prstGeom prst="rect">
            <a:avLst/>
          </a:prstGeom>
          <a:noFill/>
        </p:spPr>
        <p:txBody>
          <a:bodyPr wrap="square" lIns="0" tIns="0" rIns="0" bIns="0" rtlCol="0" anchor="ctr" anchorCtr="0">
            <a:noAutofit/>
          </a:bodyPr>
          <a:lstStyle/>
          <a:p>
            <a:r>
              <a:rPr lang="en-US" sz="1100" dirty="0">
                <a:latin typeface="Arial" panose="020B0604020202020204" pitchFamily="34" charset="0"/>
                <a:cs typeface="Arial" panose="020B0604020202020204" pitchFamily="34" charset="0"/>
              </a:rPr>
              <a:t>Real-time information </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vehicle to vehicle</a:t>
            </a:r>
          </a:p>
        </p:txBody>
      </p:sp>
      <p:sp>
        <p:nvSpPr>
          <p:cNvPr id="105" name="Freeform 6"/>
          <p:cNvSpPr>
            <a:spLocks noChangeAspect="1" noEditPoints="1"/>
          </p:cNvSpPr>
          <p:nvPr/>
        </p:nvSpPr>
        <p:spPr bwMode="auto">
          <a:xfrm>
            <a:off x="6176797" y="2710064"/>
            <a:ext cx="69158" cy="243723"/>
          </a:xfrm>
          <a:custGeom>
            <a:avLst/>
            <a:gdLst>
              <a:gd name="T0" fmla="*/ 2147483647 w 114"/>
              <a:gd name="T1" fmla="*/ 2147483647 h 401"/>
              <a:gd name="T2" fmla="*/ 2147483647 w 114"/>
              <a:gd name="T3" fmla="*/ 2147483647 h 401"/>
              <a:gd name="T4" fmla="*/ 2147483647 w 114"/>
              <a:gd name="T5" fmla="*/ 2147483647 h 401"/>
              <a:gd name="T6" fmla="*/ 2147483647 w 114"/>
              <a:gd name="T7" fmla="*/ 2147483647 h 401"/>
              <a:gd name="T8" fmla="*/ 2147483647 w 114"/>
              <a:gd name="T9" fmla="*/ 2147483647 h 401"/>
              <a:gd name="T10" fmla="*/ 2147483647 w 114"/>
              <a:gd name="T11" fmla="*/ 2147483647 h 401"/>
              <a:gd name="T12" fmla="*/ 2147483647 w 114"/>
              <a:gd name="T13" fmla="*/ 2147483647 h 401"/>
              <a:gd name="T14" fmla="*/ 2147483647 w 114"/>
              <a:gd name="T15" fmla="*/ 2147483647 h 401"/>
              <a:gd name="T16" fmla="*/ 2147483647 w 114"/>
              <a:gd name="T17" fmla="*/ 2147483647 h 401"/>
              <a:gd name="T18" fmla="*/ 2147483647 w 114"/>
              <a:gd name="T19" fmla="*/ 2147483647 h 401"/>
              <a:gd name="T20" fmla="*/ 2147483647 w 114"/>
              <a:gd name="T21" fmla="*/ 2147483647 h 401"/>
              <a:gd name="T22" fmla="*/ 2147483647 w 114"/>
              <a:gd name="T23" fmla="*/ 2147483647 h 401"/>
              <a:gd name="T24" fmla="*/ 2147483647 w 114"/>
              <a:gd name="T25" fmla="*/ 2147483647 h 401"/>
              <a:gd name="T26" fmla="*/ 2147483647 w 114"/>
              <a:gd name="T27" fmla="*/ 2147483647 h 401"/>
              <a:gd name="T28" fmla="*/ 2147483647 w 114"/>
              <a:gd name="T29" fmla="*/ 2147483647 h 401"/>
              <a:gd name="T30" fmla="*/ 2147483647 w 114"/>
              <a:gd name="T31" fmla="*/ 2147483647 h 401"/>
              <a:gd name="T32" fmla="*/ 2147483647 w 114"/>
              <a:gd name="T33" fmla="*/ 2147483647 h 401"/>
              <a:gd name="T34" fmla="*/ 2147483647 w 114"/>
              <a:gd name="T35" fmla="*/ 2147483647 h 401"/>
              <a:gd name="T36" fmla="*/ 2147483647 w 114"/>
              <a:gd name="T37" fmla="*/ 0 h 401"/>
              <a:gd name="T38" fmla="*/ 0 w 114"/>
              <a:gd name="T39" fmla="*/ 2147483647 h 401"/>
              <a:gd name="T40" fmla="*/ 0 w 114"/>
              <a:gd name="T41" fmla="*/ 2147483647 h 401"/>
              <a:gd name="T42" fmla="*/ 2147483647 w 114"/>
              <a:gd name="T43" fmla="*/ 2147483647 h 401"/>
              <a:gd name="T44" fmla="*/ 2147483647 w 114"/>
              <a:gd name="T45" fmla="*/ 2147483647 h 401"/>
              <a:gd name="T46" fmla="*/ 2147483647 w 114"/>
              <a:gd name="T47" fmla="*/ 2147483647 h 401"/>
              <a:gd name="T48" fmla="*/ 2147483647 w 114"/>
              <a:gd name="T49" fmla="*/ 2147483647 h 401"/>
              <a:gd name="T50" fmla="*/ 2147483647 w 114"/>
              <a:gd name="T51" fmla="*/ 2147483647 h 401"/>
              <a:gd name="T52" fmla="*/ 2147483647 w 114"/>
              <a:gd name="T53" fmla="*/ 2147483647 h 401"/>
              <a:gd name="T54" fmla="*/ 2147483647 w 114"/>
              <a:gd name="T55" fmla="*/ 2147483647 h 401"/>
              <a:gd name="T56" fmla="*/ 2147483647 w 114"/>
              <a:gd name="T57" fmla="*/ 2147483647 h 401"/>
              <a:gd name="T58" fmla="*/ 2147483647 w 114"/>
              <a:gd name="T59" fmla="*/ 2147483647 h 401"/>
              <a:gd name="T60" fmla="*/ 2147483647 w 114"/>
              <a:gd name="T61" fmla="*/ 2147483647 h 401"/>
              <a:gd name="T62" fmla="*/ 2147483647 w 114"/>
              <a:gd name="T63" fmla="*/ 2147483647 h 401"/>
              <a:gd name="T64" fmla="*/ 2147483647 w 114"/>
              <a:gd name="T65" fmla="*/ 2147483647 h 401"/>
              <a:gd name="T66" fmla="*/ 2147483647 w 114"/>
              <a:gd name="T67" fmla="*/ 2147483647 h 401"/>
              <a:gd name="T68" fmla="*/ 2147483647 w 114"/>
              <a:gd name="T69" fmla="*/ 2147483647 h 401"/>
              <a:gd name="T70" fmla="*/ 2147483647 w 114"/>
              <a:gd name="T71" fmla="*/ 2147483647 h 401"/>
              <a:gd name="T72" fmla="*/ 2147483647 w 114"/>
              <a:gd name="T73" fmla="*/ 2147483647 h 401"/>
              <a:gd name="T74" fmla="*/ 2147483647 w 114"/>
              <a:gd name="T75" fmla="*/ 2147483647 h 40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14" h="401">
                <a:moveTo>
                  <a:pt x="81" y="65"/>
                </a:moveTo>
                <a:cubicBezTo>
                  <a:pt x="81" y="78"/>
                  <a:pt x="70" y="89"/>
                  <a:pt x="57" y="89"/>
                </a:cubicBezTo>
                <a:cubicBezTo>
                  <a:pt x="44" y="89"/>
                  <a:pt x="34" y="78"/>
                  <a:pt x="34" y="65"/>
                </a:cubicBezTo>
                <a:cubicBezTo>
                  <a:pt x="34" y="52"/>
                  <a:pt x="44" y="42"/>
                  <a:pt x="57" y="42"/>
                </a:cubicBezTo>
                <a:cubicBezTo>
                  <a:pt x="70" y="42"/>
                  <a:pt x="81" y="52"/>
                  <a:pt x="81" y="65"/>
                </a:cubicBezTo>
                <a:close/>
                <a:moveTo>
                  <a:pt x="57" y="124"/>
                </a:moveTo>
                <a:cubicBezTo>
                  <a:pt x="44" y="124"/>
                  <a:pt x="34" y="135"/>
                  <a:pt x="34" y="148"/>
                </a:cubicBezTo>
                <a:cubicBezTo>
                  <a:pt x="34" y="161"/>
                  <a:pt x="44" y="171"/>
                  <a:pt x="57" y="171"/>
                </a:cubicBezTo>
                <a:cubicBezTo>
                  <a:pt x="70" y="171"/>
                  <a:pt x="81" y="161"/>
                  <a:pt x="81" y="148"/>
                </a:cubicBezTo>
                <a:cubicBezTo>
                  <a:pt x="81" y="135"/>
                  <a:pt x="70" y="124"/>
                  <a:pt x="57" y="124"/>
                </a:cubicBezTo>
                <a:close/>
                <a:moveTo>
                  <a:pt x="57" y="207"/>
                </a:moveTo>
                <a:cubicBezTo>
                  <a:pt x="44" y="207"/>
                  <a:pt x="34" y="217"/>
                  <a:pt x="34" y="230"/>
                </a:cubicBezTo>
                <a:cubicBezTo>
                  <a:pt x="34" y="243"/>
                  <a:pt x="44" y="254"/>
                  <a:pt x="57" y="254"/>
                </a:cubicBezTo>
                <a:cubicBezTo>
                  <a:pt x="70" y="254"/>
                  <a:pt x="81" y="243"/>
                  <a:pt x="81" y="230"/>
                </a:cubicBezTo>
                <a:cubicBezTo>
                  <a:pt x="81" y="217"/>
                  <a:pt x="70" y="207"/>
                  <a:pt x="57" y="207"/>
                </a:cubicBezTo>
                <a:close/>
                <a:moveTo>
                  <a:pt x="106" y="91"/>
                </a:moveTo>
                <a:cubicBezTo>
                  <a:pt x="111" y="91"/>
                  <a:pt x="114" y="87"/>
                  <a:pt x="114" y="83"/>
                </a:cubicBezTo>
                <a:cubicBezTo>
                  <a:pt x="114" y="57"/>
                  <a:pt x="114" y="57"/>
                  <a:pt x="114" y="57"/>
                </a:cubicBezTo>
                <a:cubicBezTo>
                  <a:pt x="114" y="26"/>
                  <a:pt x="89" y="0"/>
                  <a:pt x="57" y="0"/>
                </a:cubicBezTo>
                <a:cubicBezTo>
                  <a:pt x="26" y="0"/>
                  <a:pt x="0" y="26"/>
                  <a:pt x="0" y="57"/>
                </a:cubicBezTo>
                <a:cubicBezTo>
                  <a:pt x="0" y="238"/>
                  <a:pt x="0" y="238"/>
                  <a:pt x="0" y="238"/>
                </a:cubicBezTo>
                <a:cubicBezTo>
                  <a:pt x="0" y="267"/>
                  <a:pt x="22" y="291"/>
                  <a:pt x="49" y="295"/>
                </a:cubicBezTo>
                <a:cubicBezTo>
                  <a:pt x="49" y="393"/>
                  <a:pt x="49" y="393"/>
                  <a:pt x="49" y="393"/>
                </a:cubicBezTo>
                <a:cubicBezTo>
                  <a:pt x="49" y="398"/>
                  <a:pt x="53" y="401"/>
                  <a:pt x="57" y="401"/>
                </a:cubicBezTo>
                <a:cubicBezTo>
                  <a:pt x="62" y="401"/>
                  <a:pt x="65" y="398"/>
                  <a:pt x="65" y="393"/>
                </a:cubicBezTo>
                <a:cubicBezTo>
                  <a:pt x="65" y="295"/>
                  <a:pt x="65" y="295"/>
                  <a:pt x="65" y="295"/>
                </a:cubicBezTo>
                <a:cubicBezTo>
                  <a:pt x="93" y="291"/>
                  <a:pt x="114" y="267"/>
                  <a:pt x="114" y="238"/>
                </a:cubicBezTo>
                <a:cubicBezTo>
                  <a:pt x="114" y="115"/>
                  <a:pt x="114" y="115"/>
                  <a:pt x="114" y="115"/>
                </a:cubicBezTo>
                <a:cubicBezTo>
                  <a:pt x="114" y="110"/>
                  <a:pt x="111" y="107"/>
                  <a:pt x="106" y="107"/>
                </a:cubicBezTo>
                <a:cubicBezTo>
                  <a:pt x="102" y="107"/>
                  <a:pt x="98" y="110"/>
                  <a:pt x="98" y="115"/>
                </a:cubicBezTo>
                <a:cubicBezTo>
                  <a:pt x="98" y="238"/>
                  <a:pt x="98" y="238"/>
                  <a:pt x="98" y="238"/>
                </a:cubicBezTo>
                <a:cubicBezTo>
                  <a:pt x="98" y="261"/>
                  <a:pt x="80" y="279"/>
                  <a:pt x="57" y="279"/>
                </a:cubicBezTo>
                <a:cubicBezTo>
                  <a:pt x="35" y="279"/>
                  <a:pt x="16" y="261"/>
                  <a:pt x="16" y="238"/>
                </a:cubicBezTo>
                <a:cubicBezTo>
                  <a:pt x="16" y="57"/>
                  <a:pt x="16" y="57"/>
                  <a:pt x="16" y="57"/>
                </a:cubicBezTo>
                <a:cubicBezTo>
                  <a:pt x="16" y="35"/>
                  <a:pt x="35" y="16"/>
                  <a:pt x="57" y="16"/>
                </a:cubicBezTo>
                <a:cubicBezTo>
                  <a:pt x="80" y="16"/>
                  <a:pt x="98" y="35"/>
                  <a:pt x="98" y="57"/>
                </a:cubicBezTo>
                <a:cubicBezTo>
                  <a:pt x="98" y="83"/>
                  <a:pt x="98" y="83"/>
                  <a:pt x="98" y="83"/>
                </a:cubicBezTo>
                <a:cubicBezTo>
                  <a:pt x="98" y="87"/>
                  <a:pt x="102" y="91"/>
                  <a:pt x="106" y="91"/>
                </a:cubicBezTo>
                <a:close/>
              </a:path>
            </a:pathLst>
          </a:custGeom>
          <a:solidFill>
            <a:srgbClr val="FFFFFF"/>
          </a:solidFill>
          <a:ln>
            <a:noFill/>
          </a:ln>
        </p:spPr>
        <p:txBody>
          <a:bodyPr/>
          <a:lstStyle/>
          <a:p>
            <a:endParaRPr lang="sv-SE"/>
          </a:p>
        </p:txBody>
      </p:sp>
      <p:sp>
        <p:nvSpPr>
          <p:cNvPr id="106" name="Freeform 3"/>
          <p:cNvSpPr>
            <a:spLocks noChangeAspect="1" noEditPoints="1"/>
          </p:cNvSpPr>
          <p:nvPr/>
        </p:nvSpPr>
        <p:spPr bwMode="auto">
          <a:xfrm>
            <a:off x="6400675" y="2896442"/>
            <a:ext cx="283080" cy="131373"/>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rgbClr val="FFFFFF"/>
          </a:solidFill>
          <a:ln>
            <a:noFill/>
          </a:ln>
        </p:spPr>
        <p:txBody>
          <a:bodyPr/>
          <a:lstStyle/>
          <a:p>
            <a:endParaRPr lang="sv-SE"/>
          </a:p>
        </p:txBody>
      </p:sp>
      <p:sp>
        <p:nvSpPr>
          <p:cNvPr id="107" name="Freeform 3"/>
          <p:cNvSpPr>
            <a:spLocks noChangeAspect="1" noEditPoints="1"/>
          </p:cNvSpPr>
          <p:nvPr/>
        </p:nvSpPr>
        <p:spPr bwMode="auto">
          <a:xfrm>
            <a:off x="6522597" y="2575500"/>
            <a:ext cx="272065" cy="165324"/>
          </a:xfrm>
          <a:custGeom>
            <a:avLst/>
            <a:gdLst>
              <a:gd name="T0" fmla="*/ 2147483647 w 464"/>
              <a:gd name="T1" fmla="*/ 2147483647 h 282"/>
              <a:gd name="T2" fmla="*/ 2147483647 w 464"/>
              <a:gd name="T3" fmla="*/ 0 h 282"/>
              <a:gd name="T4" fmla="*/ 2147483647 w 464"/>
              <a:gd name="T5" fmla="*/ 2147483647 h 282"/>
              <a:gd name="T6" fmla="*/ 2147483647 w 464"/>
              <a:gd name="T7" fmla="*/ 2147483647 h 282"/>
              <a:gd name="T8" fmla="*/ 2147483647 w 464"/>
              <a:gd name="T9" fmla="*/ 2147483647 h 282"/>
              <a:gd name="T10" fmla="*/ 0 w 464"/>
              <a:gd name="T11" fmla="*/ 2147483647 h 282"/>
              <a:gd name="T12" fmla="*/ 2147483647 w 464"/>
              <a:gd name="T13" fmla="*/ 2147483647 h 282"/>
              <a:gd name="T14" fmla="*/ 2147483647 w 464"/>
              <a:gd name="T15" fmla="*/ 2147483647 h 282"/>
              <a:gd name="T16" fmla="*/ 2147483647 w 464"/>
              <a:gd name="T17" fmla="*/ 2147483647 h 282"/>
              <a:gd name="T18" fmla="*/ 2147483647 w 464"/>
              <a:gd name="T19" fmla="*/ 2147483647 h 282"/>
              <a:gd name="T20" fmla="*/ 2147483647 w 464"/>
              <a:gd name="T21" fmla="*/ 2147483647 h 282"/>
              <a:gd name="T22" fmla="*/ 2147483647 w 464"/>
              <a:gd name="T23" fmla="*/ 2147483647 h 282"/>
              <a:gd name="T24" fmla="*/ 2147483647 w 464"/>
              <a:gd name="T25" fmla="*/ 2147483647 h 282"/>
              <a:gd name="T26" fmla="*/ 2147483647 w 464"/>
              <a:gd name="T27" fmla="*/ 2147483647 h 282"/>
              <a:gd name="T28" fmla="*/ 2147483647 w 464"/>
              <a:gd name="T29" fmla="*/ 2147483647 h 282"/>
              <a:gd name="T30" fmla="*/ 2147483647 w 464"/>
              <a:gd name="T31" fmla="*/ 2147483647 h 282"/>
              <a:gd name="T32" fmla="*/ 2147483647 w 464"/>
              <a:gd name="T33" fmla="*/ 2147483647 h 282"/>
              <a:gd name="T34" fmla="*/ 2147483647 w 464"/>
              <a:gd name="T35" fmla="*/ 2147483647 h 282"/>
              <a:gd name="T36" fmla="*/ 2147483647 w 464"/>
              <a:gd name="T37" fmla="*/ 2147483647 h 282"/>
              <a:gd name="T38" fmla="*/ 2147483647 w 464"/>
              <a:gd name="T39" fmla="*/ 2147483647 h 282"/>
              <a:gd name="T40" fmla="*/ 2147483647 w 464"/>
              <a:gd name="T41" fmla="*/ 2147483647 h 282"/>
              <a:gd name="T42" fmla="*/ 2147483647 w 464"/>
              <a:gd name="T43" fmla="*/ 2147483647 h 282"/>
              <a:gd name="T44" fmla="*/ 2147483647 w 464"/>
              <a:gd name="T45" fmla="*/ 2147483647 h 282"/>
              <a:gd name="T46" fmla="*/ 2147483647 w 464"/>
              <a:gd name="T47" fmla="*/ 2147483647 h 282"/>
              <a:gd name="T48" fmla="*/ 2147483647 w 464"/>
              <a:gd name="T49" fmla="*/ 2147483647 h 282"/>
              <a:gd name="T50" fmla="*/ 2147483647 w 464"/>
              <a:gd name="T51" fmla="*/ 2147483647 h 282"/>
              <a:gd name="T52" fmla="*/ 2147483647 w 464"/>
              <a:gd name="T53" fmla="*/ 2147483647 h 282"/>
              <a:gd name="T54" fmla="*/ 2147483647 w 464"/>
              <a:gd name="T55" fmla="*/ 2147483647 h 282"/>
              <a:gd name="T56" fmla="*/ 2147483647 w 464"/>
              <a:gd name="T57" fmla="*/ 2147483647 h 282"/>
              <a:gd name="T58" fmla="*/ 2147483647 w 464"/>
              <a:gd name="T59" fmla="*/ 2147483647 h 282"/>
              <a:gd name="T60" fmla="*/ 2147483647 w 464"/>
              <a:gd name="T61" fmla="*/ 2147483647 h 282"/>
              <a:gd name="T62" fmla="*/ 2147483647 w 464"/>
              <a:gd name="T63" fmla="*/ 2147483647 h 282"/>
              <a:gd name="T64" fmla="*/ 2147483647 w 464"/>
              <a:gd name="T65" fmla="*/ 2147483647 h 282"/>
              <a:gd name="T66" fmla="*/ 2147483647 w 464"/>
              <a:gd name="T67" fmla="*/ 2147483647 h 282"/>
              <a:gd name="T68" fmla="*/ 2147483647 w 464"/>
              <a:gd name="T69" fmla="*/ 2147483647 h 282"/>
              <a:gd name="T70" fmla="*/ 2147483647 w 464"/>
              <a:gd name="T71" fmla="*/ 2147483647 h 282"/>
              <a:gd name="T72" fmla="*/ 2147483647 w 464"/>
              <a:gd name="T73" fmla="*/ 2147483647 h 282"/>
              <a:gd name="T74" fmla="*/ 2147483647 w 464"/>
              <a:gd name="T75" fmla="*/ 2147483647 h 282"/>
              <a:gd name="T76" fmla="*/ 2147483647 w 464"/>
              <a:gd name="T77" fmla="*/ 2147483647 h 282"/>
              <a:gd name="T78" fmla="*/ 2147483647 w 464"/>
              <a:gd name="T79" fmla="*/ 2147483647 h 2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282">
                <a:moveTo>
                  <a:pt x="456" y="52"/>
                </a:moveTo>
                <a:cubicBezTo>
                  <a:pt x="461" y="52"/>
                  <a:pt x="464" y="49"/>
                  <a:pt x="464" y="44"/>
                </a:cubicBezTo>
                <a:cubicBezTo>
                  <a:pt x="464" y="17"/>
                  <a:pt x="464" y="17"/>
                  <a:pt x="464" y="17"/>
                </a:cubicBezTo>
                <a:cubicBezTo>
                  <a:pt x="464" y="8"/>
                  <a:pt x="456" y="0"/>
                  <a:pt x="447" y="0"/>
                </a:cubicBezTo>
                <a:cubicBezTo>
                  <a:pt x="196" y="0"/>
                  <a:pt x="196" y="0"/>
                  <a:pt x="196" y="0"/>
                </a:cubicBezTo>
                <a:cubicBezTo>
                  <a:pt x="187" y="0"/>
                  <a:pt x="179" y="8"/>
                  <a:pt x="179" y="17"/>
                </a:cubicBezTo>
                <a:cubicBezTo>
                  <a:pt x="179" y="71"/>
                  <a:pt x="179" y="71"/>
                  <a:pt x="179" y="71"/>
                </a:cubicBezTo>
                <a:cubicBezTo>
                  <a:pt x="156" y="71"/>
                  <a:pt x="156" y="71"/>
                  <a:pt x="156" y="71"/>
                </a:cubicBezTo>
                <a:cubicBezTo>
                  <a:pt x="156" y="63"/>
                  <a:pt x="156" y="63"/>
                  <a:pt x="156" y="63"/>
                </a:cubicBezTo>
                <a:cubicBezTo>
                  <a:pt x="156" y="53"/>
                  <a:pt x="148" y="45"/>
                  <a:pt x="138" y="45"/>
                </a:cubicBezTo>
                <a:cubicBezTo>
                  <a:pt x="59" y="45"/>
                  <a:pt x="59" y="45"/>
                  <a:pt x="59" y="45"/>
                </a:cubicBezTo>
                <a:cubicBezTo>
                  <a:pt x="24" y="45"/>
                  <a:pt x="0" y="101"/>
                  <a:pt x="0" y="153"/>
                </a:cubicBezTo>
                <a:cubicBezTo>
                  <a:pt x="0" y="240"/>
                  <a:pt x="0" y="240"/>
                  <a:pt x="0" y="240"/>
                </a:cubicBezTo>
                <a:cubicBezTo>
                  <a:pt x="0" y="242"/>
                  <a:pt x="1" y="244"/>
                  <a:pt x="2" y="246"/>
                </a:cubicBezTo>
                <a:cubicBezTo>
                  <a:pt x="4" y="247"/>
                  <a:pt x="6" y="248"/>
                  <a:pt x="8" y="248"/>
                </a:cubicBezTo>
                <a:cubicBezTo>
                  <a:pt x="40" y="248"/>
                  <a:pt x="40" y="248"/>
                  <a:pt x="40" y="248"/>
                </a:cubicBezTo>
                <a:cubicBezTo>
                  <a:pt x="44" y="267"/>
                  <a:pt x="61" y="282"/>
                  <a:pt x="81" y="282"/>
                </a:cubicBezTo>
                <a:cubicBezTo>
                  <a:pt x="101" y="282"/>
                  <a:pt x="118" y="267"/>
                  <a:pt x="122" y="248"/>
                </a:cubicBezTo>
                <a:cubicBezTo>
                  <a:pt x="148" y="248"/>
                  <a:pt x="148" y="248"/>
                  <a:pt x="148" y="248"/>
                </a:cubicBezTo>
                <a:cubicBezTo>
                  <a:pt x="152" y="248"/>
                  <a:pt x="155" y="245"/>
                  <a:pt x="156" y="241"/>
                </a:cubicBezTo>
                <a:cubicBezTo>
                  <a:pt x="319" y="241"/>
                  <a:pt x="319" y="241"/>
                  <a:pt x="319" y="241"/>
                </a:cubicBezTo>
                <a:cubicBezTo>
                  <a:pt x="319" y="263"/>
                  <a:pt x="338" y="282"/>
                  <a:pt x="360" y="282"/>
                </a:cubicBezTo>
                <a:cubicBezTo>
                  <a:pt x="383" y="282"/>
                  <a:pt x="402" y="263"/>
                  <a:pt x="402" y="241"/>
                </a:cubicBezTo>
                <a:cubicBezTo>
                  <a:pt x="447" y="241"/>
                  <a:pt x="447" y="241"/>
                  <a:pt x="447" y="241"/>
                </a:cubicBezTo>
                <a:cubicBezTo>
                  <a:pt x="456" y="241"/>
                  <a:pt x="464" y="233"/>
                  <a:pt x="464" y="223"/>
                </a:cubicBezTo>
                <a:cubicBezTo>
                  <a:pt x="464" y="76"/>
                  <a:pt x="464" y="76"/>
                  <a:pt x="464" y="76"/>
                </a:cubicBezTo>
                <a:cubicBezTo>
                  <a:pt x="464" y="71"/>
                  <a:pt x="461" y="68"/>
                  <a:pt x="456" y="68"/>
                </a:cubicBezTo>
                <a:cubicBezTo>
                  <a:pt x="452" y="68"/>
                  <a:pt x="448" y="71"/>
                  <a:pt x="448" y="76"/>
                </a:cubicBezTo>
                <a:cubicBezTo>
                  <a:pt x="448" y="168"/>
                  <a:pt x="448" y="168"/>
                  <a:pt x="448" y="168"/>
                </a:cubicBezTo>
                <a:cubicBezTo>
                  <a:pt x="195" y="168"/>
                  <a:pt x="195" y="168"/>
                  <a:pt x="195" y="168"/>
                </a:cubicBezTo>
                <a:cubicBezTo>
                  <a:pt x="195" y="17"/>
                  <a:pt x="195" y="17"/>
                  <a:pt x="195" y="17"/>
                </a:cubicBezTo>
                <a:cubicBezTo>
                  <a:pt x="195" y="17"/>
                  <a:pt x="195" y="16"/>
                  <a:pt x="196" y="16"/>
                </a:cubicBezTo>
                <a:cubicBezTo>
                  <a:pt x="447" y="16"/>
                  <a:pt x="447" y="16"/>
                  <a:pt x="447" y="16"/>
                </a:cubicBezTo>
                <a:cubicBezTo>
                  <a:pt x="448" y="16"/>
                  <a:pt x="448" y="17"/>
                  <a:pt x="448" y="17"/>
                </a:cubicBezTo>
                <a:cubicBezTo>
                  <a:pt x="448" y="44"/>
                  <a:pt x="448" y="44"/>
                  <a:pt x="448" y="44"/>
                </a:cubicBezTo>
                <a:cubicBezTo>
                  <a:pt x="448" y="49"/>
                  <a:pt x="452" y="52"/>
                  <a:pt x="456" y="52"/>
                </a:cubicBezTo>
                <a:close/>
                <a:moveTo>
                  <a:pt x="27" y="95"/>
                </a:moveTo>
                <a:cubicBezTo>
                  <a:pt x="27" y="95"/>
                  <a:pt x="28" y="95"/>
                  <a:pt x="28" y="95"/>
                </a:cubicBezTo>
                <a:cubicBezTo>
                  <a:pt x="86" y="95"/>
                  <a:pt x="86" y="95"/>
                  <a:pt x="86" y="95"/>
                </a:cubicBezTo>
                <a:cubicBezTo>
                  <a:pt x="86" y="145"/>
                  <a:pt x="86" y="145"/>
                  <a:pt x="86" y="145"/>
                </a:cubicBezTo>
                <a:cubicBezTo>
                  <a:pt x="16" y="145"/>
                  <a:pt x="16" y="145"/>
                  <a:pt x="16" y="145"/>
                </a:cubicBezTo>
                <a:cubicBezTo>
                  <a:pt x="17" y="127"/>
                  <a:pt x="21" y="109"/>
                  <a:pt x="27" y="95"/>
                </a:cubicBezTo>
                <a:close/>
                <a:moveTo>
                  <a:pt x="81" y="266"/>
                </a:moveTo>
                <a:cubicBezTo>
                  <a:pt x="67" y="266"/>
                  <a:pt x="55" y="254"/>
                  <a:pt x="55" y="240"/>
                </a:cubicBezTo>
                <a:cubicBezTo>
                  <a:pt x="55" y="226"/>
                  <a:pt x="67" y="214"/>
                  <a:pt x="81" y="214"/>
                </a:cubicBezTo>
                <a:cubicBezTo>
                  <a:pt x="95" y="214"/>
                  <a:pt x="107" y="226"/>
                  <a:pt x="107" y="240"/>
                </a:cubicBezTo>
                <a:cubicBezTo>
                  <a:pt x="107" y="254"/>
                  <a:pt x="95" y="266"/>
                  <a:pt x="81" y="266"/>
                </a:cubicBezTo>
                <a:close/>
                <a:moveTo>
                  <a:pt x="140" y="232"/>
                </a:moveTo>
                <a:cubicBezTo>
                  <a:pt x="122" y="232"/>
                  <a:pt x="122" y="232"/>
                  <a:pt x="122" y="232"/>
                </a:cubicBezTo>
                <a:cubicBezTo>
                  <a:pt x="118" y="213"/>
                  <a:pt x="101" y="198"/>
                  <a:pt x="81" y="198"/>
                </a:cubicBezTo>
                <a:cubicBezTo>
                  <a:pt x="61" y="198"/>
                  <a:pt x="44" y="213"/>
                  <a:pt x="40" y="232"/>
                </a:cubicBezTo>
                <a:cubicBezTo>
                  <a:pt x="16" y="232"/>
                  <a:pt x="16" y="232"/>
                  <a:pt x="16" y="232"/>
                </a:cubicBezTo>
                <a:cubicBezTo>
                  <a:pt x="16" y="161"/>
                  <a:pt x="16" y="161"/>
                  <a:pt x="16" y="161"/>
                </a:cubicBezTo>
                <a:cubicBezTo>
                  <a:pt x="94" y="161"/>
                  <a:pt x="94" y="161"/>
                  <a:pt x="94" y="161"/>
                </a:cubicBezTo>
                <a:cubicBezTo>
                  <a:pt x="99" y="161"/>
                  <a:pt x="102" y="157"/>
                  <a:pt x="102" y="153"/>
                </a:cubicBezTo>
                <a:cubicBezTo>
                  <a:pt x="102" y="87"/>
                  <a:pt x="102" y="87"/>
                  <a:pt x="102" y="87"/>
                </a:cubicBezTo>
                <a:cubicBezTo>
                  <a:pt x="102" y="83"/>
                  <a:pt x="99" y="79"/>
                  <a:pt x="94" y="79"/>
                </a:cubicBezTo>
                <a:cubicBezTo>
                  <a:pt x="35" y="79"/>
                  <a:pt x="35" y="79"/>
                  <a:pt x="35" y="79"/>
                </a:cubicBezTo>
                <a:cubicBezTo>
                  <a:pt x="42" y="68"/>
                  <a:pt x="50" y="61"/>
                  <a:pt x="59" y="61"/>
                </a:cubicBezTo>
                <a:cubicBezTo>
                  <a:pt x="138" y="61"/>
                  <a:pt x="138" y="61"/>
                  <a:pt x="138" y="61"/>
                </a:cubicBezTo>
                <a:cubicBezTo>
                  <a:pt x="139" y="61"/>
                  <a:pt x="140" y="62"/>
                  <a:pt x="140" y="63"/>
                </a:cubicBezTo>
                <a:lnTo>
                  <a:pt x="140" y="232"/>
                </a:lnTo>
                <a:close/>
                <a:moveTo>
                  <a:pt x="179" y="225"/>
                </a:moveTo>
                <a:cubicBezTo>
                  <a:pt x="156" y="225"/>
                  <a:pt x="156" y="225"/>
                  <a:pt x="156" y="225"/>
                </a:cubicBezTo>
                <a:cubicBezTo>
                  <a:pt x="156" y="87"/>
                  <a:pt x="156" y="87"/>
                  <a:pt x="156" y="87"/>
                </a:cubicBezTo>
                <a:cubicBezTo>
                  <a:pt x="179" y="87"/>
                  <a:pt x="179" y="87"/>
                  <a:pt x="179" y="87"/>
                </a:cubicBezTo>
                <a:lnTo>
                  <a:pt x="179" y="225"/>
                </a:lnTo>
                <a:close/>
                <a:moveTo>
                  <a:pt x="360" y="266"/>
                </a:moveTo>
                <a:cubicBezTo>
                  <a:pt x="346" y="266"/>
                  <a:pt x="335" y="254"/>
                  <a:pt x="335" y="240"/>
                </a:cubicBezTo>
                <a:cubicBezTo>
                  <a:pt x="335" y="226"/>
                  <a:pt x="346" y="214"/>
                  <a:pt x="360" y="214"/>
                </a:cubicBezTo>
                <a:cubicBezTo>
                  <a:pt x="375" y="214"/>
                  <a:pt x="386" y="226"/>
                  <a:pt x="386" y="240"/>
                </a:cubicBezTo>
                <a:cubicBezTo>
                  <a:pt x="386" y="254"/>
                  <a:pt x="375" y="266"/>
                  <a:pt x="360" y="266"/>
                </a:cubicBezTo>
                <a:close/>
                <a:moveTo>
                  <a:pt x="448" y="184"/>
                </a:moveTo>
                <a:cubicBezTo>
                  <a:pt x="448" y="223"/>
                  <a:pt x="448" y="223"/>
                  <a:pt x="448" y="223"/>
                </a:cubicBezTo>
                <a:cubicBezTo>
                  <a:pt x="448" y="224"/>
                  <a:pt x="448" y="225"/>
                  <a:pt x="447" y="225"/>
                </a:cubicBezTo>
                <a:cubicBezTo>
                  <a:pt x="399" y="225"/>
                  <a:pt x="399" y="225"/>
                  <a:pt x="399" y="225"/>
                </a:cubicBezTo>
                <a:cubicBezTo>
                  <a:pt x="393" y="209"/>
                  <a:pt x="378" y="198"/>
                  <a:pt x="360" y="198"/>
                </a:cubicBezTo>
                <a:cubicBezTo>
                  <a:pt x="343" y="198"/>
                  <a:pt x="327" y="209"/>
                  <a:pt x="321" y="225"/>
                </a:cubicBezTo>
                <a:cubicBezTo>
                  <a:pt x="195" y="225"/>
                  <a:pt x="195" y="225"/>
                  <a:pt x="195" y="225"/>
                </a:cubicBezTo>
                <a:cubicBezTo>
                  <a:pt x="195" y="184"/>
                  <a:pt x="195" y="184"/>
                  <a:pt x="195" y="184"/>
                </a:cubicBezTo>
                <a:lnTo>
                  <a:pt x="448" y="184"/>
                </a:lnTo>
                <a:close/>
              </a:path>
            </a:pathLst>
          </a:custGeom>
          <a:solidFill>
            <a:srgbClr val="FFFFFF"/>
          </a:solidFill>
          <a:ln>
            <a:noFill/>
          </a:ln>
        </p:spPr>
        <p:txBody>
          <a:bodyPr/>
          <a:lstStyle/>
          <a:p>
            <a:endParaRPr lang="sv-SE"/>
          </a:p>
        </p:txBody>
      </p:sp>
      <p:sp>
        <p:nvSpPr>
          <p:cNvPr id="108" name="textruta 214"/>
          <p:cNvSpPr txBox="1"/>
          <p:nvPr/>
        </p:nvSpPr>
        <p:spPr>
          <a:xfrm>
            <a:off x="6954668" y="4607701"/>
            <a:ext cx="1345913" cy="282769"/>
          </a:xfrm>
          <a:prstGeom prst="rect">
            <a:avLst/>
          </a:prstGeom>
          <a:noFill/>
        </p:spPr>
        <p:txBody>
          <a:bodyPr wrap="square" lIns="0" tIns="0" rIns="0" bIns="0" rtlCol="0" anchor="ctr" anchorCtr="0">
            <a:noAutofit/>
          </a:bodyPr>
          <a:lstStyle/>
          <a:p>
            <a:r>
              <a:rPr lang="en-US" sz="1100" dirty="0">
                <a:latin typeface="Arial" panose="020B0604020202020204" pitchFamily="34" charset="0"/>
                <a:cs typeface="Arial" panose="020B0604020202020204" pitchFamily="34" charset="0"/>
              </a:rPr>
              <a:t>Monitoring and </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medication e-care</a:t>
            </a:r>
          </a:p>
        </p:txBody>
      </p:sp>
      <p:sp>
        <p:nvSpPr>
          <p:cNvPr id="109" name="Freeform 3"/>
          <p:cNvSpPr>
            <a:spLocks noChangeAspect="1" noEditPoints="1"/>
          </p:cNvSpPr>
          <p:nvPr/>
        </p:nvSpPr>
        <p:spPr bwMode="auto">
          <a:xfrm>
            <a:off x="6575691" y="4793536"/>
            <a:ext cx="246905" cy="175967"/>
          </a:xfrm>
          <a:custGeom>
            <a:avLst/>
            <a:gdLst>
              <a:gd name="T0" fmla="*/ 2147483647 w 417"/>
              <a:gd name="T1" fmla="*/ 2147483647 h 297"/>
              <a:gd name="T2" fmla="*/ 2147483647 w 417"/>
              <a:gd name="T3" fmla="*/ 2147483647 h 297"/>
              <a:gd name="T4" fmla="*/ 2147483647 w 417"/>
              <a:gd name="T5" fmla="*/ 2147483647 h 297"/>
              <a:gd name="T6" fmla="*/ 2147483647 w 417"/>
              <a:gd name="T7" fmla="*/ 2147483647 h 297"/>
              <a:gd name="T8" fmla="*/ 2147483647 w 417"/>
              <a:gd name="T9" fmla="*/ 2147483647 h 297"/>
              <a:gd name="T10" fmla="*/ 2147483647 w 417"/>
              <a:gd name="T11" fmla="*/ 2147483647 h 297"/>
              <a:gd name="T12" fmla="*/ 2147483647 w 417"/>
              <a:gd name="T13" fmla="*/ 2147483647 h 297"/>
              <a:gd name="T14" fmla="*/ 2147483647 w 417"/>
              <a:gd name="T15" fmla="*/ 2147483647 h 297"/>
              <a:gd name="T16" fmla="*/ 2147483647 w 417"/>
              <a:gd name="T17" fmla="*/ 2147483647 h 297"/>
              <a:gd name="T18" fmla="*/ 2147483647 w 417"/>
              <a:gd name="T19" fmla="*/ 2147483647 h 297"/>
              <a:gd name="T20" fmla="*/ 2147483647 w 417"/>
              <a:gd name="T21" fmla="*/ 2147483647 h 297"/>
              <a:gd name="T22" fmla="*/ 2147483647 w 417"/>
              <a:gd name="T23" fmla="*/ 2147483647 h 297"/>
              <a:gd name="T24" fmla="*/ 2147483647 w 417"/>
              <a:gd name="T25" fmla="*/ 2147483647 h 297"/>
              <a:gd name="T26" fmla="*/ 2147483647 w 417"/>
              <a:gd name="T27" fmla="*/ 2147483647 h 297"/>
              <a:gd name="T28" fmla="*/ 2147483647 w 417"/>
              <a:gd name="T29" fmla="*/ 2147483647 h 297"/>
              <a:gd name="T30" fmla="*/ 2147483647 w 417"/>
              <a:gd name="T31" fmla="*/ 2147483647 h 297"/>
              <a:gd name="T32" fmla="*/ 2147483647 w 417"/>
              <a:gd name="T33" fmla="*/ 0 h 297"/>
              <a:gd name="T34" fmla="*/ 0 w 417"/>
              <a:gd name="T35" fmla="*/ 2147483647 h 297"/>
              <a:gd name="T36" fmla="*/ 2147483647 w 417"/>
              <a:gd name="T37" fmla="*/ 2147483647 h 297"/>
              <a:gd name="T38" fmla="*/ 2147483647 w 417"/>
              <a:gd name="T39" fmla="*/ 2147483647 h 297"/>
              <a:gd name="T40" fmla="*/ 2147483647 w 417"/>
              <a:gd name="T41" fmla="*/ 2147483647 h 297"/>
              <a:gd name="T42" fmla="*/ 2147483647 w 417"/>
              <a:gd name="T43" fmla="*/ 2147483647 h 297"/>
              <a:gd name="T44" fmla="*/ 2147483647 w 417"/>
              <a:gd name="T45" fmla="*/ 2147483647 h 297"/>
              <a:gd name="T46" fmla="*/ 2147483647 w 417"/>
              <a:gd name="T47" fmla="*/ 2147483647 h 297"/>
              <a:gd name="T48" fmla="*/ 2147483647 w 417"/>
              <a:gd name="T49" fmla="*/ 2147483647 h 297"/>
              <a:gd name="T50" fmla="*/ 2147483647 w 417"/>
              <a:gd name="T51" fmla="*/ 2147483647 h 297"/>
              <a:gd name="T52" fmla="*/ 2147483647 w 417"/>
              <a:gd name="T53" fmla="*/ 2147483647 h 297"/>
              <a:gd name="T54" fmla="*/ 2147483647 w 417"/>
              <a:gd name="T55" fmla="*/ 2147483647 h 297"/>
              <a:gd name="T56" fmla="*/ 2147483647 w 417"/>
              <a:gd name="T57" fmla="*/ 2147483647 h 297"/>
              <a:gd name="T58" fmla="*/ 2147483647 w 417"/>
              <a:gd name="T59" fmla="*/ 2147483647 h 297"/>
              <a:gd name="T60" fmla="*/ 2147483647 w 417"/>
              <a:gd name="T61" fmla="*/ 2147483647 h 297"/>
              <a:gd name="T62" fmla="*/ 2147483647 w 417"/>
              <a:gd name="T63" fmla="*/ 2147483647 h 297"/>
              <a:gd name="T64" fmla="*/ 2147483647 w 417"/>
              <a:gd name="T65" fmla="*/ 2147483647 h 297"/>
              <a:gd name="T66" fmla="*/ 2147483647 w 417"/>
              <a:gd name="T67" fmla="*/ 2147483647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17" h="297">
                <a:moveTo>
                  <a:pt x="409" y="63"/>
                </a:moveTo>
                <a:cubicBezTo>
                  <a:pt x="404" y="63"/>
                  <a:pt x="401" y="67"/>
                  <a:pt x="401" y="71"/>
                </a:cubicBezTo>
                <a:cubicBezTo>
                  <a:pt x="401" y="71"/>
                  <a:pt x="401" y="71"/>
                  <a:pt x="401" y="71"/>
                </a:cubicBezTo>
                <a:cubicBezTo>
                  <a:pt x="401" y="138"/>
                  <a:pt x="401" y="138"/>
                  <a:pt x="401" y="138"/>
                </a:cubicBezTo>
                <a:cubicBezTo>
                  <a:pt x="344" y="138"/>
                  <a:pt x="344" y="138"/>
                  <a:pt x="344" y="138"/>
                </a:cubicBezTo>
                <a:cubicBezTo>
                  <a:pt x="323" y="64"/>
                  <a:pt x="323" y="64"/>
                  <a:pt x="323" y="64"/>
                </a:cubicBezTo>
                <a:cubicBezTo>
                  <a:pt x="322" y="61"/>
                  <a:pt x="318" y="58"/>
                  <a:pt x="315" y="58"/>
                </a:cubicBezTo>
                <a:cubicBezTo>
                  <a:pt x="315" y="58"/>
                  <a:pt x="315" y="58"/>
                  <a:pt x="315" y="58"/>
                </a:cubicBezTo>
                <a:cubicBezTo>
                  <a:pt x="311" y="58"/>
                  <a:pt x="308" y="61"/>
                  <a:pt x="307" y="64"/>
                </a:cubicBezTo>
                <a:cubicBezTo>
                  <a:pt x="272" y="193"/>
                  <a:pt x="272" y="193"/>
                  <a:pt x="272" y="193"/>
                </a:cubicBezTo>
                <a:cubicBezTo>
                  <a:pt x="252" y="111"/>
                  <a:pt x="252" y="111"/>
                  <a:pt x="252" y="111"/>
                </a:cubicBezTo>
                <a:cubicBezTo>
                  <a:pt x="251" y="108"/>
                  <a:pt x="248" y="105"/>
                  <a:pt x="245" y="105"/>
                </a:cubicBezTo>
                <a:cubicBezTo>
                  <a:pt x="242" y="105"/>
                  <a:pt x="238" y="107"/>
                  <a:pt x="237" y="110"/>
                </a:cubicBezTo>
                <a:cubicBezTo>
                  <a:pt x="225" y="138"/>
                  <a:pt x="225" y="138"/>
                  <a:pt x="225" y="138"/>
                </a:cubicBezTo>
                <a:cubicBezTo>
                  <a:pt x="194" y="138"/>
                  <a:pt x="194" y="138"/>
                  <a:pt x="194" y="138"/>
                </a:cubicBezTo>
                <a:cubicBezTo>
                  <a:pt x="173" y="64"/>
                  <a:pt x="173" y="64"/>
                  <a:pt x="173" y="64"/>
                </a:cubicBezTo>
                <a:cubicBezTo>
                  <a:pt x="172" y="60"/>
                  <a:pt x="169" y="58"/>
                  <a:pt x="165" y="58"/>
                </a:cubicBezTo>
                <a:cubicBezTo>
                  <a:pt x="165" y="58"/>
                  <a:pt x="165" y="58"/>
                  <a:pt x="165" y="58"/>
                </a:cubicBezTo>
                <a:cubicBezTo>
                  <a:pt x="161" y="58"/>
                  <a:pt x="158" y="61"/>
                  <a:pt x="157" y="64"/>
                </a:cubicBezTo>
                <a:cubicBezTo>
                  <a:pt x="122" y="194"/>
                  <a:pt x="122" y="194"/>
                  <a:pt x="122" y="194"/>
                </a:cubicBezTo>
                <a:cubicBezTo>
                  <a:pt x="99" y="110"/>
                  <a:pt x="99" y="110"/>
                  <a:pt x="99" y="110"/>
                </a:cubicBezTo>
                <a:cubicBezTo>
                  <a:pt x="98" y="107"/>
                  <a:pt x="95" y="104"/>
                  <a:pt x="92" y="104"/>
                </a:cubicBezTo>
                <a:cubicBezTo>
                  <a:pt x="88" y="104"/>
                  <a:pt x="85" y="106"/>
                  <a:pt x="84" y="109"/>
                </a:cubicBezTo>
                <a:cubicBezTo>
                  <a:pt x="73" y="138"/>
                  <a:pt x="73" y="138"/>
                  <a:pt x="73" y="138"/>
                </a:cubicBezTo>
                <a:cubicBezTo>
                  <a:pt x="16" y="138"/>
                  <a:pt x="16" y="138"/>
                  <a:pt x="16" y="138"/>
                </a:cubicBezTo>
                <a:cubicBezTo>
                  <a:pt x="16" y="25"/>
                  <a:pt x="16" y="25"/>
                  <a:pt x="16" y="25"/>
                </a:cubicBezTo>
                <a:cubicBezTo>
                  <a:pt x="16" y="20"/>
                  <a:pt x="20" y="16"/>
                  <a:pt x="25" y="16"/>
                </a:cubicBezTo>
                <a:cubicBezTo>
                  <a:pt x="392" y="16"/>
                  <a:pt x="392" y="16"/>
                  <a:pt x="392" y="16"/>
                </a:cubicBezTo>
                <a:cubicBezTo>
                  <a:pt x="397" y="16"/>
                  <a:pt x="401" y="20"/>
                  <a:pt x="401" y="25"/>
                </a:cubicBezTo>
                <a:cubicBezTo>
                  <a:pt x="401" y="39"/>
                  <a:pt x="401" y="39"/>
                  <a:pt x="401" y="39"/>
                </a:cubicBezTo>
                <a:cubicBezTo>
                  <a:pt x="401" y="43"/>
                  <a:pt x="404" y="47"/>
                  <a:pt x="409" y="47"/>
                </a:cubicBezTo>
                <a:cubicBezTo>
                  <a:pt x="413" y="47"/>
                  <a:pt x="417" y="43"/>
                  <a:pt x="417" y="39"/>
                </a:cubicBezTo>
                <a:cubicBezTo>
                  <a:pt x="417" y="25"/>
                  <a:pt x="417" y="25"/>
                  <a:pt x="417" y="25"/>
                </a:cubicBezTo>
                <a:cubicBezTo>
                  <a:pt x="417" y="11"/>
                  <a:pt x="406" y="0"/>
                  <a:pt x="392" y="0"/>
                </a:cubicBezTo>
                <a:cubicBezTo>
                  <a:pt x="25" y="0"/>
                  <a:pt x="25" y="0"/>
                  <a:pt x="25" y="0"/>
                </a:cubicBezTo>
                <a:cubicBezTo>
                  <a:pt x="11" y="0"/>
                  <a:pt x="0" y="11"/>
                  <a:pt x="0" y="25"/>
                </a:cubicBezTo>
                <a:cubicBezTo>
                  <a:pt x="0" y="272"/>
                  <a:pt x="0" y="272"/>
                  <a:pt x="0" y="272"/>
                </a:cubicBezTo>
                <a:cubicBezTo>
                  <a:pt x="0" y="286"/>
                  <a:pt x="11" y="297"/>
                  <a:pt x="25" y="297"/>
                </a:cubicBezTo>
                <a:cubicBezTo>
                  <a:pt x="392" y="297"/>
                  <a:pt x="392" y="297"/>
                  <a:pt x="392" y="297"/>
                </a:cubicBezTo>
                <a:cubicBezTo>
                  <a:pt x="406" y="297"/>
                  <a:pt x="417" y="286"/>
                  <a:pt x="417" y="272"/>
                </a:cubicBezTo>
                <a:cubicBezTo>
                  <a:pt x="417" y="71"/>
                  <a:pt x="417" y="71"/>
                  <a:pt x="417" y="71"/>
                </a:cubicBezTo>
                <a:cubicBezTo>
                  <a:pt x="417" y="67"/>
                  <a:pt x="413" y="63"/>
                  <a:pt x="409" y="63"/>
                </a:cubicBezTo>
                <a:close/>
                <a:moveTo>
                  <a:pt x="401" y="272"/>
                </a:moveTo>
                <a:cubicBezTo>
                  <a:pt x="401" y="277"/>
                  <a:pt x="397" y="281"/>
                  <a:pt x="392" y="281"/>
                </a:cubicBezTo>
                <a:cubicBezTo>
                  <a:pt x="25" y="281"/>
                  <a:pt x="25" y="281"/>
                  <a:pt x="25" y="281"/>
                </a:cubicBezTo>
                <a:cubicBezTo>
                  <a:pt x="20" y="281"/>
                  <a:pt x="16" y="277"/>
                  <a:pt x="16" y="272"/>
                </a:cubicBezTo>
                <a:cubicBezTo>
                  <a:pt x="16" y="154"/>
                  <a:pt x="16" y="154"/>
                  <a:pt x="16" y="154"/>
                </a:cubicBezTo>
                <a:cubicBezTo>
                  <a:pt x="78" y="154"/>
                  <a:pt x="78" y="154"/>
                  <a:pt x="78" y="154"/>
                </a:cubicBezTo>
                <a:cubicBezTo>
                  <a:pt x="81" y="154"/>
                  <a:pt x="84" y="152"/>
                  <a:pt x="85" y="149"/>
                </a:cubicBezTo>
                <a:cubicBezTo>
                  <a:pt x="90" y="138"/>
                  <a:pt x="90" y="138"/>
                  <a:pt x="90" y="138"/>
                </a:cubicBezTo>
                <a:cubicBezTo>
                  <a:pt x="115" y="227"/>
                  <a:pt x="115" y="227"/>
                  <a:pt x="115" y="227"/>
                </a:cubicBezTo>
                <a:cubicBezTo>
                  <a:pt x="116" y="230"/>
                  <a:pt x="119" y="232"/>
                  <a:pt x="122" y="232"/>
                </a:cubicBezTo>
                <a:cubicBezTo>
                  <a:pt x="122" y="232"/>
                  <a:pt x="122" y="232"/>
                  <a:pt x="122" y="232"/>
                </a:cubicBezTo>
                <a:cubicBezTo>
                  <a:pt x="126" y="232"/>
                  <a:pt x="129" y="230"/>
                  <a:pt x="130" y="227"/>
                </a:cubicBezTo>
                <a:cubicBezTo>
                  <a:pt x="165" y="96"/>
                  <a:pt x="165" y="96"/>
                  <a:pt x="165" y="96"/>
                </a:cubicBezTo>
                <a:cubicBezTo>
                  <a:pt x="180" y="148"/>
                  <a:pt x="180" y="148"/>
                  <a:pt x="180" y="148"/>
                </a:cubicBezTo>
                <a:cubicBezTo>
                  <a:pt x="181" y="151"/>
                  <a:pt x="185" y="154"/>
                  <a:pt x="188" y="154"/>
                </a:cubicBezTo>
                <a:cubicBezTo>
                  <a:pt x="230" y="154"/>
                  <a:pt x="230" y="154"/>
                  <a:pt x="230" y="154"/>
                </a:cubicBezTo>
                <a:cubicBezTo>
                  <a:pt x="233" y="154"/>
                  <a:pt x="236" y="152"/>
                  <a:pt x="237" y="149"/>
                </a:cubicBezTo>
                <a:cubicBezTo>
                  <a:pt x="242" y="138"/>
                  <a:pt x="242" y="138"/>
                  <a:pt x="242" y="138"/>
                </a:cubicBezTo>
                <a:cubicBezTo>
                  <a:pt x="264" y="226"/>
                  <a:pt x="264" y="226"/>
                  <a:pt x="264" y="226"/>
                </a:cubicBezTo>
                <a:cubicBezTo>
                  <a:pt x="265" y="230"/>
                  <a:pt x="268" y="232"/>
                  <a:pt x="272" y="232"/>
                </a:cubicBezTo>
                <a:cubicBezTo>
                  <a:pt x="272" y="232"/>
                  <a:pt x="272" y="232"/>
                  <a:pt x="272" y="232"/>
                </a:cubicBezTo>
                <a:cubicBezTo>
                  <a:pt x="275" y="232"/>
                  <a:pt x="278" y="230"/>
                  <a:pt x="279" y="227"/>
                </a:cubicBezTo>
                <a:cubicBezTo>
                  <a:pt x="315" y="96"/>
                  <a:pt x="315" y="96"/>
                  <a:pt x="315" y="96"/>
                </a:cubicBezTo>
                <a:cubicBezTo>
                  <a:pt x="330" y="149"/>
                  <a:pt x="330" y="149"/>
                  <a:pt x="330" y="149"/>
                </a:cubicBezTo>
                <a:cubicBezTo>
                  <a:pt x="331" y="152"/>
                  <a:pt x="334" y="154"/>
                  <a:pt x="338" y="154"/>
                </a:cubicBezTo>
                <a:cubicBezTo>
                  <a:pt x="401" y="154"/>
                  <a:pt x="401" y="154"/>
                  <a:pt x="401" y="154"/>
                </a:cubicBezTo>
                <a:lnTo>
                  <a:pt x="401" y="272"/>
                </a:lnTo>
                <a:close/>
              </a:path>
            </a:pathLst>
          </a:custGeom>
          <a:solidFill>
            <a:srgbClr val="FFFFFF"/>
          </a:solidFill>
          <a:ln>
            <a:noFill/>
          </a:ln>
        </p:spPr>
        <p:txBody>
          <a:bodyPr/>
          <a:lstStyle/>
          <a:p>
            <a:endParaRPr lang="sv-SE"/>
          </a:p>
        </p:txBody>
      </p:sp>
      <p:sp>
        <p:nvSpPr>
          <p:cNvPr id="110" name="Freeform 3"/>
          <p:cNvSpPr>
            <a:spLocks noChangeAspect="1" noEditPoints="1"/>
          </p:cNvSpPr>
          <p:nvPr/>
        </p:nvSpPr>
        <p:spPr bwMode="auto">
          <a:xfrm>
            <a:off x="6224708" y="4770475"/>
            <a:ext cx="247657" cy="199028"/>
          </a:xfrm>
          <a:custGeom>
            <a:avLst/>
            <a:gdLst>
              <a:gd name="T0" fmla="*/ 2147483647 w 418"/>
              <a:gd name="T1" fmla="*/ 2147483647 h 336"/>
              <a:gd name="T2" fmla="*/ 2147483647 w 418"/>
              <a:gd name="T3" fmla="*/ 2147483647 h 336"/>
              <a:gd name="T4" fmla="*/ 2147483647 w 418"/>
              <a:gd name="T5" fmla="*/ 2147483647 h 336"/>
              <a:gd name="T6" fmla="*/ 2147483647 w 418"/>
              <a:gd name="T7" fmla="*/ 2147483647 h 336"/>
              <a:gd name="T8" fmla="*/ 2147483647 w 418"/>
              <a:gd name="T9" fmla="*/ 2147483647 h 336"/>
              <a:gd name="T10" fmla="*/ 2147483647 w 418"/>
              <a:gd name="T11" fmla="*/ 2147483647 h 336"/>
              <a:gd name="T12" fmla="*/ 2147483647 w 418"/>
              <a:gd name="T13" fmla="*/ 2147483647 h 336"/>
              <a:gd name="T14" fmla="*/ 2147483647 w 418"/>
              <a:gd name="T15" fmla="*/ 2147483647 h 336"/>
              <a:gd name="T16" fmla="*/ 2147483647 w 418"/>
              <a:gd name="T17" fmla="*/ 2147483647 h 336"/>
              <a:gd name="T18" fmla="*/ 2147483647 w 418"/>
              <a:gd name="T19" fmla="*/ 2147483647 h 336"/>
              <a:gd name="T20" fmla="*/ 2147483647 w 418"/>
              <a:gd name="T21" fmla="*/ 2147483647 h 336"/>
              <a:gd name="T22" fmla="*/ 2147483647 w 418"/>
              <a:gd name="T23" fmla="*/ 2147483647 h 336"/>
              <a:gd name="T24" fmla="*/ 2147483647 w 418"/>
              <a:gd name="T25" fmla="*/ 2147483647 h 336"/>
              <a:gd name="T26" fmla="*/ 2147483647 w 418"/>
              <a:gd name="T27" fmla="*/ 2147483647 h 336"/>
              <a:gd name="T28" fmla="*/ 2147483647 w 418"/>
              <a:gd name="T29" fmla="*/ 2147483647 h 336"/>
              <a:gd name="T30" fmla="*/ 2147483647 w 418"/>
              <a:gd name="T31" fmla="*/ 2147483647 h 336"/>
              <a:gd name="T32" fmla="*/ 2147483647 w 418"/>
              <a:gd name="T33" fmla="*/ 2147483647 h 336"/>
              <a:gd name="T34" fmla="*/ 2147483647 w 418"/>
              <a:gd name="T35" fmla="*/ 2147483647 h 336"/>
              <a:gd name="T36" fmla="*/ 2147483647 w 418"/>
              <a:gd name="T37" fmla="*/ 2147483647 h 336"/>
              <a:gd name="T38" fmla="*/ 2147483647 w 418"/>
              <a:gd name="T39" fmla="*/ 2147483647 h 336"/>
              <a:gd name="T40" fmla="*/ 2147483647 w 418"/>
              <a:gd name="T41" fmla="*/ 2147483647 h 336"/>
              <a:gd name="T42" fmla="*/ 2147483647 w 418"/>
              <a:gd name="T43" fmla="*/ 2147483647 h 336"/>
              <a:gd name="T44" fmla="*/ 2147483647 w 418"/>
              <a:gd name="T45" fmla="*/ 2147483647 h 336"/>
              <a:gd name="T46" fmla="*/ 2147483647 w 418"/>
              <a:gd name="T47" fmla="*/ 2147483647 h 336"/>
              <a:gd name="T48" fmla="*/ 2147483647 w 418"/>
              <a:gd name="T49" fmla="*/ 2147483647 h 336"/>
              <a:gd name="T50" fmla="*/ 2147483647 w 418"/>
              <a:gd name="T51" fmla="*/ 2147483647 h 336"/>
              <a:gd name="T52" fmla="*/ 2147483647 w 418"/>
              <a:gd name="T53" fmla="*/ 2147483647 h 336"/>
              <a:gd name="T54" fmla="*/ 2147483647 w 418"/>
              <a:gd name="T55" fmla="*/ 2147483647 h 336"/>
              <a:gd name="T56" fmla="*/ 2147483647 w 418"/>
              <a:gd name="T57" fmla="*/ 2147483647 h 336"/>
              <a:gd name="T58" fmla="*/ 2147483647 w 418"/>
              <a:gd name="T59" fmla="*/ 2147483647 h 336"/>
              <a:gd name="T60" fmla="*/ 2147483647 w 418"/>
              <a:gd name="T61" fmla="*/ 2147483647 h 336"/>
              <a:gd name="T62" fmla="*/ 2147483647 w 418"/>
              <a:gd name="T63" fmla="*/ 2147483647 h 336"/>
              <a:gd name="T64" fmla="*/ 2147483647 w 418"/>
              <a:gd name="T65" fmla="*/ 2147483647 h 336"/>
              <a:gd name="T66" fmla="*/ 2147483647 w 418"/>
              <a:gd name="T67" fmla="*/ 2147483647 h 336"/>
              <a:gd name="T68" fmla="*/ 2147483647 w 418"/>
              <a:gd name="T69" fmla="*/ 2147483647 h 336"/>
              <a:gd name="T70" fmla="*/ 2147483647 w 418"/>
              <a:gd name="T71" fmla="*/ 2147483647 h 336"/>
              <a:gd name="T72" fmla="*/ 2147483647 w 418"/>
              <a:gd name="T73" fmla="*/ 2147483647 h 336"/>
              <a:gd name="T74" fmla="*/ 2147483647 w 418"/>
              <a:gd name="T75" fmla="*/ 2147483647 h 336"/>
              <a:gd name="T76" fmla="*/ 2147483647 w 418"/>
              <a:gd name="T77" fmla="*/ 2147483647 h 336"/>
              <a:gd name="T78" fmla="*/ 2147483647 w 418"/>
              <a:gd name="T79" fmla="*/ 2147483647 h 336"/>
              <a:gd name="T80" fmla="*/ 2147483647 w 418"/>
              <a:gd name="T81" fmla="*/ 2147483647 h 336"/>
              <a:gd name="T82" fmla="*/ 2147483647 w 418"/>
              <a:gd name="T83" fmla="*/ 2147483647 h 336"/>
              <a:gd name="T84" fmla="*/ 2147483647 w 418"/>
              <a:gd name="T85" fmla="*/ 2147483647 h 336"/>
              <a:gd name="T86" fmla="*/ 2147483647 w 418"/>
              <a:gd name="T87" fmla="*/ 2147483647 h 336"/>
              <a:gd name="T88" fmla="*/ 2147483647 w 418"/>
              <a:gd name="T89" fmla="*/ 0 h 336"/>
              <a:gd name="T90" fmla="*/ 2147483647 w 418"/>
              <a:gd name="T91" fmla="*/ 0 h 336"/>
              <a:gd name="T92" fmla="*/ 2147483647 w 418"/>
              <a:gd name="T93" fmla="*/ 2147483647 h 336"/>
              <a:gd name="T94" fmla="*/ 2147483647 w 418"/>
              <a:gd name="T95" fmla="*/ 2147483647 h 336"/>
              <a:gd name="T96" fmla="*/ 2147483647 w 418"/>
              <a:gd name="T97" fmla="*/ 2147483647 h 336"/>
              <a:gd name="T98" fmla="*/ 0 w 418"/>
              <a:gd name="T99" fmla="*/ 2147483647 h 336"/>
              <a:gd name="T100" fmla="*/ 0 w 418"/>
              <a:gd name="T101" fmla="*/ 2147483647 h 336"/>
              <a:gd name="T102" fmla="*/ 2147483647 w 418"/>
              <a:gd name="T103" fmla="*/ 2147483647 h 336"/>
              <a:gd name="T104" fmla="*/ 2147483647 w 418"/>
              <a:gd name="T105" fmla="*/ 2147483647 h 336"/>
              <a:gd name="T106" fmla="*/ 2147483647 w 418"/>
              <a:gd name="T107" fmla="*/ 2147483647 h 336"/>
              <a:gd name="T108" fmla="*/ 2147483647 w 418"/>
              <a:gd name="T109" fmla="*/ 2147483647 h 336"/>
              <a:gd name="T110" fmla="*/ 2147483647 w 418"/>
              <a:gd name="T111" fmla="*/ 2147483647 h 336"/>
              <a:gd name="T112" fmla="*/ 2147483647 w 418"/>
              <a:gd name="T113" fmla="*/ 2147483647 h 336"/>
              <a:gd name="T114" fmla="*/ 2147483647 w 418"/>
              <a:gd name="T115" fmla="*/ 2147483647 h 336"/>
              <a:gd name="T116" fmla="*/ 2147483647 w 418"/>
              <a:gd name="T117" fmla="*/ 2147483647 h 336"/>
              <a:gd name="T118" fmla="*/ 2147483647 w 418"/>
              <a:gd name="T119" fmla="*/ 2147483647 h 336"/>
              <a:gd name="T120" fmla="*/ 2147483647 w 418"/>
              <a:gd name="T121" fmla="*/ 2147483647 h 336"/>
              <a:gd name="T122" fmla="*/ 2147483647 w 418"/>
              <a:gd name="T123" fmla="*/ 2147483647 h 336"/>
              <a:gd name="T124" fmla="*/ 2147483647 w 418"/>
              <a:gd name="T125" fmla="*/ 2147483647 h 3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18" h="336">
                <a:moveTo>
                  <a:pt x="103" y="187"/>
                </a:moveTo>
                <a:cubicBezTo>
                  <a:pt x="103" y="246"/>
                  <a:pt x="151" y="293"/>
                  <a:pt x="209" y="293"/>
                </a:cubicBezTo>
                <a:cubicBezTo>
                  <a:pt x="267" y="293"/>
                  <a:pt x="315" y="246"/>
                  <a:pt x="315" y="187"/>
                </a:cubicBezTo>
                <a:cubicBezTo>
                  <a:pt x="315" y="129"/>
                  <a:pt x="267" y="82"/>
                  <a:pt x="209" y="82"/>
                </a:cubicBezTo>
                <a:cubicBezTo>
                  <a:pt x="151" y="82"/>
                  <a:pt x="103" y="129"/>
                  <a:pt x="103" y="187"/>
                </a:cubicBezTo>
                <a:close/>
                <a:moveTo>
                  <a:pt x="236" y="130"/>
                </a:moveTo>
                <a:cubicBezTo>
                  <a:pt x="236" y="161"/>
                  <a:pt x="236" y="161"/>
                  <a:pt x="236" y="161"/>
                </a:cubicBezTo>
                <a:cubicBezTo>
                  <a:pt x="266" y="161"/>
                  <a:pt x="266" y="161"/>
                  <a:pt x="266" y="161"/>
                </a:cubicBezTo>
                <a:cubicBezTo>
                  <a:pt x="275" y="161"/>
                  <a:pt x="282" y="168"/>
                  <a:pt x="282" y="177"/>
                </a:cubicBezTo>
                <a:cubicBezTo>
                  <a:pt x="282" y="198"/>
                  <a:pt x="282" y="198"/>
                  <a:pt x="282" y="198"/>
                </a:cubicBezTo>
                <a:cubicBezTo>
                  <a:pt x="282" y="207"/>
                  <a:pt x="275" y="214"/>
                  <a:pt x="266" y="214"/>
                </a:cubicBezTo>
                <a:cubicBezTo>
                  <a:pt x="236" y="214"/>
                  <a:pt x="236" y="214"/>
                  <a:pt x="236" y="214"/>
                </a:cubicBezTo>
                <a:cubicBezTo>
                  <a:pt x="236" y="245"/>
                  <a:pt x="236" y="245"/>
                  <a:pt x="236" y="245"/>
                </a:cubicBezTo>
                <a:cubicBezTo>
                  <a:pt x="236" y="253"/>
                  <a:pt x="228" y="261"/>
                  <a:pt x="220" y="261"/>
                </a:cubicBezTo>
                <a:cubicBezTo>
                  <a:pt x="199" y="261"/>
                  <a:pt x="199" y="261"/>
                  <a:pt x="199" y="261"/>
                </a:cubicBezTo>
                <a:cubicBezTo>
                  <a:pt x="190" y="261"/>
                  <a:pt x="183" y="253"/>
                  <a:pt x="183" y="245"/>
                </a:cubicBezTo>
                <a:cubicBezTo>
                  <a:pt x="183" y="214"/>
                  <a:pt x="183" y="214"/>
                  <a:pt x="183" y="214"/>
                </a:cubicBezTo>
                <a:cubicBezTo>
                  <a:pt x="152" y="214"/>
                  <a:pt x="152" y="214"/>
                  <a:pt x="152" y="214"/>
                </a:cubicBezTo>
                <a:cubicBezTo>
                  <a:pt x="143" y="214"/>
                  <a:pt x="136" y="207"/>
                  <a:pt x="136" y="198"/>
                </a:cubicBezTo>
                <a:cubicBezTo>
                  <a:pt x="136" y="177"/>
                  <a:pt x="136" y="177"/>
                  <a:pt x="136" y="177"/>
                </a:cubicBezTo>
                <a:cubicBezTo>
                  <a:pt x="136" y="168"/>
                  <a:pt x="143" y="161"/>
                  <a:pt x="152" y="161"/>
                </a:cubicBezTo>
                <a:cubicBezTo>
                  <a:pt x="183" y="161"/>
                  <a:pt x="183" y="161"/>
                  <a:pt x="183" y="161"/>
                </a:cubicBezTo>
                <a:cubicBezTo>
                  <a:pt x="183" y="130"/>
                  <a:pt x="183" y="130"/>
                  <a:pt x="183" y="130"/>
                </a:cubicBezTo>
                <a:cubicBezTo>
                  <a:pt x="183" y="121"/>
                  <a:pt x="190" y="114"/>
                  <a:pt x="199" y="114"/>
                </a:cubicBezTo>
                <a:cubicBezTo>
                  <a:pt x="220" y="114"/>
                  <a:pt x="220" y="114"/>
                  <a:pt x="220" y="114"/>
                </a:cubicBezTo>
                <a:cubicBezTo>
                  <a:pt x="228" y="114"/>
                  <a:pt x="236" y="121"/>
                  <a:pt x="236" y="130"/>
                </a:cubicBezTo>
                <a:close/>
                <a:moveTo>
                  <a:pt x="410" y="102"/>
                </a:moveTo>
                <a:cubicBezTo>
                  <a:pt x="405" y="102"/>
                  <a:pt x="402" y="106"/>
                  <a:pt x="402" y="110"/>
                </a:cubicBezTo>
                <a:cubicBezTo>
                  <a:pt x="402" y="110"/>
                  <a:pt x="402" y="110"/>
                  <a:pt x="402" y="110"/>
                </a:cubicBezTo>
                <a:cubicBezTo>
                  <a:pt x="402" y="311"/>
                  <a:pt x="402" y="311"/>
                  <a:pt x="402" y="311"/>
                </a:cubicBezTo>
                <a:cubicBezTo>
                  <a:pt x="402" y="316"/>
                  <a:pt x="398" y="320"/>
                  <a:pt x="393" y="320"/>
                </a:cubicBezTo>
                <a:cubicBezTo>
                  <a:pt x="25" y="320"/>
                  <a:pt x="25" y="320"/>
                  <a:pt x="25" y="320"/>
                </a:cubicBezTo>
                <a:cubicBezTo>
                  <a:pt x="20" y="320"/>
                  <a:pt x="16" y="316"/>
                  <a:pt x="16" y="311"/>
                </a:cubicBezTo>
                <a:cubicBezTo>
                  <a:pt x="16" y="64"/>
                  <a:pt x="16" y="64"/>
                  <a:pt x="16" y="64"/>
                </a:cubicBezTo>
                <a:cubicBezTo>
                  <a:pt x="16" y="59"/>
                  <a:pt x="20" y="55"/>
                  <a:pt x="25" y="55"/>
                </a:cubicBezTo>
                <a:cubicBezTo>
                  <a:pt x="393" y="55"/>
                  <a:pt x="393" y="55"/>
                  <a:pt x="393" y="55"/>
                </a:cubicBezTo>
                <a:cubicBezTo>
                  <a:pt x="398" y="55"/>
                  <a:pt x="402" y="59"/>
                  <a:pt x="402" y="64"/>
                </a:cubicBezTo>
                <a:cubicBezTo>
                  <a:pt x="402" y="78"/>
                  <a:pt x="402" y="78"/>
                  <a:pt x="402" y="78"/>
                </a:cubicBezTo>
                <a:cubicBezTo>
                  <a:pt x="402" y="82"/>
                  <a:pt x="405" y="86"/>
                  <a:pt x="410" y="86"/>
                </a:cubicBezTo>
                <a:cubicBezTo>
                  <a:pt x="414" y="86"/>
                  <a:pt x="418" y="82"/>
                  <a:pt x="418" y="78"/>
                </a:cubicBezTo>
                <a:cubicBezTo>
                  <a:pt x="418" y="64"/>
                  <a:pt x="418" y="64"/>
                  <a:pt x="418" y="64"/>
                </a:cubicBezTo>
                <a:cubicBezTo>
                  <a:pt x="418" y="50"/>
                  <a:pt x="406" y="39"/>
                  <a:pt x="393" y="39"/>
                </a:cubicBezTo>
                <a:cubicBezTo>
                  <a:pt x="286" y="39"/>
                  <a:pt x="286" y="39"/>
                  <a:pt x="286" y="39"/>
                </a:cubicBezTo>
                <a:cubicBezTo>
                  <a:pt x="286" y="24"/>
                  <a:pt x="286" y="24"/>
                  <a:pt x="286" y="24"/>
                </a:cubicBezTo>
                <a:cubicBezTo>
                  <a:pt x="286" y="10"/>
                  <a:pt x="275" y="0"/>
                  <a:pt x="262" y="0"/>
                </a:cubicBezTo>
                <a:cubicBezTo>
                  <a:pt x="156" y="0"/>
                  <a:pt x="156" y="0"/>
                  <a:pt x="156" y="0"/>
                </a:cubicBezTo>
                <a:cubicBezTo>
                  <a:pt x="143" y="0"/>
                  <a:pt x="132" y="10"/>
                  <a:pt x="132" y="24"/>
                </a:cubicBezTo>
                <a:cubicBezTo>
                  <a:pt x="132" y="39"/>
                  <a:pt x="132" y="39"/>
                  <a:pt x="132" y="39"/>
                </a:cubicBezTo>
                <a:cubicBezTo>
                  <a:pt x="25" y="39"/>
                  <a:pt x="25" y="39"/>
                  <a:pt x="25" y="39"/>
                </a:cubicBezTo>
                <a:cubicBezTo>
                  <a:pt x="12" y="39"/>
                  <a:pt x="0" y="50"/>
                  <a:pt x="0" y="64"/>
                </a:cubicBezTo>
                <a:cubicBezTo>
                  <a:pt x="0" y="311"/>
                  <a:pt x="0" y="311"/>
                  <a:pt x="0" y="311"/>
                </a:cubicBezTo>
                <a:cubicBezTo>
                  <a:pt x="0" y="325"/>
                  <a:pt x="12" y="336"/>
                  <a:pt x="25" y="336"/>
                </a:cubicBezTo>
                <a:cubicBezTo>
                  <a:pt x="393" y="336"/>
                  <a:pt x="393" y="336"/>
                  <a:pt x="393" y="336"/>
                </a:cubicBezTo>
                <a:cubicBezTo>
                  <a:pt x="406" y="336"/>
                  <a:pt x="418" y="325"/>
                  <a:pt x="418" y="311"/>
                </a:cubicBezTo>
                <a:cubicBezTo>
                  <a:pt x="418" y="110"/>
                  <a:pt x="418" y="110"/>
                  <a:pt x="418" y="110"/>
                </a:cubicBezTo>
                <a:cubicBezTo>
                  <a:pt x="418" y="106"/>
                  <a:pt x="414" y="102"/>
                  <a:pt x="410" y="102"/>
                </a:cubicBezTo>
                <a:close/>
                <a:moveTo>
                  <a:pt x="156" y="16"/>
                </a:moveTo>
                <a:cubicBezTo>
                  <a:pt x="262" y="16"/>
                  <a:pt x="262" y="16"/>
                  <a:pt x="262" y="16"/>
                </a:cubicBezTo>
                <a:cubicBezTo>
                  <a:pt x="266" y="16"/>
                  <a:pt x="270" y="19"/>
                  <a:pt x="270" y="24"/>
                </a:cubicBezTo>
                <a:cubicBezTo>
                  <a:pt x="270" y="39"/>
                  <a:pt x="270" y="39"/>
                  <a:pt x="270" y="39"/>
                </a:cubicBezTo>
                <a:cubicBezTo>
                  <a:pt x="148" y="39"/>
                  <a:pt x="148" y="39"/>
                  <a:pt x="148" y="39"/>
                </a:cubicBezTo>
                <a:cubicBezTo>
                  <a:pt x="148" y="24"/>
                  <a:pt x="148" y="24"/>
                  <a:pt x="148" y="24"/>
                </a:cubicBezTo>
                <a:cubicBezTo>
                  <a:pt x="148" y="19"/>
                  <a:pt x="152" y="16"/>
                  <a:pt x="156" y="16"/>
                </a:cubicBezTo>
                <a:close/>
              </a:path>
            </a:pathLst>
          </a:custGeom>
          <a:solidFill>
            <a:srgbClr val="FFFFFF"/>
          </a:solidFill>
          <a:ln>
            <a:noFill/>
          </a:ln>
        </p:spPr>
        <p:txBody>
          <a:bodyPr/>
          <a:lstStyle/>
          <a:p>
            <a:endParaRPr lang="sv-SE"/>
          </a:p>
        </p:txBody>
      </p:sp>
      <p:sp>
        <p:nvSpPr>
          <p:cNvPr id="111" name="Freeform 3"/>
          <p:cNvSpPr>
            <a:spLocks noChangeAspect="1" noEditPoints="1"/>
          </p:cNvSpPr>
          <p:nvPr/>
        </p:nvSpPr>
        <p:spPr bwMode="auto">
          <a:xfrm>
            <a:off x="6168281" y="4506783"/>
            <a:ext cx="136171" cy="237802"/>
          </a:xfrm>
          <a:custGeom>
            <a:avLst/>
            <a:gdLst>
              <a:gd name="T0" fmla="*/ 2147483647 w 232"/>
              <a:gd name="T1" fmla="*/ 2147483647 h 405"/>
              <a:gd name="T2" fmla="*/ 2147483647 w 232"/>
              <a:gd name="T3" fmla="*/ 2147483647 h 405"/>
              <a:gd name="T4" fmla="*/ 2147483647 w 232"/>
              <a:gd name="T5" fmla="*/ 2147483647 h 405"/>
              <a:gd name="T6" fmla="*/ 2147483647 w 232"/>
              <a:gd name="T7" fmla="*/ 2147483647 h 405"/>
              <a:gd name="T8" fmla="*/ 2147483647 w 232"/>
              <a:gd name="T9" fmla="*/ 2147483647 h 405"/>
              <a:gd name="T10" fmla="*/ 2147483647 w 232"/>
              <a:gd name="T11" fmla="*/ 2147483647 h 405"/>
              <a:gd name="T12" fmla="*/ 2147483647 w 232"/>
              <a:gd name="T13" fmla="*/ 2147483647 h 405"/>
              <a:gd name="T14" fmla="*/ 2147483647 w 232"/>
              <a:gd name="T15" fmla="*/ 2147483647 h 405"/>
              <a:gd name="T16" fmla="*/ 2147483647 w 232"/>
              <a:gd name="T17" fmla="*/ 2147483647 h 405"/>
              <a:gd name="T18" fmla="*/ 2147483647 w 232"/>
              <a:gd name="T19" fmla="*/ 2147483647 h 405"/>
              <a:gd name="T20" fmla="*/ 2147483647 w 232"/>
              <a:gd name="T21" fmla="*/ 2147483647 h 405"/>
              <a:gd name="T22" fmla="*/ 2147483647 w 232"/>
              <a:gd name="T23" fmla="*/ 2147483647 h 405"/>
              <a:gd name="T24" fmla="*/ 2147483647 w 232"/>
              <a:gd name="T25" fmla="*/ 2147483647 h 405"/>
              <a:gd name="T26" fmla="*/ 2147483647 w 232"/>
              <a:gd name="T27" fmla="*/ 2147483647 h 405"/>
              <a:gd name="T28" fmla="*/ 2147483647 w 232"/>
              <a:gd name="T29" fmla="*/ 2147483647 h 405"/>
              <a:gd name="T30" fmla="*/ 2147483647 w 232"/>
              <a:gd name="T31" fmla="*/ 2147483647 h 405"/>
              <a:gd name="T32" fmla="*/ 2147483647 w 232"/>
              <a:gd name="T33" fmla="*/ 2147483647 h 405"/>
              <a:gd name="T34" fmla="*/ 2147483647 w 232"/>
              <a:gd name="T35" fmla="*/ 2147483647 h 405"/>
              <a:gd name="T36" fmla="*/ 2147483647 w 232"/>
              <a:gd name="T37" fmla="*/ 2147483647 h 405"/>
              <a:gd name="T38" fmla="*/ 2147483647 w 232"/>
              <a:gd name="T39" fmla="*/ 2147483647 h 405"/>
              <a:gd name="T40" fmla="*/ 2147483647 w 232"/>
              <a:gd name="T41" fmla="*/ 2147483647 h 405"/>
              <a:gd name="T42" fmla="*/ 2147483647 w 232"/>
              <a:gd name="T43" fmla="*/ 2147483647 h 405"/>
              <a:gd name="T44" fmla="*/ 2147483647 w 232"/>
              <a:gd name="T45" fmla="*/ 2147483647 h 405"/>
              <a:gd name="T46" fmla="*/ 2147483647 w 232"/>
              <a:gd name="T47" fmla="*/ 2147483647 h 405"/>
              <a:gd name="T48" fmla="*/ 2147483647 w 232"/>
              <a:gd name="T49" fmla="*/ 2147483647 h 405"/>
              <a:gd name="T50" fmla="*/ 2147483647 w 232"/>
              <a:gd name="T51" fmla="*/ 2147483647 h 405"/>
              <a:gd name="T52" fmla="*/ 2147483647 w 232"/>
              <a:gd name="T53" fmla="*/ 2147483647 h 405"/>
              <a:gd name="T54" fmla="*/ 2147483647 w 232"/>
              <a:gd name="T55" fmla="*/ 2147483647 h 405"/>
              <a:gd name="T56" fmla="*/ 2147483647 w 232"/>
              <a:gd name="T57" fmla="*/ 2147483647 h 405"/>
              <a:gd name="T58" fmla="*/ 2147483647 w 232"/>
              <a:gd name="T59" fmla="*/ 2147483647 h 405"/>
              <a:gd name="T60" fmla="*/ 2147483647 w 232"/>
              <a:gd name="T61" fmla="*/ 2147483647 h 405"/>
              <a:gd name="T62" fmla="*/ 2147483647 w 232"/>
              <a:gd name="T63" fmla="*/ 2147483647 h 405"/>
              <a:gd name="T64" fmla="*/ 2147483647 w 232"/>
              <a:gd name="T65" fmla="*/ 2147483647 h 405"/>
              <a:gd name="T66" fmla="*/ 2147483647 w 232"/>
              <a:gd name="T67" fmla="*/ 2147483647 h 405"/>
              <a:gd name="T68" fmla="*/ 2147483647 w 232"/>
              <a:gd name="T69" fmla="*/ 2147483647 h 405"/>
              <a:gd name="T70" fmla="*/ 2147483647 w 232"/>
              <a:gd name="T71" fmla="*/ 2147483647 h 405"/>
              <a:gd name="T72" fmla="*/ 2147483647 w 232"/>
              <a:gd name="T73" fmla="*/ 2147483647 h 405"/>
              <a:gd name="T74" fmla="*/ 2147483647 w 232"/>
              <a:gd name="T75" fmla="*/ 2147483647 h 405"/>
              <a:gd name="T76" fmla="*/ 2147483647 w 232"/>
              <a:gd name="T77" fmla="*/ 2147483647 h 405"/>
              <a:gd name="T78" fmla="*/ 2147483647 w 232"/>
              <a:gd name="T79" fmla="*/ 2147483647 h 405"/>
              <a:gd name="T80" fmla="*/ 2147483647 w 232"/>
              <a:gd name="T81" fmla="*/ 2147483647 h 405"/>
              <a:gd name="T82" fmla="*/ 2147483647 w 232"/>
              <a:gd name="T83" fmla="*/ 2147483647 h 405"/>
              <a:gd name="T84" fmla="*/ 2147483647 w 232"/>
              <a:gd name="T85" fmla="*/ 2147483647 h 405"/>
              <a:gd name="T86" fmla="*/ 2147483647 w 232"/>
              <a:gd name="T87" fmla="*/ 2147483647 h 405"/>
              <a:gd name="T88" fmla="*/ 2147483647 w 232"/>
              <a:gd name="T89" fmla="*/ 2147483647 h 40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32" h="405">
                <a:moveTo>
                  <a:pt x="218" y="87"/>
                </a:moveTo>
                <a:cubicBezTo>
                  <a:pt x="210" y="94"/>
                  <a:pt x="201" y="103"/>
                  <a:pt x="196" y="108"/>
                </a:cubicBezTo>
                <a:cubicBezTo>
                  <a:pt x="164" y="75"/>
                  <a:pt x="164" y="75"/>
                  <a:pt x="164" y="75"/>
                </a:cubicBezTo>
                <a:cubicBezTo>
                  <a:pt x="187" y="51"/>
                  <a:pt x="228" y="15"/>
                  <a:pt x="228" y="15"/>
                </a:cubicBezTo>
                <a:cubicBezTo>
                  <a:pt x="232" y="12"/>
                  <a:pt x="232" y="7"/>
                  <a:pt x="229" y="3"/>
                </a:cubicBezTo>
                <a:cubicBezTo>
                  <a:pt x="226" y="0"/>
                  <a:pt x="221" y="0"/>
                  <a:pt x="218" y="3"/>
                </a:cubicBezTo>
                <a:cubicBezTo>
                  <a:pt x="216" y="4"/>
                  <a:pt x="173" y="42"/>
                  <a:pt x="149" y="67"/>
                </a:cubicBezTo>
                <a:cubicBezTo>
                  <a:pt x="147" y="66"/>
                  <a:pt x="144" y="66"/>
                  <a:pt x="141" y="66"/>
                </a:cubicBezTo>
                <a:cubicBezTo>
                  <a:pt x="133" y="66"/>
                  <a:pt x="126" y="69"/>
                  <a:pt x="120" y="75"/>
                </a:cubicBezTo>
                <a:cubicBezTo>
                  <a:pt x="82" y="112"/>
                  <a:pt x="82" y="112"/>
                  <a:pt x="82" y="112"/>
                </a:cubicBezTo>
                <a:cubicBezTo>
                  <a:pt x="70" y="124"/>
                  <a:pt x="70" y="142"/>
                  <a:pt x="80" y="154"/>
                </a:cubicBezTo>
                <a:cubicBezTo>
                  <a:pt x="76" y="160"/>
                  <a:pt x="69" y="172"/>
                  <a:pt x="63" y="182"/>
                </a:cubicBezTo>
                <a:cubicBezTo>
                  <a:pt x="56" y="183"/>
                  <a:pt x="51" y="181"/>
                  <a:pt x="47" y="178"/>
                </a:cubicBezTo>
                <a:cubicBezTo>
                  <a:pt x="32" y="166"/>
                  <a:pt x="39" y="125"/>
                  <a:pt x="45" y="105"/>
                </a:cubicBezTo>
                <a:cubicBezTo>
                  <a:pt x="46" y="106"/>
                  <a:pt x="48" y="106"/>
                  <a:pt x="50" y="106"/>
                </a:cubicBezTo>
                <a:cubicBezTo>
                  <a:pt x="50" y="106"/>
                  <a:pt x="50" y="106"/>
                  <a:pt x="50" y="106"/>
                </a:cubicBezTo>
                <a:cubicBezTo>
                  <a:pt x="64" y="106"/>
                  <a:pt x="79" y="96"/>
                  <a:pt x="89" y="81"/>
                </a:cubicBezTo>
                <a:cubicBezTo>
                  <a:pt x="105" y="60"/>
                  <a:pt x="105" y="34"/>
                  <a:pt x="89" y="23"/>
                </a:cubicBezTo>
                <a:cubicBezTo>
                  <a:pt x="85" y="20"/>
                  <a:pt x="79" y="18"/>
                  <a:pt x="73" y="18"/>
                </a:cubicBezTo>
                <a:cubicBezTo>
                  <a:pt x="59" y="18"/>
                  <a:pt x="44" y="28"/>
                  <a:pt x="34" y="43"/>
                </a:cubicBezTo>
                <a:cubicBezTo>
                  <a:pt x="27" y="52"/>
                  <a:pt x="23" y="64"/>
                  <a:pt x="22" y="74"/>
                </a:cubicBezTo>
                <a:cubicBezTo>
                  <a:pt x="22" y="84"/>
                  <a:pt x="25" y="92"/>
                  <a:pt x="30" y="97"/>
                </a:cubicBezTo>
                <a:cubicBezTo>
                  <a:pt x="26" y="111"/>
                  <a:pt x="11" y="169"/>
                  <a:pt x="37" y="191"/>
                </a:cubicBezTo>
                <a:cubicBezTo>
                  <a:pt x="42" y="195"/>
                  <a:pt x="48" y="197"/>
                  <a:pt x="56" y="198"/>
                </a:cubicBezTo>
                <a:cubicBezTo>
                  <a:pt x="51" y="211"/>
                  <a:pt x="45" y="240"/>
                  <a:pt x="40" y="265"/>
                </a:cubicBezTo>
                <a:cubicBezTo>
                  <a:pt x="37" y="280"/>
                  <a:pt x="33" y="297"/>
                  <a:pt x="32" y="300"/>
                </a:cubicBezTo>
                <a:cubicBezTo>
                  <a:pt x="32" y="300"/>
                  <a:pt x="31" y="302"/>
                  <a:pt x="30" y="304"/>
                </a:cubicBezTo>
                <a:cubicBezTo>
                  <a:pt x="22" y="316"/>
                  <a:pt x="0" y="350"/>
                  <a:pt x="13" y="386"/>
                </a:cubicBezTo>
                <a:cubicBezTo>
                  <a:pt x="13" y="387"/>
                  <a:pt x="13" y="387"/>
                  <a:pt x="13" y="387"/>
                </a:cubicBezTo>
                <a:cubicBezTo>
                  <a:pt x="19" y="401"/>
                  <a:pt x="24" y="405"/>
                  <a:pt x="34" y="405"/>
                </a:cubicBezTo>
                <a:cubicBezTo>
                  <a:pt x="43" y="405"/>
                  <a:pt x="53" y="401"/>
                  <a:pt x="56" y="393"/>
                </a:cubicBezTo>
                <a:cubicBezTo>
                  <a:pt x="56" y="391"/>
                  <a:pt x="57" y="388"/>
                  <a:pt x="58" y="384"/>
                </a:cubicBezTo>
                <a:cubicBezTo>
                  <a:pt x="74" y="385"/>
                  <a:pt x="81" y="380"/>
                  <a:pt x="87" y="355"/>
                </a:cubicBezTo>
                <a:cubicBezTo>
                  <a:pt x="89" y="344"/>
                  <a:pt x="83" y="334"/>
                  <a:pt x="79" y="327"/>
                </a:cubicBezTo>
                <a:cubicBezTo>
                  <a:pt x="78" y="325"/>
                  <a:pt x="76" y="322"/>
                  <a:pt x="75" y="320"/>
                </a:cubicBezTo>
                <a:cubicBezTo>
                  <a:pt x="132" y="201"/>
                  <a:pt x="132" y="201"/>
                  <a:pt x="132" y="201"/>
                </a:cubicBezTo>
                <a:cubicBezTo>
                  <a:pt x="135" y="202"/>
                  <a:pt x="138" y="203"/>
                  <a:pt x="141" y="203"/>
                </a:cubicBezTo>
                <a:cubicBezTo>
                  <a:pt x="149" y="203"/>
                  <a:pt x="157" y="200"/>
                  <a:pt x="163" y="194"/>
                </a:cubicBezTo>
                <a:cubicBezTo>
                  <a:pt x="178" y="179"/>
                  <a:pt x="178" y="179"/>
                  <a:pt x="178" y="179"/>
                </a:cubicBezTo>
                <a:cubicBezTo>
                  <a:pt x="181" y="176"/>
                  <a:pt x="181" y="171"/>
                  <a:pt x="178" y="168"/>
                </a:cubicBezTo>
                <a:cubicBezTo>
                  <a:pt x="175" y="165"/>
                  <a:pt x="170" y="165"/>
                  <a:pt x="167" y="168"/>
                </a:cubicBezTo>
                <a:cubicBezTo>
                  <a:pt x="152" y="182"/>
                  <a:pt x="152" y="182"/>
                  <a:pt x="152" y="182"/>
                </a:cubicBezTo>
                <a:cubicBezTo>
                  <a:pt x="146" y="188"/>
                  <a:pt x="137" y="188"/>
                  <a:pt x="131" y="182"/>
                </a:cubicBezTo>
                <a:cubicBezTo>
                  <a:pt x="93" y="145"/>
                  <a:pt x="93" y="145"/>
                  <a:pt x="93" y="145"/>
                </a:cubicBezTo>
                <a:cubicBezTo>
                  <a:pt x="87" y="139"/>
                  <a:pt x="87" y="130"/>
                  <a:pt x="93" y="124"/>
                </a:cubicBezTo>
                <a:cubicBezTo>
                  <a:pt x="131" y="86"/>
                  <a:pt x="131" y="86"/>
                  <a:pt x="131" y="86"/>
                </a:cubicBezTo>
                <a:cubicBezTo>
                  <a:pt x="137" y="80"/>
                  <a:pt x="146" y="80"/>
                  <a:pt x="152" y="86"/>
                </a:cubicBezTo>
                <a:cubicBezTo>
                  <a:pt x="190" y="124"/>
                  <a:pt x="190" y="124"/>
                  <a:pt x="190" y="124"/>
                </a:cubicBezTo>
                <a:cubicBezTo>
                  <a:pt x="195" y="130"/>
                  <a:pt x="195" y="139"/>
                  <a:pt x="190" y="145"/>
                </a:cubicBezTo>
                <a:cubicBezTo>
                  <a:pt x="189" y="145"/>
                  <a:pt x="189" y="145"/>
                  <a:pt x="189" y="145"/>
                </a:cubicBezTo>
                <a:cubicBezTo>
                  <a:pt x="186" y="148"/>
                  <a:pt x="186" y="153"/>
                  <a:pt x="189" y="157"/>
                </a:cubicBezTo>
                <a:cubicBezTo>
                  <a:pt x="192" y="160"/>
                  <a:pt x="197" y="160"/>
                  <a:pt x="200" y="157"/>
                </a:cubicBezTo>
                <a:cubicBezTo>
                  <a:pt x="201" y="156"/>
                  <a:pt x="201" y="156"/>
                  <a:pt x="201" y="156"/>
                </a:cubicBezTo>
                <a:cubicBezTo>
                  <a:pt x="211" y="146"/>
                  <a:pt x="213" y="131"/>
                  <a:pt x="207" y="120"/>
                </a:cubicBezTo>
                <a:cubicBezTo>
                  <a:pt x="210" y="116"/>
                  <a:pt x="219" y="107"/>
                  <a:pt x="228" y="100"/>
                </a:cubicBezTo>
                <a:cubicBezTo>
                  <a:pt x="231" y="97"/>
                  <a:pt x="232" y="92"/>
                  <a:pt x="229" y="89"/>
                </a:cubicBezTo>
                <a:cubicBezTo>
                  <a:pt x="227" y="85"/>
                  <a:pt x="221" y="85"/>
                  <a:pt x="218" y="87"/>
                </a:cubicBezTo>
                <a:close/>
                <a:moveTo>
                  <a:pt x="38" y="75"/>
                </a:moveTo>
                <a:cubicBezTo>
                  <a:pt x="39" y="67"/>
                  <a:pt x="42" y="59"/>
                  <a:pt x="47" y="52"/>
                </a:cubicBezTo>
                <a:cubicBezTo>
                  <a:pt x="55" y="40"/>
                  <a:pt x="66" y="34"/>
                  <a:pt x="73" y="34"/>
                </a:cubicBezTo>
                <a:cubicBezTo>
                  <a:pt x="76" y="34"/>
                  <a:pt x="78" y="35"/>
                  <a:pt x="80" y="36"/>
                </a:cubicBezTo>
                <a:cubicBezTo>
                  <a:pt x="87" y="41"/>
                  <a:pt x="87" y="57"/>
                  <a:pt x="76" y="72"/>
                </a:cubicBezTo>
                <a:cubicBezTo>
                  <a:pt x="68" y="84"/>
                  <a:pt x="57" y="90"/>
                  <a:pt x="50" y="90"/>
                </a:cubicBezTo>
                <a:cubicBezTo>
                  <a:pt x="47" y="90"/>
                  <a:pt x="45" y="89"/>
                  <a:pt x="43" y="88"/>
                </a:cubicBezTo>
                <a:cubicBezTo>
                  <a:pt x="39" y="85"/>
                  <a:pt x="38" y="78"/>
                  <a:pt x="38" y="75"/>
                </a:cubicBezTo>
                <a:close/>
                <a:moveTo>
                  <a:pt x="119" y="193"/>
                </a:moveTo>
                <a:cubicBezTo>
                  <a:pt x="60" y="315"/>
                  <a:pt x="60" y="315"/>
                  <a:pt x="60" y="315"/>
                </a:cubicBezTo>
                <a:cubicBezTo>
                  <a:pt x="57" y="321"/>
                  <a:pt x="61" y="328"/>
                  <a:pt x="65" y="335"/>
                </a:cubicBezTo>
                <a:cubicBezTo>
                  <a:pt x="68" y="340"/>
                  <a:pt x="72" y="347"/>
                  <a:pt x="71" y="352"/>
                </a:cubicBezTo>
                <a:cubicBezTo>
                  <a:pt x="68" y="367"/>
                  <a:pt x="67" y="368"/>
                  <a:pt x="60" y="368"/>
                </a:cubicBezTo>
                <a:cubicBezTo>
                  <a:pt x="61" y="365"/>
                  <a:pt x="61" y="362"/>
                  <a:pt x="62" y="359"/>
                </a:cubicBezTo>
                <a:cubicBezTo>
                  <a:pt x="62" y="354"/>
                  <a:pt x="59" y="350"/>
                  <a:pt x="55" y="350"/>
                </a:cubicBezTo>
                <a:cubicBezTo>
                  <a:pt x="50" y="349"/>
                  <a:pt x="46" y="352"/>
                  <a:pt x="46" y="357"/>
                </a:cubicBezTo>
                <a:cubicBezTo>
                  <a:pt x="43" y="375"/>
                  <a:pt x="43" y="375"/>
                  <a:pt x="43" y="375"/>
                </a:cubicBezTo>
                <a:cubicBezTo>
                  <a:pt x="43" y="375"/>
                  <a:pt x="43" y="375"/>
                  <a:pt x="43" y="376"/>
                </a:cubicBezTo>
                <a:cubicBezTo>
                  <a:pt x="42" y="381"/>
                  <a:pt x="42" y="385"/>
                  <a:pt x="41" y="386"/>
                </a:cubicBezTo>
                <a:cubicBezTo>
                  <a:pt x="41" y="387"/>
                  <a:pt x="37" y="389"/>
                  <a:pt x="34" y="389"/>
                </a:cubicBezTo>
                <a:cubicBezTo>
                  <a:pt x="33" y="389"/>
                  <a:pt x="33" y="389"/>
                  <a:pt x="33" y="389"/>
                </a:cubicBezTo>
                <a:cubicBezTo>
                  <a:pt x="33" y="389"/>
                  <a:pt x="31" y="388"/>
                  <a:pt x="28" y="381"/>
                </a:cubicBezTo>
                <a:cubicBezTo>
                  <a:pt x="18" y="352"/>
                  <a:pt x="36" y="324"/>
                  <a:pt x="43" y="312"/>
                </a:cubicBezTo>
                <a:cubicBezTo>
                  <a:pt x="45" y="310"/>
                  <a:pt x="46" y="308"/>
                  <a:pt x="47" y="307"/>
                </a:cubicBezTo>
                <a:cubicBezTo>
                  <a:pt x="48" y="303"/>
                  <a:pt x="50" y="294"/>
                  <a:pt x="56" y="269"/>
                </a:cubicBezTo>
                <a:cubicBezTo>
                  <a:pt x="61" y="244"/>
                  <a:pt x="68" y="210"/>
                  <a:pt x="72" y="200"/>
                </a:cubicBezTo>
                <a:cubicBezTo>
                  <a:pt x="72" y="199"/>
                  <a:pt x="73" y="198"/>
                  <a:pt x="73" y="197"/>
                </a:cubicBezTo>
                <a:cubicBezTo>
                  <a:pt x="84" y="195"/>
                  <a:pt x="96" y="190"/>
                  <a:pt x="109" y="183"/>
                </a:cubicBezTo>
                <a:lnTo>
                  <a:pt x="119" y="193"/>
                </a:lnTo>
                <a:close/>
                <a:moveTo>
                  <a:pt x="92" y="166"/>
                </a:moveTo>
                <a:cubicBezTo>
                  <a:pt x="97" y="171"/>
                  <a:pt x="97" y="171"/>
                  <a:pt x="97" y="171"/>
                </a:cubicBezTo>
                <a:cubicBezTo>
                  <a:pt x="93" y="173"/>
                  <a:pt x="89" y="175"/>
                  <a:pt x="85" y="177"/>
                </a:cubicBezTo>
                <a:cubicBezTo>
                  <a:pt x="87" y="173"/>
                  <a:pt x="90" y="169"/>
                  <a:pt x="92" y="166"/>
                </a:cubicBezTo>
                <a:close/>
              </a:path>
            </a:pathLst>
          </a:custGeom>
          <a:solidFill>
            <a:srgbClr val="FFFFFF"/>
          </a:solidFill>
          <a:ln>
            <a:noFill/>
          </a:ln>
        </p:spPr>
        <p:txBody>
          <a:bodyPr/>
          <a:lstStyle/>
          <a:p>
            <a:endParaRPr lang="sv-SE"/>
          </a:p>
        </p:txBody>
      </p:sp>
      <p:sp>
        <p:nvSpPr>
          <p:cNvPr id="112" name="Freeform 3"/>
          <p:cNvSpPr>
            <a:spLocks noChangeAspect="1" noEditPoints="1"/>
          </p:cNvSpPr>
          <p:nvPr/>
        </p:nvSpPr>
        <p:spPr bwMode="auto">
          <a:xfrm>
            <a:off x="6446839" y="3239990"/>
            <a:ext cx="165334" cy="194580"/>
          </a:xfrm>
          <a:custGeom>
            <a:avLst/>
            <a:gdLst>
              <a:gd name="T0" fmla="*/ 2147483647 w 352"/>
              <a:gd name="T1" fmla="*/ 2147483647 h 414"/>
              <a:gd name="T2" fmla="*/ 2147483647 w 352"/>
              <a:gd name="T3" fmla="*/ 2147483647 h 414"/>
              <a:gd name="T4" fmla="*/ 2147483647 w 352"/>
              <a:gd name="T5" fmla="*/ 0 h 414"/>
              <a:gd name="T6" fmla="*/ 2147483647 w 352"/>
              <a:gd name="T7" fmla="*/ 2147483647 h 414"/>
              <a:gd name="T8" fmla="*/ 2147483647 w 352"/>
              <a:gd name="T9" fmla="*/ 2147483647 h 414"/>
              <a:gd name="T10" fmla="*/ 2147483647 w 352"/>
              <a:gd name="T11" fmla="*/ 2147483647 h 414"/>
              <a:gd name="T12" fmla="*/ 2147483647 w 352"/>
              <a:gd name="T13" fmla="*/ 2147483647 h 414"/>
              <a:gd name="T14" fmla="*/ 2147483647 w 352"/>
              <a:gd name="T15" fmla="*/ 2147483647 h 414"/>
              <a:gd name="T16" fmla="*/ 2147483647 w 352"/>
              <a:gd name="T17" fmla="*/ 2147483647 h 414"/>
              <a:gd name="T18" fmla="*/ 2147483647 w 352"/>
              <a:gd name="T19" fmla="*/ 2147483647 h 414"/>
              <a:gd name="T20" fmla="*/ 2147483647 w 352"/>
              <a:gd name="T21" fmla="*/ 2147483647 h 414"/>
              <a:gd name="T22" fmla="*/ 2147483647 w 352"/>
              <a:gd name="T23" fmla="*/ 2147483647 h 414"/>
              <a:gd name="T24" fmla="*/ 2147483647 w 352"/>
              <a:gd name="T25" fmla="*/ 2147483647 h 414"/>
              <a:gd name="T26" fmla="*/ 2147483647 w 352"/>
              <a:gd name="T27" fmla="*/ 2147483647 h 414"/>
              <a:gd name="T28" fmla="*/ 2147483647 w 352"/>
              <a:gd name="T29" fmla="*/ 2147483647 h 414"/>
              <a:gd name="T30" fmla="*/ 2147483647 w 352"/>
              <a:gd name="T31" fmla="*/ 2147483647 h 414"/>
              <a:gd name="T32" fmla="*/ 2147483647 w 352"/>
              <a:gd name="T33" fmla="*/ 2147483647 h 414"/>
              <a:gd name="T34" fmla="*/ 2147483647 w 352"/>
              <a:gd name="T35" fmla="*/ 2147483647 h 414"/>
              <a:gd name="T36" fmla="*/ 2147483647 w 352"/>
              <a:gd name="T37" fmla="*/ 2147483647 h 414"/>
              <a:gd name="T38" fmla="*/ 2147483647 w 352"/>
              <a:gd name="T39" fmla="*/ 2147483647 h 414"/>
              <a:gd name="T40" fmla="*/ 2147483647 w 352"/>
              <a:gd name="T41" fmla="*/ 2147483647 h 414"/>
              <a:gd name="T42" fmla="*/ 2147483647 w 352"/>
              <a:gd name="T43" fmla="*/ 2147483647 h 414"/>
              <a:gd name="T44" fmla="*/ 2147483647 w 352"/>
              <a:gd name="T45" fmla="*/ 2147483647 h 414"/>
              <a:gd name="T46" fmla="*/ 2147483647 w 352"/>
              <a:gd name="T47" fmla="*/ 2147483647 h 414"/>
              <a:gd name="T48" fmla="*/ 2147483647 w 352"/>
              <a:gd name="T49" fmla="*/ 2147483647 h 414"/>
              <a:gd name="T50" fmla="*/ 2147483647 w 352"/>
              <a:gd name="T51" fmla="*/ 2147483647 h 414"/>
              <a:gd name="T52" fmla="*/ 2147483647 w 352"/>
              <a:gd name="T53" fmla="*/ 2147483647 h 414"/>
              <a:gd name="T54" fmla="*/ 2147483647 w 352"/>
              <a:gd name="T55" fmla="*/ 2147483647 h 414"/>
              <a:gd name="T56" fmla="*/ 2147483647 w 352"/>
              <a:gd name="T57" fmla="*/ 2147483647 h 414"/>
              <a:gd name="T58" fmla="*/ 2147483647 w 352"/>
              <a:gd name="T59" fmla="*/ 2147483647 h 414"/>
              <a:gd name="T60" fmla="*/ 2147483647 w 352"/>
              <a:gd name="T61" fmla="*/ 2147483647 h 414"/>
              <a:gd name="T62" fmla="*/ 2147483647 w 352"/>
              <a:gd name="T63" fmla="*/ 2147483647 h 414"/>
              <a:gd name="T64" fmla="*/ 2147483647 w 352"/>
              <a:gd name="T65" fmla="*/ 2147483647 h 414"/>
              <a:gd name="T66" fmla="*/ 2147483647 w 352"/>
              <a:gd name="T67" fmla="*/ 2147483647 h 414"/>
              <a:gd name="T68" fmla="*/ 2147483647 w 352"/>
              <a:gd name="T69" fmla="*/ 2147483647 h 414"/>
              <a:gd name="T70" fmla="*/ 2147483647 w 352"/>
              <a:gd name="T71" fmla="*/ 2147483647 h 414"/>
              <a:gd name="T72" fmla="*/ 0 w 352"/>
              <a:gd name="T73" fmla="*/ 2147483647 h 414"/>
              <a:gd name="T74" fmla="*/ 2147483647 w 352"/>
              <a:gd name="T75" fmla="*/ 2147483647 h 414"/>
              <a:gd name="T76" fmla="*/ 2147483647 w 352"/>
              <a:gd name="T77" fmla="*/ 2147483647 h 414"/>
              <a:gd name="T78" fmla="*/ 2147483647 w 352"/>
              <a:gd name="T79" fmla="*/ 2147483647 h 414"/>
              <a:gd name="T80" fmla="*/ 2147483647 w 352"/>
              <a:gd name="T81" fmla="*/ 2147483647 h 414"/>
              <a:gd name="T82" fmla="*/ 2147483647 w 352"/>
              <a:gd name="T83" fmla="*/ 2147483647 h 414"/>
              <a:gd name="T84" fmla="*/ 2147483647 w 352"/>
              <a:gd name="T85" fmla="*/ 2147483647 h 414"/>
              <a:gd name="T86" fmla="*/ 2147483647 w 352"/>
              <a:gd name="T87" fmla="*/ 2147483647 h 414"/>
              <a:gd name="T88" fmla="*/ 2147483647 w 352"/>
              <a:gd name="T89" fmla="*/ 2147483647 h 414"/>
              <a:gd name="T90" fmla="*/ 2147483647 w 352"/>
              <a:gd name="T91" fmla="*/ 2147483647 h 414"/>
              <a:gd name="T92" fmla="*/ 2147483647 w 352"/>
              <a:gd name="T93" fmla="*/ 2147483647 h 414"/>
              <a:gd name="T94" fmla="*/ 2147483647 w 352"/>
              <a:gd name="T95" fmla="*/ 2147483647 h 414"/>
              <a:gd name="T96" fmla="*/ 2147483647 w 352"/>
              <a:gd name="T97" fmla="*/ 2147483647 h 414"/>
              <a:gd name="T98" fmla="*/ 2147483647 w 352"/>
              <a:gd name="T99" fmla="*/ 2147483647 h 414"/>
              <a:gd name="T100" fmla="*/ 2147483647 w 352"/>
              <a:gd name="T101" fmla="*/ 2147483647 h 414"/>
              <a:gd name="T102" fmla="*/ 2147483647 w 352"/>
              <a:gd name="T103" fmla="*/ 2147483647 h 414"/>
              <a:gd name="T104" fmla="*/ 2147483647 w 352"/>
              <a:gd name="T105" fmla="*/ 2147483647 h 4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52" h="414">
                <a:moveTo>
                  <a:pt x="122" y="91"/>
                </a:moveTo>
                <a:cubicBezTo>
                  <a:pt x="230" y="91"/>
                  <a:pt x="230" y="91"/>
                  <a:pt x="230" y="91"/>
                </a:cubicBezTo>
                <a:cubicBezTo>
                  <a:pt x="236" y="91"/>
                  <a:pt x="241" y="86"/>
                  <a:pt x="241" y="80"/>
                </a:cubicBezTo>
                <a:cubicBezTo>
                  <a:pt x="241" y="68"/>
                  <a:pt x="234" y="58"/>
                  <a:pt x="234" y="58"/>
                </a:cubicBezTo>
                <a:cubicBezTo>
                  <a:pt x="207" y="11"/>
                  <a:pt x="207" y="11"/>
                  <a:pt x="207" y="11"/>
                </a:cubicBezTo>
                <a:cubicBezTo>
                  <a:pt x="207" y="11"/>
                  <a:pt x="201" y="0"/>
                  <a:pt x="191" y="0"/>
                </a:cubicBezTo>
                <a:cubicBezTo>
                  <a:pt x="161" y="0"/>
                  <a:pt x="161" y="0"/>
                  <a:pt x="161" y="0"/>
                </a:cubicBezTo>
                <a:cubicBezTo>
                  <a:pt x="151" y="0"/>
                  <a:pt x="145" y="11"/>
                  <a:pt x="145" y="11"/>
                </a:cubicBezTo>
                <a:cubicBezTo>
                  <a:pt x="118" y="58"/>
                  <a:pt x="118" y="58"/>
                  <a:pt x="118" y="58"/>
                </a:cubicBezTo>
                <a:cubicBezTo>
                  <a:pt x="118" y="58"/>
                  <a:pt x="111" y="68"/>
                  <a:pt x="111" y="80"/>
                </a:cubicBezTo>
                <a:cubicBezTo>
                  <a:pt x="111" y="86"/>
                  <a:pt x="115" y="91"/>
                  <a:pt x="122" y="91"/>
                </a:cubicBezTo>
                <a:close/>
                <a:moveTo>
                  <a:pt x="176" y="17"/>
                </a:moveTo>
                <a:cubicBezTo>
                  <a:pt x="188" y="17"/>
                  <a:pt x="198" y="26"/>
                  <a:pt x="198" y="38"/>
                </a:cubicBezTo>
                <a:cubicBezTo>
                  <a:pt x="198" y="50"/>
                  <a:pt x="188" y="60"/>
                  <a:pt x="176" y="60"/>
                </a:cubicBezTo>
                <a:cubicBezTo>
                  <a:pt x="164" y="60"/>
                  <a:pt x="154" y="50"/>
                  <a:pt x="154" y="38"/>
                </a:cubicBezTo>
                <a:cubicBezTo>
                  <a:pt x="154" y="26"/>
                  <a:pt x="164" y="17"/>
                  <a:pt x="176" y="17"/>
                </a:cubicBezTo>
                <a:close/>
                <a:moveTo>
                  <a:pt x="230" y="334"/>
                </a:moveTo>
                <a:cubicBezTo>
                  <a:pt x="232" y="337"/>
                  <a:pt x="233" y="340"/>
                  <a:pt x="234" y="342"/>
                </a:cubicBezTo>
                <a:cubicBezTo>
                  <a:pt x="235" y="344"/>
                  <a:pt x="235" y="345"/>
                  <a:pt x="235" y="345"/>
                </a:cubicBezTo>
                <a:cubicBezTo>
                  <a:pt x="237" y="348"/>
                  <a:pt x="239" y="350"/>
                  <a:pt x="242" y="350"/>
                </a:cubicBezTo>
                <a:cubicBezTo>
                  <a:pt x="243" y="350"/>
                  <a:pt x="243" y="350"/>
                  <a:pt x="243" y="350"/>
                </a:cubicBezTo>
                <a:cubicBezTo>
                  <a:pt x="246" y="350"/>
                  <a:pt x="248" y="348"/>
                  <a:pt x="250" y="346"/>
                </a:cubicBezTo>
                <a:cubicBezTo>
                  <a:pt x="250" y="345"/>
                  <a:pt x="256" y="335"/>
                  <a:pt x="265" y="319"/>
                </a:cubicBezTo>
                <a:cubicBezTo>
                  <a:pt x="275" y="303"/>
                  <a:pt x="288" y="283"/>
                  <a:pt x="302" y="264"/>
                </a:cubicBezTo>
                <a:cubicBezTo>
                  <a:pt x="305" y="260"/>
                  <a:pt x="304" y="255"/>
                  <a:pt x="300" y="253"/>
                </a:cubicBezTo>
                <a:cubicBezTo>
                  <a:pt x="297" y="250"/>
                  <a:pt x="292" y="251"/>
                  <a:pt x="289" y="254"/>
                </a:cubicBezTo>
                <a:cubicBezTo>
                  <a:pt x="269" y="280"/>
                  <a:pt x="252" y="309"/>
                  <a:pt x="243" y="325"/>
                </a:cubicBezTo>
                <a:cubicBezTo>
                  <a:pt x="239" y="318"/>
                  <a:pt x="233" y="309"/>
                  <a:pt x="225" y="301"/>
                </a:cubicBezTo>
                <a:cubicBezTo>
                  <a:pt x="222" y="298"/>
                  <a:pt x="217" y="298"/>
                  <a:pt x="213" y="301"/>
                </a:cubicBezTo>
                <a:cubicBezTo>
                  <a:pt x="210" y="304"/>
                  <a:pt x="210" y="309"/>
                  <a:pt x="213" y="312"/>
                </a:cubicBezTo>
                <a:cubicBezTo>
                  <a:pt x="213" y="312"/>
                  <a:pt x="213" y="312"/>
                  <a:pt x="213" y="312"/>
                </a:cubicBezTo>
                <a:cubicBezTo>
                  <a:pt x="220" y="319"/>
                  <a:pt x="226" y="328"/>
                  <a:pt x="230" y="334"/>
                </a:cubicBezTo>
                <a:close/>
                <a:moveTo>
                  <a:pt x="213" y="174"/>
                </a:moveTo>
                <a:cubicBezTo>
                  <a:pt x="210" y="177"/>
                  <a:pt x="210" y="182"/>
                  <a:pt x="213" y="186"/>
                </a:cubicBezTo>
                <a:cubicBezTo>
                  <a:pt x="213" y="186"/>
                  <a:pt x="213" y="186"/>
                  <a:pt x="213" y="186"/>
                </a:cubicBezTo>
                <a:cubicBezTo>
                  <a:pt x="220" y="192"/>
                  <a:pt x="226" y="201"/>
                  <a:pt x="230" y="207"/>
                </a:cubicBezTo>
                <a:cubicBezTo>
                  <a:pt x="232" y="210"/>
                  <a:pt x="233" y="213"/>
                  <a:pt x="234" y="215"/>
                </a:cubicBezTo>
                <a:cubicBezTo>
                  <a:pt x="235" y="217"/>
                  <a:pt x="235" y="218"/>
                  <a:pt x="235" y="218"/>
                </a:cubicBezTo>
                <a:cubicBezTo>
                  <a:pt x="237" y="221"/>
                  <a:pt x="239" y="223"/>
                  <a:pt x="242" y="223"/>
                </a:cubicBezTo>
                <a:cubicBezTo>
                  <a:pt x="243" y="223"/>
                  <a:pt x="243" y="223"/>
                  <a:pt x="243" y="223"/>
                </a:cubicBezTo>
                <a:cubicBezTo>
                  <a:pt x="246" y="223"/>
                  <a:pt x="248" y="221"/>
                  <a:pt x="250" y="219"/>
                </a:cubicBezTo>
                <a:cubicBezTo>
                  <a:pt x="250" y="219"/>
                  <a:pt x="256" y="208"/>
                  <a:pt x="265" y="192"/>
                </a:cubicBezTo>
                <a:cubicBezTo>
                  <a:pt x="275" y="176"/>
                  <a:pt x="288" y="156"/>
                  <a:pt x="302" y="137"/>
                </a:cubicBezTo>
                <a:cubicBezTo>
                  <a:pt x="305" y="134"/>
                  <a:pt x="304" y="129"/>
                  <a:pt x="300" y="126"/>
                </a:cubicBezTo>
                <a:cubicBezTo>
                  <a:pt x="297" y="123"/>
                  <a:pt x="292" y="124"/>
                  <a:pt x="289" y="127"/>
                </a:cubicBezTo>
                <a:cubicBezTo>
                  <a:pt x="269" y="154"/>
                  <a:pt x="252" y="182"/>
                  <a:pt x="243" y="198"/>
                </a:cubicBezTo>
                <a:cubicBezTo>
                  <a:pt x="239" y="191"/>
                  <a:pt x="233" y="182"/>
                  <a:pt x="225" y="174"/>
                </a:cubicBezTo>
                <a:cubicBezTo>
                  <a:pt x="222" y="171"/>
                  <a:pt x="217" y="171"/>
                  <a:pt x="213" y="174"/>
                </a:cubicBezTo>
                <a:close/>
                <a:moveTo>
                  <a:pt x="259" y="77"/>
                </a:moveTo>
                <a:cubicBezTo>
                  <a:pt x="259" y="77"/>
                  <a:pt x="259" y="77"/>
                  <a:pt x="259" y="77"/>
                </a:cubicBezTo>
                <a:cubicBezTo>
                  <a:pt x="317" y="77"/>
                  <a:pt x="317" y="77"/>
                  <a:pt x="317" y="77"/>
                </a:cubicBezTo>
                <a:cubicBezTo>
                  <a:pt x="328" y="77"/>
                  <a:pt x="336" y="86"/>
                  <a:pt x="336" y="96"/>
                </a:cubicBezTo>
                <a:cubicBezTo>
                  <a:pt x="336" y="118"/>
                  <a:pt x="336" y="118"/>
                  <a:pt x="336" y="118"/>
                </a:cubicBezTo>
                <a:cubicBezTo>
                  <a:pt x="337" y="122"/>
                  <a:pt x="340" y="125"/>
                  <a:pt x="344" y="125"/>
                </a:cubicBezTo>
                <a:cubicBezTo>
                  <a:pt x="349" y="125"/>
                  <a:pt x="352" y="122"/>
                  <a:pt x="352" y="117"/>
                </a:cubicBezTo>
                <a:cubicBezTo>
                  <a:pt x="352" y="96"/>
                  <a:pt x="352" y="96"/>
                  <a:pt x="352" y="96"/>
                </a:cubicBezTo>
                <a:cubicBezTo>
                  <a:pt x="352" y="77"/>
                  <a:pt x="337" y="61"/>
                  <a:pt x="317" y="61"/>
                </a:cubicBezTo>
                <a:cubicBezTo>
                  <a:pt x="259" y="61"/>
                  <a:pt x="259" y="61"/>
                  <a:pt x="259" y="61"/>
                </a:cubicBezTo>
                <a:cubicBezTo>
                  <a:pt x="255" y="61"/>
                  <a:pt x="251" y="65"/>
                  <a:pt x="251" y="69"/>
                </a:cubicBezTo>
                <a:cubicBezTo>
                  <a:pt x="251" y="74"/>
                  <a:pt x="255" y="77"/>
                  <a:pt x="259" y="77"/>
                </a:cubicBezTo>
                <a:close/>
                <a:moveTo>
                  <a:pt x="344" y="141"/>
                </a:moveTo>
                <a:cubicBezTo>
                  <a:pt x="340" y="141"/>
                  <a:pt x="337" y="144"/>
                  <a:pt x="336" y="148"/>
                </a:cubicBezTo>
                <a:cubicBezTo>
                  <a:pt x="336" y="379"/>
                  <a:pt x="336" y="379"/>
                  <a:pt x="336" y="379"/>
                </a:cubicBezTo>
                <a:cubicBezTo>
                  <a:pt x="336" y="390"/>
                  <a:pt x="328" y="398"/>
                  <a:pt x="317" y="398"/>
                </a:cubicBezTo>
                <a:cubicBezTo>
                  <a:pt x="34" y="398"/>
                  <a:pt x="34" y="398"/>
                  <a:pt x="34" y="398"/>
                </a:cubicBezTo>
                <a:cubicBezTo>
                  <a:pt x="24" y="398"/>
                  <a:pt x="16" y="390"/>
                  <a:pt x="16" y="379"/>
                </a:cubicBezTo>
                <a:cubicBezTo>
                  <a:pt x="16" y="96"/>
                  <a:pt x="16" y="96"/>
                  <a:pt x="16" y="96"/>
                </a:cubicBezTo>
                <a:cubicBezTo>
                  <a:pt x="16" y="86"/>
                  <a:pt x="24" y="77"/>
                  <a:pt x="34" y="77"/>
                </a:cubicBezTo>
                <a:cubicBezTo>
                  <a:pt x="92" y="77"/>
                  <a:pt x="92" y="77"/>
                  <a:pt x="92" y="77"/>
                </a:cubicBezTo>
                <a:cubicBezTo>
                  <a:pt x="96" y="77"/>
                  <a:pt x="100" y="74"/>
                  <a:pt x="100" y="69"/>
                </a:cubicBezTo>
                <a:cubicBezTo>
                  <a:pt x="100" y="65"/>
                  <a:pt x="96" y="61"/>
                  <a:pt x="92" y="61"/>
                </a:cubicBezTo>
                <a:cubicBezTo>
                  <a:pt x="34" y="61"/>
                  <a:pt x="34" y="61"/>
                  <a:pt x="34" y="61"/>
                </a:cubicBezTo>
                <a:cubicBezTo>
                  <a:pt x="15" y="61"/>
                  <a:pt x="0" y="77"/>
                  <a:pt x="0" y="96"/>
                </a:cubicBezTo>
                <a:cubicBezTo>
                  <a:pt x="0" y="379"/>
                  <a:pt x="0" y="379"/>
                  <a:pt x="0" y="379"/>
                </a:cubicBezTo>
                <a:cubicBezTo>
                  <a:pt x="0" y="398"/>
                  <a:pt x="15" y="414"/>
                  <a:pt x="34" y="414"/>
                </a:cubicBezTo>
                <a:cubicBezTo>
                  <a:pt x="317" y="414"/>
                  <a:pt x="317" y="414"/>
                  <a:pt x="317" y="414"/>
                </a:cubicBezTo>
                <a:cubicBezTo>
                  <a:pt x="337" y="414"/>
                  <a:pt x="352" y="398"/>
                  <a:pt x="352" y="379"/>
                </a:cubicBezTo>
                <a:cubicBezTo>
                  <a:pt x="352" y="149"/>
                  <a:pt x="352" y="149"/>
                  <a:pt x="352" y="149"/>
                </a:cubicBezTo>
                <a:cubicBezTo>
                  <a:pt x="352" y="144"/>
                  <a:pt x="349" y="141"/>
                  <a:pt x="344" y="141"/>
                </a:cubicBezTo>
                <a:close/>
                <a:moveTo>
                  <a:pt x="184" y="145"/>
                </a:moveTo>
                <a:cubicBezTo>
                  <a:pt x="56" y="145"/>
                  <a:pt x="56" y="145"/>
                  <a:pt x="56" y="145"/>
                </a:cubicBezTo>
                <a:cubicBezTo>
                  <a:pt x="52" y="145"/>
                  <a:pt x="48" y="148"/>
                  <a:pt x="48" y="153"/>
                </a:cubicBezTo>
                <a:cubicBezTo>
                  <a:pt x="48" y="157"/>
                  <a:pt x="52" y="161"/>
                  <a:pt x="56" y="161"/>
                </a:cubicBezTo>
                <a:cubicBezTo>
                  <a:pt x="184" y="161"/>
                  <a:pt x="184" y="161"/>
                  <a:pt x="184" y="161"/>
                </a:cubicBezTo>
                <a:cubicBezTo>
                  <a:pt x="188" y="161"/>
                  <a:pt x="192" y="157"/>
                  <a:pt x="192" y="153"/>
                </a:cubicBezTo>
                <a:cubicBezTo>
                  <a:pt x="192" y="148"/>
                  <a:pt x="188" y="145"/>
                  <a:pt x="184" y="145"/>
                </a:cubicBezTo>
                <a:close/>
                <a:moveTo>
                  <a:pt x="184" y="271"/>
                </a:moveTo>
                <a:cubicBezTo>
                  <a:pt x="56" y="271"/>
                  <a:pt x="56" y="271"/>
                  <a:pt x="56" y="271"/>
                </a:cubicBezTo>
                <a:cubicBezTo>
                  <a:pt x="52" y="271"/>
                  <a:pt x="48" y="275"/>
                  <a:pt x="48" y="279"/>
                </a:cubicBezTo>
                <a:cubicBezTo>
                  <a:pt x="48" y="284"/>
                  <a:pt x="52" y="287"/>
                  <a:pt x="56" y="287"/>
                </a:cubicBezTo>
                <a:cubicBezTo>
                  <a:pt x="184" y="287"/>
                  <a:pt x="184" y="287"/>
                  <a:pt x="184" y="287"/>
                </a:cubicBezTo>
                <a:cubicBezTo>
                  <a:pt x="188" y="287"/>
                  <a:pt x="192" y="284"/>
                  <a:pt x="192" y="279"/>
                </a:cubicBezTo>
                <a:cubicBezTo>
                  <a:pt x="192" y="275"/>
                  <a:pt x="188" y="271"/>
                  <a:pt x="184" y="271"/>
                </a:cubicBezTo>
                <a:close/>
                <a:moveTo>
                  <a:pt x="184" y="187"/>
                </a:moveTo>
                <a:cubicBezTo>
                  <a:pt x="56" y="187"/>
                  <a:pt x="56" y="187"/>
                  <a:pt x="56" y="187"/>
                </a:cubicBezTo>
                <a:cubicBezTo>
                  <a:pt x="52" y="187"/>
                  <a:pt x="48" y="190"/>
                  <a:pt x="48" y="195"/>
                </a:cubicBezTo>
                <a:cubicBezTo>
                  <a:pt x="48" y="199"/>
                  <a:pt x="52" y="203"/>
                  <a:pt x="56" y="203"/>
                </a:cubicBezTo>
                <a:cubicBezTo>
                  <a:pt x="184" y="203"/>
                  <a:pt x="184" y="203"/>
                  <a:pt x="184" y="203"/>
                </a:cubicBezTo>
                <a:cubicBezTo>
                  <a:pt x="188" y="203"/>
                  <a:pt x="192" y="199"/>
                  <a:pt x="192" y="195"/>
                </a:cubicBezTo>
                <a:cubicBezTo>
                  <a:pt x="192" y="190"/>
                  <a:pt x="188" y="187"/>
                  <a:pt x="184" y="187"/>
                </a:cubicBezTo>
                <a:close/>
                <a:moveTo>
                  <a:pt x="184" y="313"/>
                </a:moveTo>
                <a:cubicBezTo>
                  <a:pt x="56" y="313"/>
                  <a:pt x="56" y="313"/>
                  <a:pt x="56" y="313"/>
                </a:cubicBezTo>
                <a:cubicBezTo>
                  <a:pt x="52" y="313"/>
                  <a:pt x="48" y="317"/>
                  <a:pt x="48" y="321"/>
                </a:cubicBezTo>
                <a:cubicBezTo>
                  <a:pt x="48" y="326"/>
                  <a:pt x="52" y="329"/>
                  <a:pt x="56" y="329"/>
                </a:cubicBezTo>
                <a:cubicBezTo>
                  <a:pt x="184" y="329"/>
                  <a:pt x="184" y="329"/>
                  <a:pt x="184" y="329"/>
                </a:cubicBezTo>
                <a:cubicBezTo>
                  <a:pt x="188" y="329"/>
                  <a:pt x="192" y="326"/>
                  <a:pt x="192" y="321"/>
                </a:cubicBezTo>
                <a:cubicBezTo>
                  <a:pt x="192" y="317"/>
                  <a:pt x="188" y="313"/>
                  <a:pt x="184" y="313"/>
                </a:cubicBezTo>
                <a:close/>
              </a:path>
            </a:pathLst>
          </a:custGeom>
          <a:solidFill>
            <a:srgbClr val="FFFFFF"/>
          </a:solidFill>
          <a:ln>
            <a:noFill/>
          </a:ln>
        </p:spPr>
        <p:txBody>
          <a:bodyPr/>
          <a:lstStyle/>
          <a:p>
            <a:endParaRPr lang="sv-SE"/>
          </a:p>
        </p:txBody>
      </p:sp>
      <p:sp>
        <p:nvSpPr>
          <p:cNvPr id="113" name="Freeform 3"/>
          <p:cNvSpPr>
            <a:spLocks noChangeAspect="1" noEditPoints="1"/>
          </p:cNvSpPr>
          <p:nvPr/>
        </p:nvSpPr>
        <p:spPr bwMode="auto">
          <a:xfrm>
            <a:off x="6097907" y="3442813"/>
            <a:ext cx="268607" cy="175907"/>
          </a:xfrm>
          <a:custGeom>
            <a:avLst/>
            <a:gdLst>
              <a:gd name="T0" fmla="*/ 2147483647 w 455"/>
              <a:gd name="T1" fmla="*/ 2147483647 h 298"/>
              <a:gd name="T2" fmla="*/ 2147483647 w 455"/>
              <a:gd name="T3" fmla="*/ 2147483647 h 298"/>
              <a:gd name="T4" fmla="*/ 2147483647 w 455"/>
              <a:gd name="T5" fmla="*/ 2147483647 h 298"/>
              <a:gd name="T6" fmla="*/ 2147483647 w 455"/>
              <a:gd name="T7" fmla="*/ 2147483647 h 298"/>
              <a:gd name="T8" fmla="*/ 2147483647 w 455"/>
              <a:gd name="T9" fmla="*/ 2147483647 h 298"/>
              <a:gd name="T10" fmla="*/ 2147483647 w 455"/>
              <a:gd name="T11" fmla="*/ 2147483647 h 298"/>
              <a:gd name="T12" fmla="*/ 2147483647 w 455"/>
              <a:gd name="T13" fmla="*/ 2147483647 h 298"/>
              <a:gd name="T14" fmla="*/ 2147483647 w 455"/>
              <a:gd name="T15" fmla="*/ 2147483647 h 298"/>
              <a:gd name="T16" fmla="*/ 2147483647 w 455"/>
              <a:gd name="T17" fmla="*/ 2147483647 h 298"/>
              <a:gd name="T18" fmla="*/ 2147483647 w 455"/>
              <a:gd name="T19" fmla="*/ 2147483647 h 298"/>
              <a:gd name="T20" fmla="*/ 2147483647 w 455"/>
              <a:gd name="T21" fmla="*/ 2147483647 h 298"/>
              <a:gd name="T22" fmla="*/ 2147483647 w 455"/>
              <a:gd name="T23" fmla="*/ 2147483647 h 298"/>
              <a:gd name="T24" fmla="*/ 2147483647 w 455"/>
              <a:gd name="T25" fmla="*/ 2147483647 h 298"/>
              <a:gd name="T26" fmla="*/ 2147483647 w 455"/>
              <a:gd name="T27" fmla="*/ 0 h 298"/>
              <a:gd name="T28" fmla="*/ 2147483647 w 455"/>
              <a:gd name="T29" fmla="*/ 2147483647 h 298"/>
              <a:gd name="T30" fmla="*/ 2147483647 w 455"/>
              <a:gd name="T31" fmla="*/ 2147483647 h 298"/>
              <a:gd name="T32" fmla="*/ 0 w 455"/>
              <a:gd name="T33" fmla="*/ 2147483647 h 298"/>
              <a:gd name="T34" fmla="*/ 2147483647 w 455"/>
              <a:gd name="T35" fmla="*/ 2147483647 h 298"/>
              <a:gd name="T36" fmla="*/ 2147483647 w 455"/>
              <a:gd name="T37" fmla="*/ 2147483647 h 298"/>
              <a:gd name="T38" fmla="*/ 2147483647 w 455"/>
              <a:gd name="T39" fmla="*/ 2147483647 h 298"/>
              <a:gd name="T40" fmla="*/ 2147483647 w 455"/>
              <a:gd name="T41" fmla="*/ 2147483647 h 298"/>
              <a:gd name="T42" fmla="*/ 2147483647 w 455"/>
              <a:gd name="T43" fmla="*/ 2147483647 h 298"/>
              <a:gd name="T44" fmla="*/ 2147483647 w 455"/>
              <a:gd name="T45" fmla="*/ 2147483647 h 298"/>
              <a:gd name="T46" fmla="*/ 2147483647 w 455"/>
              <a:gd name="T47" fmla="*/ 2147483647 h 298"/>
              <a:gd name="T48" fmla="*/ 2147483647 w 455"/>
              <a:gd name="T49" fmla="*/ 2147483647 h 298"/>
              <a:gd name="T50" fmla="*/ 2147483647 w 455"/>
              <a:gd name="T51" fmla="*/ 2147483647 h 298"/>
              <a:gd name="T52" fmla="*/ 2147483647 w 455"/>
              <a:gd name="T53" fmla="*/ 2147483647 h 298"/>
              <a:gd name="T54" fmla="*/ 2147483647 w 455"/>
              <a:gd name="T55" fmla="*/ 2147483647 h 298"/>
              <a:gd name="T56" fmla="*/ 2147483647 w 455"/>
              <a:gd name="T57" fmla="*/ 2147483647 h 298"/>
              <a:gd name="T58" fmla="*/ 2147483647 w 455"/>
              <a:gd name="T59" fmla="*/ 2147483647 h 298"/>
              <a:gd name="T60" fmla="*/ 2147483647 w 455"/>
              <a:gd name="T61" fmla="*/ 2147483647 h 298"/>
              <a:gd name="T62" fmla="*/ 2147483647 w 455"/>
              <a:gd name="T63" fmla="*/ 2147483647 h 298"/>
              <a:gd name="T64" fmla="*/ 2147483647 w 455"/>
              <a:gd name="T65" fmla="*/ 2147483647 h 298"/>
              <a:gd name="T66" fmla="*/ 2147483647 w 455"/>
              <a:gd name="T67" fmla="*/ 2147483647 h 298"/>
              <a:gd name="T68" fmla="*/ 2147483647 w 455"/>
              <a:gd name="T69" fmla="*/ 2147483647 h 298"/>
              <a:gd name="T70" fmla="*/ 2147483647 w 455"/>
              <a:gd name="T71" fmla="*/ 2147483647 h 298"/>
              <a:gd name="T72" fmla="*/ 2147483647 w 455"/>
              <a:gd name="T73" fmla="*/ 2147483647 h 298"/>
              <a:gd name="T74" fmla="*/ 2147483647 w 455"/>
              <a:gd name="T75" fmla="*/ 2147483647 h 298"/>
              <a:gd name="T76" fmla="*/ 2147483647 w 455"/>
              <a:gd name="T77" fmla="*/ 2147483647 h 298"/>
              <a:gd name="T78" fmla="*/ 2147483647 w 455"/>
              <a:gd name="T79" fmla="*/ 2147483647 h 298"/>
              <a:gd name="T80" fmla="*/ 2147483647 w 455"/>
              <a:gd name="T81" fmla="*/ 2147483647 h 298"/>
              <a:gd name="T82" fmla="*/ 2147483647 w 455"/>
              <a:gd name="T83" fmla="*/ 2147483647 h 298"/>
              <a:gd name="T84" fmla="*/ 2147483647 w 455"/>
              <a:gd name="T85" fmla="*/ 2147483647 h 298"/>
              <a:gd name="T86" fmla="*/ 2147483647 w 455"/>
              <a:gd name="T87" fmla="*/ 2147483647 h 298"/>
              <a:gd name="T88" fmla="*/ 2147483647 w 455"/>
              <a:gd name="T89" fmla="*/ 2147483647 h 298"/>
              <a:gd name="T90" fmla="*/ 2147483647 w 455"/>
              <a:gd name="T91" fmla="*/ 2147483647 h 298"/>
              <a:gd name="T92" fmla="*/ 2147483647 w 455"/>
              <a:gd name="T93" fmla="*/ 2147483647 h 298"/>
              <a:gd name="T94" fmla="*/ 2147483647 w 455"/>
              <a:gd name="T95" fmla="*/ 2147483647 h 29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55" h="298">
                <a:moveTo>
                  <a:pt x="284" y="150"/>
                </a:moveTo>
                <a:cubicBezTo>
                  <a:pt x="289" y="150"/>
                  <a:pt x="292" y="146"/>
                  <a:pt x="292" y="142"/>
                </a:cubicBezTo>
                <a:cubicBezTo>
                  <a:pt x="292" y="137"/>
                  <a:pt x="289" y="134"/>
                  <a:pt x="284" y="134"/>
                </a:cubicBezTo>
                <a:cubicBezTo>
                  <a:pt x="265" y="134"/>
                  <a:pt x="265" y="134"/>
                  <a:pt x="265" y="134"/>
                </a:cubicBezTo>
                <a:cubicBezTo>
                  <a:pt x="260" y="134"/>
                  <a:pt x="257" y="137"/>
                  <a:pt x="257" y="142"/>
                </a:cubicBezTo>
                <a:cubicBezTo>
                  <a:pt x="257" y="146"/>
                  <a:pt x="260" y="150"/>
                  <a:pt x="265" y="150"/>
                </a:cubicBezTo>
                <a:lnTo>
                  <a:pt x="284" y="150"/>
                </a:lnTo>
                <a:close/>
                <a:moveTo>
                  <a:pt x="236" y="170"/>
                </a:moveTo>
                <a:cubicBezTo>
                  <a:pt x="236" y="174"/>
                  <a:pt x="239" y="178"/>
                  <a:pt x="244" y="178"/>
                </a:cubicBezTo>
                <a:cubicBezTo>
                  <a:pt x="284" y="178"/>
                  <a:pt x="284" y="178"/>
                  <a:pt x="284" y="178"/>
                </a:cubicBezTo>
                <a:cubicBezTo>
                  <a:pt x="289" y="178"/>
                  <a:pt x="292" y="174"/>
                  <a:pt x="292" y="170"/>
                </a:cubicBezTo>
                <a:cubicBezTo>
                  <a:pt x="292" y="165"/>
                  <a:pt x="289" y="162"/>
                  <a:pt x="284" y="162"/>
                </a:cubicBezTo>
                <a:cubicBezTo>
                  <a:pt x="244" y="162"/>
                  <a:pt x="244" y="162"/>
                  <a:pt x="244" y="162"/>
                </a:cubicBezTo>
                <a:cubicBezTo>
                  <a:pt x="239" y="162"/>
                  <a:pt x="236" y="165"/>
                  <a:pt x="236" y="170"/>
                </a:cubicBezTo>
                <a:close/>
                <a:moveTo>
                  <a:pt x="439" y="251"/>
                </a:moveTo>
                <a:cubicBezTo>
                  <a:pt x="425" y="251"/>
                  <a:pt x="425" y="251"/>
                  <a:pt x="425" y="251"/>
                </a:cubicBezTo>
                <a:cubicBezTo>
                  <a:pt x="425" y="69"/>
                  <a:pt x="425" y="69"/>
                  <a:pt x="425" y="69"/>
                </a:cubicBezTo>
                <a:cubicBezTo>
                  <a:pt x="425" y="65"/>
                  <a:pt x="421" y="61"/>
                  <a:pt x="417" y="61"/>
                </a:cubicBezTo>
                <a:cubicBezTo>
                  <a:pt x="412" y="61"/>
                  <a:pt x="409" y="65"/>
                  <a:pt x="409" y="69"/>
                </a:cubicBezTo>
                <a:cubicBezTo>
                  <a:pt x="409" y="251"/>
                  <a:pt x="409" y="251"/>
                  <a:pt x="409" y="251"/>
                </a:cubicBezTo>
                <a:cubicBezTo>
                  <a:pt x="46" y="251"/>
                  <a:pt x="46" y="251"/>
                  <a:pt x="46" y="251"/>
                </a:cubicBezTo>
                <a:cubicBezTo>
                  <a:pt x="46" y="16"/>
                  <a:pt x="46" y="16"/>
                  <a:pt x="46" y="16"/>
                </a:cubicBezTo>
                <a:cubicBezTo>
                  <a:pt x="409" y="16"/>
                  <a:pt x="409" y="16"/>
                  <a:pt x="409" y="16"/>
                </a:cubicBezTo>
                <a:cubicBezTo>
                  <a:pt x="409" y="38"/>
                  <a:pt x="409" y="38"/>
                  <a:pt x="409" y="38"/>
                </a:cubicBezTo>
                <a:cubicBezTo>
                  <a:pt x="409" y="42"/>
                  <a:pt x="412" y="46"/>
                  <a:pt x="417" y="46"/>
                </a:cubicBezTo>
                <a:cubicBezTo>
                  <a:pt x="421" y="46"/>
                  <a:pt x="425" y="42"/>
                  <a:pt x="425" y="38"/>
                </a:cubicBezTo>
                <a:cubicBezTo>
                  <a:pt x="425" y="13"/>
                  <a:pt x="425" y="13"/>
                  <a:pt x="425" y="13"/>
                </a:cubicBezTo>
                <a:cubicBezTo>
                  <a:pt x="425" y="6"/>
                  <a:pt x="419" y="0"/>
                  <a:pt x="411" y="0"/>
                </a:cubicBezTo>
                <a:cubicBezTo>
                  <a:pt x="44" y="0"/>
                  <a:pt x="44" y="0"/>
                  <a:pt x="44" y="0"/>
                </a:cubicBezTo>
                <a:cubicBezTo>
                  <a:pt x="36" y="0"/>
                  <a:pt x="30" y="6"/>
                  <a:pt x="30" y="13"/>
                </a:cubicBezTo>
                <a:cubicBezTo>
                  <a:pt x="30" y="251"/>
                  <a:pt x="30" y="251"/>
                  <a:pt x="30" y="251"/>
                </a:cubicBezTo>
                <a:cubicBezTo>
                  <a:pt x="16" y="251"/>
                  <a:pt x="16" y="251"/>
                  <a:pt x="16" y="251"/>
                </a:cubicBezTo>
                <a:cubicBezTo>
                  <a:pt x="7" y="251"/>
                  <a:pt x="0" y="259"/>
                  <a:pt x="0" y="267"/>
                </a:cubicBezTo>
                <a:cubicBezTo>
                  <a:pt x="0" y="282"/>
                  <a:pt x="0" y="282"/>
                  <a:pt x="0" y="282"/>
                </a:cubicBezTo>
                <a:cubicBezTo>
                  <a:pt x="0" y="290"/>
                  <a:pt x="7" y="298"/>
                  <a:pt x="16" y="298"/>
                </a:cubicBezTo>
                <a:cubicBezTo>
                  <a:pt x="439" y="298"/>
                  <a:pt x="439" y="298"/>
                  <a:pt x="439" y="298"/>
                </a:cubicBezTo>
                <a:cubicBezTo>
                  <a:pt x="448" y="298"/>
                  <a:pt x="455" y="290"/>
                  <a:pt x="455" y="282"/>
                </a:cubicBezTo>
                <a:cubicBezTo>
                  <a:pt x="455" y="267"/>
                  <a:pt x="455" y="267"/>
                  <a:pt x="455" y="267"/>
                </a:cubicBezTo>
                <a:cubicBezTo>
                  <a:pt x="455" y="259"/>
                  <a:pt x="448" y="251"/>
                  <a:pt x="439" y="251"/>
                </a:cubicBezTo>
                <a:close/>
                <a:moveTo>
                  <a:pt x="439" y="282"/>
                </a:moveTo>
                <a:cubicBezTo>
                  <a:pt x="16" y="282"/>
                  <a:pt x="16" y="282"/>
                  <a:pt x="16" y="282"/>
                </a:cubicBezTo>
                <a:cubicBezTo>
                  <a:pt x="16" y="267"/>
                  <a:pt x="16" y="267"/>
                  <a:pt x="16" y="267"/>
                </a:cubicBezTo>
                <a:cubicBezTo>
                  <a:pt x="185" y="267"/>
                  <a:pt x="185" y="267"/>
                  <a:pt x="185" y="267"/>
                </a:cubicBezTo>
                <a:cubicBezTo>
                  <a:pt x="186" y="271"/>
                  <a:pt x="189" y="273"/>
                  <a:pt x="193" y="273"/>
                </a:cubicBezTo>
                <a:cubicBezTo>
                  <a:pt x="262" y="273"/>
                  <a:pt x="262" y="273"/>
                  <a:pt x="262" y="273"/>
                </a:cubicBezTo>
                <a:cubicBezTo>
                  <a:pt x="266" y="273"/>
                  <a:pt x="269" y="271"/>
                  <a:pt x="270" y="267"/>
                </a:cubicBezTo>
                <a:cubicBezTo>
                  <a:pt x="439" y="267"/>
                  <a:pt x="439" y="267"/>
                  <a:pt x="439" y="267"/>
                </a:cubicBezTo>
                <a:lnTo>
                  <a:pt x="439" y="282"/>
                </a:lnTo>
                <a:close/>
                <a:moveTo>
                  <a:pt x="195" y="233"/>
                </a:moveTo>
                <a:cubicBezTo>
                  <a:pt x="303" y="233"/>
                  <a:pt x="303" y="233"/>
                  <a:pt x="303" y="233"/>
                </a:cubicBezTo>
                <a:cubicBezTo>
                  <a:pt x="313" y="233"/>
                  <a:pt x="321" y="224"/>
                  <a:pt x="321" y="214"/>
                </a:cubicBezTo>
                <a:cubicBezTo>
                  <a:pt x="321" y="83"/>
                  <a:pt x="321" y="83"/>
                  <a:pt x="321" y="83"/>
                </a:cubicBezTo>
                <a:cubicBezTo>
                  <a:pt x="321" y="73"/>
                  <a:pt x="313" y="65"/>
                  <a:pt x="303" y="65"/>
                </a:cubicBezTo>
                <a:cubicBezTo>
                  <a:pt x="267" y="65"/>
                  <a:pt x="267" y="65"/>
                  <a:pt x="267" y="65"/>
                </a:cubicBezTo>
                <a:cubicBezTo>
                  <a:pt x="263" y="65"/>
                  <a:pt x="259" y="69"/>
                  <a:pt x="259" y="73"/>
                </a:cubicBezTo>
                <a:cubicBezTo>
                  <a:pt x="259" y="77"/>
                  <a:pt x="263" y="81"/>
                  <a:pt x="267" y="81"/>
                </a:cubicBezTo>
                <a:cubicBezTo>
                  <a:pt x="303" y="81"/>
                  <a:pt x="303" y="81"/>
                  <a:pt x="303" y="81"/>
                </a:cubicBezTo>
                <a:cubicBezTo>
                  <a:pt x="304" y="81"/>
                  <a:pt x="305" y="82"/>
                  <a:pt x="305" y="83"/>
                </a:cubicBezTo>
                <a:cubicBezTo>
                  <a:pt x="305" y="214"/>
                  <a:pt x="305" y="214"/>
                  <a:pt x="305" y="214"/>
                </a:cubicBezTo>
                <a:cubicBezTo>
                  <a:pt x="305" y="216"/>
                  <a:pt x="304" y="217"/>
                  <a:pt x="303" y="217"/>
                </a:cubicBezTo>
                <a:cubicBezTo>
                  <a:pt x="195" y="217"/>
                  <a:pt x="195" y="217"/>
                  <a:pt x="195" y="217"/>
                </a:cubicBezTo>
                <a:cubicBezTo>
                  <a:pt x="193" y="217"/>
                  <a:pt x="192" y="216"/>
                  <a:pt x="192" y="214"/>
                </a:cubicBezTo>
                <a:cubicBezTo>
                  <a:pt x="192" y="193"/>
                  <a:pt x="192" y="193"/>
                  <a:pt x="192" y="193"/>
                </a:cubicBezTo>
                <a:cubicBezTo>
                  <a:pt x="192" y="188"/>
                  <a:pt x="189" y="185"/>
                  <a:pt x="184" y="185"/>
                </a:cubicBezTo>
                <a:cubicBezTo>
                  <a:pt x="180" y="185"/>
                  <a:pt x="176" y="188"/>
                  <a:pt x="176" y="193"/>
                </a:cubicBezTo>
                <a:cubicBezTo>
                  <a:pt x="176" y="214"/>
                  <a:pt x="176" y="214"/>
                  <a:pt x="176" y="214"/>
                </a:cubicBezTo>
                <a:cubicBezTo>
                  <a:pt x="176" y="224"/>
                  <a:pt x="185" y="233"/>
                  <a:pt x="195" y="233"/>
                </a:cubicBezTo>
                <a:close/>
                <a:moveTo>
                  <a:pt x="183" y="32"/>
                </a:moveTo>
                <a:cubicBezTo>
                  <a:pt x="144" y="32"/>
                  <a:pt x="111" y="65"/>
                  <a:pt x="111" y="104"/>
                </a:cubicBezTo>
                <a:cubicBezTo>
                  <a:pt x="111" y="144"/>
                  <a:pt x="144" y="176"/>
                  <a:pt x="183" y="176"/>
                </a:cubicBezTo>
                <a:cubicBezTo>
                  <a:pt x="223" y="176"/>
                  <a:pt x="255" y="144"/>
                  <a:pt x="255" y="104"/>
                </a:cubicBezTo>
                <a:cubicBezTo>
                  <a:pt x="255" y="65"/>
                  <a:pt x="223" y="32"/>
                  <a:pt x="183" y="32"/>
                </a:cubicBezTo>
                <a:close/>
                <a:moveTo>
                  <a:pt x="183" y="160"/>
                </a:moveTo>
                <a:cubicBezTo>
                  <a:pt x="152" y="160"/>
                  <a:pt x="127" y="135"/>
                  <a:pt x="127" y="104"/>
                </a:cubicBezTo>
                <a:cubicBezTo>
                  <a:pt x="127" y="74"/>
                  <a:pt x="152" y="48"/>
                  <a:pt x="183" y="48"/>
                </a:cubicBezTo>
                <a:cubicBezTo>
                  <a:pt x="214" y="48"/>
                  <a:pt x="239" y="74"/>
                  <a:pt x="239" y="104"/>
                </a:cubicBezTo>
                <a:cubicBezTo>
                  <a:pt x="239" y="135"/>
                  <a:pt x="214" y="160"/>
                  <a:pt x="183" y="160"/>
                </a:cubicBezTo>
                <a:close/>
                <a:moveTo>
                  <a:pt x="284" y="190"/>
                </a:moveTo>
                <a:cubicBezTo>
                  <a:pt x="213" y="190"/>
                  <a:pt x="213" y="190"/>
                  <a:pt x="213" y="190"/>
                </a:cubicBezTo>
                <a:cubicBezTo>
                  <a:pt x="209" y="190"/>
                  <a:pt x="205" y="193"/>
                  <a:pt x="205" y="198"/>
                </a:cubicBezTo>
                <a:cubicBezTo>
                  <a:pt x="205" y="202"/>
                  <a:pt x="209" y="206"/>
                  <a:pt x="213" y="206"/>
                </a:cubicBezTo>
                <a:cubicBezTo>
                  <a:pt x="284" y="206"/>
                  <a:pt x="284" y="206"/>
                  <a:pt x="284" y="206"/>
                </a:cubicBezTo>
                <a:cubicBezTo>
                  <a:pt x="289" y="206"/>
                  <a:pt x="292" y="202"/>
                  <a:pt x="292" y="198"/>
                </a:cubicBezTo>
                <a:cubicBezTo>
                  <a:pt x="292" y="193"/>
                  <a:pt x="289" y="190"/>
                  <a:pt x="284" y="190"/>
                </a:cubicBezTo>
                <a:close/>
                <a:moveTo>
                  <a:pt x="199" y="73"/>
                </a:moveTo>
                <a:cubicBezTo>
                  <a:pt x="187" y="83"/>
                  <a:pt x="177" y="101"/>
                  <a:pt x="171" y="114"/>
                </a:cubicBezTo>
                <a:cubicBezTo>
                  <a:pt x="168" y="109"/>
                  <a:pt x="165" y="105"/>
                  <a:pt x="164" y="104"/>
                </a:cubicBezTo>
                <a:cubicBezTo>
                  <a:pt x="162" y="101"/>
                  <a:pt x="157" y="100"/>
                  <a:pt x="153" y="102"/>
                </a:cubicBezTo>
                <a:cubicBezTo>
                  <a:pt x="150" y="105"/>
                  <a:pt x="149" y="110"/>
                  <a:pt x="152" y="114"/>
                </a:cubicBezTo>
                <a:cubicBezTo>
                  <a:pt x="156" y="119"/>
                  <a:pt x="163" y="130"/>
                  <a:pt x="164" y="135"/>
                </a:cubicBezTo>
                <a:cubicBezTo>
                  <a:pt x="165" y="139"/>
                  <a:pt x="168" y="141"/>
                  <a:pt x="172" y="141"/>
                </a:cubicBezTo>
                <a:cubicBezTo>
                  <a:pt x="172" y="141"/>
                  <a:pt x="172" y="141"/>
                  <a:pt x="172" y="141"/>
                </a:cubicBezTo>
                <a:cubicBezTo>
                  <a:pt x="175" y="141"/>
                  <a:pt x="178" y="139"/>
                  <a:pt x="179" y="136"/>
                </a:cubicBezTo>
                <a:cubicBezTo>
                  <a:pt x="180" y="136"/>
                  <a:pt x="192" y="100"/>
                  <a:pt x="209" y="85"/>
                </a:cubicBezTo>
                <a:cubicBezTo>
                  <a:pt x="212" y="82"/>
                  <a:pt x="213" y="77"/>
                  <a:pt x="210" y="73"/>
                </a:cubicBezTo>
                <a:cubicBezTo>
                  <a:pt x="207" y="70"/>
                  <a:pt x="202" y="70"/>
                  <a:pt x="199" y="73"/>
                </a:cubicBezTo>
                <a:close/>
              </a:path>
            </a:pathLst>
          </a:custGeom>
          <a:solidFill>
            <a:srgbClr val="FFFFFF"/>
          </a:solidFill>
          <a:ln>
            <a:noFill/>
          </a:ln>
        </p:spPr>
        <p:txBody>
          <a:bodyPr/>
          <a:lstStyle/>
          <a:p>
            <a:endParaRPr lang="sv-SE"/>
          </a:p>
        </p:txBody>
      </p:sp>
      <p:sp>
        <p:nvSpPr>
          <p:cNvPr id="114" name="Freeform 6"/>
          <p:cNvSpPr>
            <a:spLocks noChangeAspect="1" noEditPoints="1"/>
          </p:cNvSpPr>
          <p:nvPr/>
        </p:nvSpPr>
        <p:spPr bwMode="auto">
          <a:xfrm>
            <a:off x="6460068" y="3550073"/>
            <a:ext cx="125057" cy="193976"/>
          </a:xfrm>
          <a:custGeom>
            <a:avLst/>
            <a:gdLst>
              <a:gd name="T0" fmla="*/ 2147483647 w 232"/>
              <a:gd name="T1" fmla="*/ 2147483647 h 360"/>
              <a:gd name="T2" fmla="*/ 2147483647 w 232"/>
              <a:gd name="T3" fmla="*/ 2147483647 h 360"/>
              <a:gd name="T4" fmla="*/ 2147483647 w 232"/>
              <a:gd name="T5" fmla="*/ 2147483647 h 360"/>
              <a:gd name="T6" fmla="*/ 2147483647 w 232"/>
              <a:gd name="T7" fmla="*/ 2147483647 h 360"/>
              <a:gd name="T8" fmla="*/ 2147483647 w 232"/>
              <a:gd name="T9" fmla="*/ 2147483647 h 360"/>
              <a:gd name="T10" fmla="*/ 2147483647 w 232"/>
              <a:gd name="T11" fmla="*/ 2147483647 h 360"/>
              <a:gd name="T12" fmla="*/ 2147483647 w 232"/>
              <a:gd name="T13" fmla="*/ 2147483647 h 360"/>
              <a:gd name="T14" fmla="*/ 2147483647 w 232"/>
              <a:gd name="T15" fmla="*/ 2147483647 h 360"/>
              <a:gd name="T16" fmla="*/ 2147483647 w 232"/>
              <a:gd name="T17" fmla="*/ 2147483647 h 360"/>
              <a:gd name="T18" fmla="*/ 2147483647 w 232"/>
              <a:gd name="T19" fmla="*/ 2147483647 h 360"/>
              <a:gd name="T20" fmla="*/ 2147483647 w 232"/>
              <a:gd name="T21" fmla="*/ 2147483647 h 360"/>
              <a:gd name="T22" fmla="*/ 2147483647 w 232"/>
              <a:gd name="T23" fmla="*/ 2147483647 h 360"/>
              <a:gd name="T24" fmla="*/ 2147483647 w 232"/>
              <a:gd name="T25" fmla="*/ 2147483647 h 360"/>
              <a:gd name="T26" fmla="*/ 2147483647 w 232"/>
              <a:gd name="T27" fmla="*/ 2147483647 h 360"/>
              <a:gd name="T28" fmla="*/ 2147483647 w 232"/>
              <a:gd name="T29" fmla="*/ 2147483647 h 360"/>
              <a:gd name="T30" fmla="*/ 2147483647 w 232"/>
              <a:gd name="T31" fmla="*/ 2147483647 h 360"/>
              <a:gd name="T32" fmla="*/ 2147483647 w 232"/>
              <a:gd name="T33" fmla="*/ 2147483647 h 360"/>
              <a:gd name="T34" fmla="*/ 2147483647 w 232"/>
              <a:gd name="T35" fmla="*/ 2147483647 h 360"/>
              <a:gd name="T36" fmla="*/ 2147483647 w 232"/>
              <a:gd name="T37" fmla="*/ 2147483647 h 360"/>
              <a:gd name="T38" fmla="*/ 2147483647 w 232"/>
              <a:gd name="T39" fmla="*/ 2147483647 h 360"/>
              <a:gd name="T40" fmla="*/ 2147483647 w 232"/>
              <a:gd name="T41" fmla="*/ 2147483647 h 360"/>
              <a:gd name="T42" fmla="*/ 2147483647 w 232"/>
              <a:gd name="T43" fmla="*/ 2147483647 h 360"/>
              <a:gd name="T44" fmla="*/ 2147483647 w 232"/>
              <a:gd name="T45" fmla="*/ 2147483647 h 360"/>
              <a:gd name="T46" fmla="*/ 2147483647 w 232"/>
              <a:gd name="T47" fmla="*/ 2147483647 h 360"/>
              <a:gd name="T48" fmla="*/ 2147483647 w 232"/>
              <a:gd name="T49" fmla="*/ 2147483647 h 360"/>
              <a:gd name="T50" fmla="*/ 2147483647 w 232"/>
              <a:gd name="T51" fmla="*/ 2147483647 h 360"/>
              <a:gd name="T52" fmla="*/ 2147483647 w 232"/>
              <a:gd name="T53" fmla="*/ 2147483647 h 360"/>
              <a:gd name="T54" fmla="*/ 2147483647 w 232"/>
              <a:gd name="T55" fmla="*/ 2147483647 h 360"/>
              <a:gd name="T56" fmla="*/ 2147483647 w 232"/>
              <a:gd name="T57" fmla="*/ 2147483647 h 360"/>
              <a:gd name="T58" fmla="*/ 2147483647 w 232"/>
              <a:gd name="T59" fmla="*/ 2147483647 h 360"/>
              <a:gd name="T60" fmla="*/ 2147483647 w 232"/>
              <a:gd name="T61" fmla="*/ 2147483647 h 360"/>
              <a:gd name="T62" fmla="*/ 0 w 232"/>
              <a:gd name="T63" fmla="*/ 2147483647 h 360"/>
              <a:gd name="T64" fmla="*/ 2147483647 w 232"/>
              <a:gd name="T65" fmla="*/ 0 h 360"/>
              <a:gd name="T66" fmla="*/ 2147483647 w 232"/>
              <a:gd name="T67" fmla="*/ 2147483647 h 360"/>
              <a:gd name="T68" fmla="*/ 2147483647 w 232"/>
              <a:gd name="T69" fmla="*/ 2147483647 h 360"/>
              <a:gd name="T70" fmla="*/ 2147483647 w 232"/>
              <a:gd name="T71" fmla="*/ 2147483647 h 360"/>
              <a:gd name="T72" fmla="*/ 2147483647 w 232"/>
              <a:gd name="T73" fmla="*/ 2147483647 h 360"/>
              <a:gd name="T74" fmla="*/ 2147483647 w 232"/>
              <a:gd name="T75" fmla="*/ 2147483647 h 3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32" h="360">
                <a:moveTo>
                  <a:pt x="72" y="199"/>
                </a:moveTo>
                <a:cubicBezTo>
                  <a:pt x="67" y="199"/>
                  <a:pt x="64" y="196"/>
                  <a:pt x="64" y="192"/>
                </a:cubicBezTo>
                <a:cubicBezTo>
                  <a:pt x="63" y="188"/>
                  <a:pt x="66" y="184"/>
                  <a:pt x="71" y="183"/>
                </a:cubicBezTo>
                <a:cubicBezTo>
                  <a:pt x="160" y="176"/>
                  <a:pt x="160" y="176"/>
                  <a:pt x="160" y="176"/>
                </a:cubicBezTo>
                <a:cubicBezTo>
                  <a:pt x="165" y="176"/>
                  <a:pt x="168" y="179"/>
                  <a:pt x="169" y="183"/>
                </a:cubicBezTo>
                <a:cubicBezTo>
                  <a:pt x="169" y="188"/>
                  <a:pt x="166" y="191"/>
                  <a:pt x="162" y="192"/>
                </a:cubicBezTo>
                <a:cubicBezTo>
                  <a:pt x="72" y="199"/>
                  <a:pt x="72" y="199"/>
                  <a:pt x="72" y="199"/>
                </a:cubicBezTo>
                <a:cubicBezTo>
                  <a:pt x="72" y="199"/>
                  <a:pt x="72" y="199"/>
                  <a:pt x="72" y="199"/>
                </a:cubicBezTo>
                <a:close/>
                <a:moveTo>
                  <a:pt x="72" y="231"/>
                </a:moveTo>
                <a:cubicBezTo>
                  <a:pt x="162" y="223"/>
                  <a:pt x="162" y="223"/>
                  <a:pt x="162" y="223"/>
                </a:cubicBezTo>
                <a:cubicBezTo>
                  <a:pt x="166" y="223"/>
                  <a:pt x="169" y="219"/>
                  <a:pt x="169" y="215"/>
                </a:cubicBezTo>
                <a:cubicBezTo>
                  <a:pt x="168" y="210"/>
                  <a:pt x="165" y="207"/>
                  <a:pt x="160" y="207"/>
                </a:cubicBezTo>
                <a:cubicBezTo>
                  <a:pt x="71" y="215"/>
                  <a:pt x="71" y="215"/>
                  <a:pt x="71" y="215"/>
                </a:cubicBezTo>
                <a:cubicBezTo>
                  <a:pt x="66" y="215"/>
                  <a:pt x="63" y="219"/>
                  <a:pt x="64" y="223"/>
                </a:cubicBezTo>
                <a:cubicBezTo>
                  <a:pt x="64" y="227"/>
                  <a:pt x="67" y="231"/>
                  <a:pt x="72" y="231"/>
                </a:cubicBezTo>
                <a:cubicBezTo>
                  <a:pt x="72" y="231"/>
                  <a:pt x="72" y="231"/>
                  <a:pt x="72" y="231"/>
                </a:cubicBezTo>
                <a:close/>
                <a:moveTo>
                  <a:pt x="72" y="262"/>
                </a:moveTo>
                <a:cubicBezTo>
                  <a:pt x="162" y="254"/>
                  <a:pt x="162" y="254"/>
                  <a:pt x="162" y="254"/>
                </a:cubicBezTo>
                <a:cubicBezTo>
                  <a:pt x="166" y="254"/>
                  <a:pt x="169" y="250"/>
                  <a:pt x="169" y="246"/>
                </a:cubicBezTo>
                <a:cubicBezTo>
                  <a:pt x="168" y="241"/>
                  <a:pt x="165" y="238"/>
                  <a:pt x="160" y="239"/>
                </a:cubicBezTo>
                <a:cubicBezTo>
                  <a:pt x="71" y="246"/>
                  <a:pt x="71" y="246"/>
                  <a:pt x="71" y="246"/>
                </a:cubicBezTo>
                <a:cubicBezTo>
                  <a:pt x="66" y="246"/>
                  <a:pt x="63" y="250"/>
                  <a:pt x="64" y="255"/>
                </a:cubicBezTo>
                <a:cubicBezTo>
                  <a:pt x="64" y="259"/>
                  <a:pt x="67" y="262"/>
                  <a:pt x="72" y="262"/>
                </a:cubicBezTo>
                <a:cubicBezTo>
                  <a:pt x="72" y="262"/>
                  <a:pt x="72" y="262"/>
                  <a:pt x="72" y="262"/>
                </a:cubicBezTo>
                <a:close/>
                <a:moveTo>
                  <a:pt x="72" y="293"/>
                </a:moveTo>
                <a:cubicBezTo>
                  <a:pt x="162" y="286"/>
                  <a:pt x="162" y="286"/>
                  <a:pt x="162" y="286"/>
                </a:cubicBezTo>
                <a:cubicBezTo>
                  <a:pt x="166" y="285"/>
                  <a:pt x="169" y="282"/>
                  <a:pt x="169" y="277"/>
                </a:cubicBezTo>
                <a:cubicBezTo>
                  <a:pt x="168" y="273"/>
                  <a:pt x="165" y="269"/>
                  <a:pt x="160" y="270"/>
                </a:cubicBezTo>
                <a:cubicBezTo>
                  <a:pt x="71" y="277"/>
                  <a:pt x="71" y="277"/>
                  <a:pt x="71" y="277"/>
                </a:cubicBezTo>
                <a:cubicBezTo>
                  <a:pt x="66" y="278"/>
                  <a:pt x="63" y="282"/>
                  <a:pt x="64" y="286"/>
                </a:cubicBezTo>
                <a:cubicBezTo>
                  <a:pt x="64" y="290"/>
                  <a:pt x="67" y="293"/>
                  <a:pt x="72" y="293"/>
                </a:cubicBezTo>
                <a:cubicBezTo>
                  <a:pt x="72" y="293"/>
                  <a:pt x="72" y="293"/>
                  <a:pt x="72" y="293"/>
                </a:cubicBezTo>
                <a:close/>
                <a:moveTo>
                  <a:pt x="169" y="308"/>
                </a:moveTo>
                <a:cubicBezTo>
                  <a:pt x="169" y="306"/>
                  <a:pt x="168" y="304"/>
                  <a:pt x="166" y="302"/>
                </a:cubicBezTo>
                <a:cubicBezTo>
                  <a:pt x="165" y="301"/>
                  <a:pt x="162" y="300"/>
                  <a:pt x="160" y="300"/>
                </a:cubicBezTo>
                <a:cubicBezTo>
                  <a:pt x="71" y="308"/>
                  <a:pt x="71" y="308"/>
                  <a:pt x="71" y="308"/>
                </a:cubicBezTo>
                <a:cubicBezTo>
                  <a:pt x="69" y="308"/>
                  <a:pt x="67" y="309"/>
                  <a:pt x="65" y="311"/>
                </a:cubicBezTo>
                <a:cubicBezTo>
                  <a:pt x="64" y="313"/>
                  <a:pt x="63" y="315"/>
                  <a:pt x="64" y="317"/>
                </a:cubicBezTo>
                <a:cubicBezTo>
                  <a:pt x="68" y="342"/>
                  <a:pt x="90" y="360"/>
                  <a:pt x="116" y="360"/>
                </a:cubicBezTo>
                <a:cubicBezTo>
                  <a:pt x="145" y="360"/>
                  <a:pt x="169" y="337"/>
                  <a:pt x="169" y="308"/>
                </a:cubicBezTo>
                <a:close/>
                <a:moveTo>
                  <a:pt x="152" y="317"/>
                </a:moveTo>
                <a:cubicBezTo>
                  <a:pt x="148" y="332"/>
                  <a:pt x="133" y="344"/>
                  <a:pt x="116" y="344"/>
                </a:cubicBezTo>
                <a:cubicBezTo>
                  <a:pt x="101" y="344"/>
                  <a:pt x="88" y="335"/>
                  <a:pt x="82" y="323"/>
                </a:cubicBezTo>
                <a:lnTo>
                  <a:pt x="152" y="317"/>
                </a:lnTo>
                <a:close/>
                <a:moveTo>
                  <a:pt x="216" y="29"/>
                </a:moveTo>
                <a:cubicBezTo>
                  <a:pt x="216" y="16"/>
                  <a:pt x="216" y="16"/>
                  <a:pt x="216" y="16"/>
                </a:cubicBezTo>
                <a:cubicBezTo>
                  <a:pt x="16" y="16"/>
                  <a:pt x="16" y="16"/>
                  <a:pt x="16" y="16"/>
                </a:cubicBezTo>
                <a:cubicBezTo>
                  <a:pt x="16" y="72"/>
                  <a:pt x="16" y="72"/>
                  <a:pt x="16" y="72"/>
                </a:cubicBezTo>
                <a:cubicBezTo>
                  <a:pt x="216" y="72"/>
                  <a:pt x="216" y="72"/>
                  <a:pt x="216" y="72"/>
                </a:cubicBezTo>
                <a:cubicBezTo>
                  <a:pt x="216" y="60"/>
                  <a:pt x="216" y="60"/>
                  <a:pt x="216" y="60"/>
                </a:cubicBezTo>
                <a:cubicBezTo>
                  <a:pt x="216" y="56"/>
                  <a:pt x="220" y="52"/>
                  <a:pt x="224" y="52"/>
                </a:cubicBezTo>
                <a:cubicBezTo>
                  <a:pt x="229" y="52"/>
                  <a:pt x="232" y="56"/>
                  <a:pt x="232" y="60"/>
                </a:cubicBezTo>
                <a:cubicBezTo>
                  <a:pt x="232" y="72"/>
                  <a:pt x="232" y="72"/>
                  <a:pt x="232" y="72"/>
                </a:cubicBezTo>
                <a:cubicBezTo>
                  <a:pt x="232" y="81"/>
                  <a:pt x="225" y="88"/>
                  <a:pt x="216" y="88"/>
                </a:cubicBezTo>
                <a:cubicBezTo>
                  <a:pt x="169" y="88"/>
                  <a:pt x="169" y="88"/>
                  <a:pt x="169" y="88"/>
                </a:cubicBezTo>
                <a:cubicBezTo>
                  <a:pt x="169" y="152"/>
                  <a:pt x="169" y="152"/>
                  <a:pt x="169" y="152"/>
                </a:cubicBezTo>
                <a:cubicBezTo>
                  <a:pt x="169" y="156"/>
                  <a:pt x="166" y="160"/>
                  <a:pt x="162" y="160"/>
                </a:cubicBezTo>
                <a:cubicBezTo>
                  <a:pt x="72" y="167"/>
                  <a:pt x="72" y="167"/>
                  <a:pt x="72" y="167"/>
                </a:cubicBezTo>
                <a:cubicBezTo>
                  <a:pt x="72" y="167"/>
                  <a:pt x="72" y="167"/>
                  <a:pt x="72" y="167"/>
                </a:cubicBezTo>
                <a:cubicBezTo>
                  <a:pt x="70" y="167"/>
                  <a:pt x="68" y="166"/>
                  <a:pt x="66" y="165"/>
                </a:cubicBezTo>
                <a:cubicBezTo>
                  <a:pt x="64" y="164"/>
                  <a:pt x="64" y="161"/>
                  <a:pt x="64" y="159"/>
                </a:cubicBezTo>
                <a:cubicBezTo>
                  <a:pt x="64" y="88"/>
                  <a:pt x="64" y="88"/>
                  <a:pt x="64" y="88"/>
                </a:cubicBezTo>
                <a:cubicBezTo>
                  <a:pt x="16" y="88"/>
                  <a:pt x="16" y="88"/>
                  <a:pt x="16" y="88"/>
                </a:cubicBezTo>
                <a:cubicBezTo>
                  <a:pt x="7" y="88"/>
                  <a:pt x="0" y="81"/>
                  <a:pt x="0" y="72"/>
                </a:cubicBezTo>
                <a:cubicBezTo>
                  <a:pt x="0" y="16"/>
                  <a:pt x="0" y="16"/>
                  <a:pt x="0" y="16"/>
                </a:cubicBezTo>
                <a:cubicBezTo>
                  <a:pt x="0" y="8"/>
                  <a:pt x="7" y="0"/>
                  <a:pt x="16" y="0"/>
                </a:cubicBezTo>
                <a:cubicBezTo>
                  <a:pt x="216" y="0"/>
                  <a:pt x="216" y="0"/>
                  <a:pt x="216" y="0"/>
                </a:cubicBezTo>
                <a:cubicBezTo>
                  <a:pt x="225" y="0"/>
                  <a:pt x="232" y="8"/>
                  <a:pt x="232" y="16"/>
                </a:cubicBezTo>
                <a:cubicBezTo>
                  <a:pt x="232" y="29"/>
                  <a:pt x="232" y="29"/>
                  <a:pt x="232" y="29"/>
                </a:cubicBezTo>
                <a:cubicBezTo>
                  <a:pt x="232" y="33"/>
                  <a:pt x="229" y="37"/>
                  <a:pt x="224" y="37"/>
                </a:cubicBezTo>
                <a:cubicBezTo>
                  <a:pt x="220" y="37"/>
                  <a:pt x="216" y="33"/>
                  <a:pt x="216" y="29"/>
                </a:cubicBezTo>
                <a:close/>
                <a:moveTo>
                  <a:pt x="153" y="88"/>
                </a:moveTo>
                <a:cubicBezTo>
                  <a:pt x="80" y="88"/>
                  <a:pt x="80" y="88"/>
                  <a:pt x="80" y="88"/>
                </a:cubicBezTo>
                <a:cubicBezTo>
                  <a:pt x="80" y="151"/>
                  <a:pt x="80" y="151"/>
                  <a:pt x="80" y="151"/>
                </a:cubicBezTo>
                <a:cubicBezTo>
                  <a:pt x="153" y="145"/>
                  <a:pt x="153" y="145"/>
                  <a:pt x="153" y="145"/>
                </a:cubicBezTo>
                <a:lnTo>
                  <a:pt x="153" y="88"/>
                </a:lnTo>
                <a:close/>
              </a:path>
            </a:pathLst>
          </a:custGeom>
          <a:solidFill>
            <a:srgbClr val="FFFFFF"/>
          </a:solidFill>
          <a:ln>
            <a:noFill/>
          </a:ln>
        </p:spPr>
        <p:txBody>
          <a:bodyPr/>
          <a:lstStyle/>
          <a:p>
            <a:endParaRPr lang="sv-SE"/>
          </a:p>
        </p:txBody>
      </p:sp>
      <p:sp>
        <p:nvSpPr>
          <p:cNvPr id="115" name="Freeform 3"/>
          <p:cNvSpPr>
            <a:spLocks noChangeAspect="1" noEditPoints="1"/>
          </p:cNvSpPr>
          <p:nvPr/>
        </p:nvSpPr>
        <p:spPr bwMode="auto">
          <a:xfrm>
            <a:off x="6657308" y="3405278"/>
            <a:ext cx="198122" cy="207092"/>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p:spPr>
        <p:txBody>
          <a:bodyPr/>
          <a:lstStyle/>
          <a:p>
            <a:endParaRPr lang="en-US" b="1" dirty="0"/>
          </a:p>
        </p:txBody>
      </p:sp>
      <p:sp>
        <p:nvSpPr>
          <p:cNvPr id="116" name="textruta 214"/>
          <p:cNvSpPr txBox="1"/>
          <p:nvPr/>
        </p:nvSpPr>
        <p:spPr>
          <a:xfrm>
            <a:off x="6954668" y="3322728"/>
            <a:ext cx="1688237" cy="282769"/>
          </a:xfrm>
          <a:prstGeom prst="rect">
            <a:avLst/>
          </a:prstGeom>
          <a:noFill/>
        </p:spPr>
        <p:txBody>
          <a:bodyPr wrap="square" lIns="0" tIns="0" rIns="0" bIns="0" rtlCol="0" anchor="ctr" anchorCtr="0">
            <a:noAutofit/>
          </a:bodyPr>
          <a:lstStyle/>
          <a:p>
            <a:r>
              <a:rPr lang="en-US" sz="1100" dirty="0">
                <a:latin typeface="Arial" panose="020B0604020202020204" pitchFamily="34" charset="0"/>
                <a:cs typeface="Arial" panose="020B0604020202020204" pitchFamily="34" charset="0"/>
              </a:rPr>
              <a:t>Flow management </a:t>
            </a:r>
            <a:br>
              <a:rPr lang="en-US" sz="1100" dirty="0">
                <a:latin typeface="Arial" panose="020B0604020202020204" pitchFamily="34" charset="0"/>
                <a:cs typeface="Arial" panose="020B0604020202020204" pitchFamily="34" charset="0"/>
              </a:rPr>
            </a:br>
            <a:r>
              <a:rPr lang="en-US" sz="1100" dirty="0">
                <a:latin typeface="Arial" panose="020B0604020202020204" pitchFamily="34" charset="0"/>
                <a:cs typeface="Arial" panose="020B0604020202020204" pitchFamily="34" charset="0"/>
              </a:rPr>
              <a:t>and remote supervision</a:t>
            </a:r>
          </a:p>
        </p:txBody>
      </p:sp>
      <p:cxnSp>
        <p:nvCxnSpPr>
          <p:cNvPr id="117" name="Rak 192"/>
          <p:cNvCxnSpPr/>
          <p:nvPr/>
        </p:nvCxnSpPr>
        <p:spPr bwMode="auto">
          <a:xfrm flipH="1">
            <a:off x="6270689" y="2690671"/>
            <a:ext cx="222425" cy="123972"/>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118" name="Rak 193"/>
          <p:cNvCxnSpPr/>
          <p:nvPr/>
        </p:nvCxnSpPr>
        <p:spPr bwMode="auto">
          <a:xfrm flipH="1">
            <a:off x="6566836" y="2759874"/>
            <a:ext cx="54966" cy="128489"/>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119" name="Rak 194"/>
          <p:cNvCxnSpPr/>
          <p:nvPr/>
        </p:nvCxnSpPr>
        <p:spPr bwMode="auto">
          <a:xfrm flipH="1" flipV="1">
            <a:off x="6265388" y="2875127"/>
            <a:ext cx="116409" cy="69161"/>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120" name="Rak 197"/>
          <p:cNvCxnSpPr/>
          <p:nvPr/>
        </p:nvCxnSpPr>
        <p:spPr bwMode="auto">
          <a:xfrm flipH="1">
            <a:off x="6364900" y="3505149"/>
            <a:ext cx="318856" cy="0"/>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121" name="Rak 198"/>
          <p:cNvCxnSpPr/>
          <p:nvPr/>
        </p:nvCxnSpPr>
        <p:spPr bwMode="auto">
          <a:xfrm flipH="1">
            <a:off x="6364900" y="3379878"/>
            <a:ext cx="57968" cy="54692"/>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122" name="Rak 199"/>
          <p:cNvCxnSpPr/>
          <p:nvPr/>
        </p:nvCxnSpPr>
        <p:spPr bwMode="auto">
          <a:xfrm flipH="1" flipV="1">
            <a:off x="6364900" y="3550073"/>
            <a:ext cx="95168" cy="95509"/>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123" name="Rak 208"/>
          <p:cNvCxnSpPr/>
          <p:nvPr/>
        </p:nvCxnSpPr>
        <p:spPr bwMode="auto">
          <a:xfrm flipH="1" flipV="1">
            <a:off x="6252230" y="4648080"/>
            <a:ext cx="112670" cy="102917"/>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124" name="Rak 209"/>
          <p:cNvCxnSpPr/>
          <p:nvPr/>
        </p:nvCxnSpPr>
        <p:spPr bwMode="auto">
          <a:xfrm flipH="1" flipV="1">
            <a:off x="6612173" y="4695402"/>
            <a:ext cx="88521" cy="75111"/>
          </a:xfrm>
          <a:prstGeom prst="line">
            <a:avLst/>
          </a:prstGeom>
          <a:solidFill>
            <a:schemeClr val="accent1"/>
          </a:solidFill>
          <a:ln w="19050" cap="rnd" cmpd="sng" algn="ctr">
            <a:solidFill>
              <a:schemeClr val="bg1"/>
            </a:solidFill>
            <a:prstDash val="sysDot"/>
            <a:round/>
            <a:headEnd type="none" w="med" len="med"/>
            <a:tailEnd type="none" w="med" len="med"/>
          </a:ln>
          <a:effectLst/>
        </p:spPr>
      </p:cxnSp>
      <p:cxnSp>
        <p:nvCxnSpPr>
          <p:cNvPr id="125" name="Rak 210"/>
          <p:cNvCxnSpPr/>
          <p:nvPr/>
        </p:nvCxnSpPr>
        <p:spPr bwMode="auto">
          <a:xfrm flipV="1">
            <a:off x="6422865" y="4676352"/>
            <a:ext cx="99732" cy="98779"/>
          </a:xfrm>
          <a:prstGeom prst="line">
            <a:avLst/>
          </a:prstGeom>
          <a:solidFill>
            <a:schemeClr val="accent1"/>
          </a:solidFill>
          <a:ln w="19050" cap="rnd" cmpd="sng" algn="ctr">
            <a:solidFill>
              <a:schemeClr val="bg1"/>
            </a:solidFill>
            <a:prstDash val="sysDot"/>
            <a:round/>
            <a:headEnd type="none" w="med" len="med"/>
            <a:tailEnd type="none" w="med" len="med"/>
          </a:ln>
          <a:effectLst/>
        </p:spPr>
      </p:cxnSp>
      <p:sp>
        <p:nvSpPr>
          <p:cNvPr id="126" name="textruta 214"/>
          <p:cNvSpPr txBox="1"/>
          <p:nvPr/>
        </p:nvSpPr>
        <p:spPr>
          <a:xfrm>
            <a:off x="6954668" y="3880410"/>
            <a:ext cx="1702662" cy="455065"/>
          </a:xfrm>
          <a:prstGeom prst="rect">
            <a:avLst/>
          </a:prstGeom>
          <a:noFill/>
        </p:spPr>
        <p:txBody>
          <a:bodyPr wrap="square" lIns="0" tIns="0" rIns="0" bIns="0" rtlCol="0" anchor="ctr" anchorCtr="0">
            <a:noAutofit/>
          </a:bodyPr>
          <a:lstStyle/>
          <a:p>
            <a:r>
              <a:rPr lang="en-US" sz="1100" dirty="0">
                <a:latin typeface="Arial" panose="020B0604020202020204" pitchFamily="34" charset="0"/>
                <a:cs typeface="Arial" panose="020B0604020202020204" pitchFamily="34" charset="0"/>
              </a:rPr>
              <a:t>Resource management and automation</a:t>
            </a:r>
          </a:p>
        </p:txBody>
      </p:sp>
      <p:sp>
        <p:nvSpPr>
          <p:cNvPr id="127" name="Freeform 3"/>
          <p:cNvSpPr>
            <a:spLocks noChangeAspect="1" noEditPoints="1"/>
          </p:cNvSpPr>
          <p:nvPr/>
        </p:nvSpPr>
        <p:spPr bwMode="auto">
          <a:xfrm>
            <a:off x="6215757" y="4002510"/>
            <a:ext cx="247757" cy="253207"/>
          </a:xfrm>
          <a:custGeom>
            <a:avLst/>
            <a:gdLst>
              <a:gd name="T0" fmla="*/ 2147483647 w 462"/>
              <a:gd name="T1" fmla="*/ 2147483647 h 472"/>
              <a:gd name="T2" fmla="*/ 2147483647 w 462"/>
              <a:gd name="T3" fmla="*/ 2147483647 h 472"/>
              <a:gd name="T4" fmla="*/ 2147483647 w 462"/>
              <a:gd name="T5" fmla="*/ 2147483647 h 472"/>
              <a:gd name="T6" fmla="*/ 2147483647 w 462"/>
              <a:gd name="T7" fmla="*/ 2147483647 h 472"/>
              <a:gd name="T8" fmla="*/ 2147483647 w 462"/>
              <a:gd name="T9" fmla="*/ 2147483647 h 472"/>
              <a:gd name="T10" fmla="*/ 2147483647 w 462"/>
              <a:gd name="T11" fmla="*/ 2147483647 h 472"/>
              <a:gd name="T12" fmla="*/ 2147483647 w 462"/>
              <a:gd name="T13" fmla="*/ 2147483647 h 472"/>
              <a:gd name="T14" fmla="*/ 2147483647 w 462"/>
              <a:gd name="T15" fmla="*/ 2147483647 h 472"/>
              <a:gd name="T16" fmla="*/ 2147483647 w 462"/>
              <a:gd name="T17" fmla="*/ 2147483647 h 472"/>
              <a:gd name="T18" fmla="*/ 2147483647 w 462"/>
              <a:gd name="T19" fmla="*/ 2147483647 h 472"/>
              <a:gd name="T20" fmla="*/ 2147483647 w 462"/>
              <a:gd name="T21" fmla="*/ 2147483647 h 472"/>
              <a:gd name="T22" fmla="*/ 2147483647 w 462"/>
              <a:gd name="T23" fmla="*/ 2147483647 h 472"/>
              <a:gd name="T24" fmla="*/ 2147483647 w 462"/>
              <a:gd name="T25" fmla="*/ 2147483647 h 472"/>
              <a:gd name="T26" fmla="*/ 2147483647 w 462"/>
              <a:gd name="T27" fmla="*/ 2147483647 h 472"/>
              <a:gd name="T28" fmla="*/ 2147483647 w 462"/>
              <a:gd name="T29" fmla="*/ 2147483647 h 472"/>
              <a:gd name="T30" fmla="*/ 2147483647 w 462"/>
              <a:gd name="T31" fmla="*/ 2147483647 h 472"/>
              <a:gd name="T32" fmla="*/ 2147483647 w 462"/>
              <a:gd name="T33" fmla="*/ 2147483647 h 472"/>
              <a:gd name="T34" fmla="*/ 2147483647 w 462"/>
              <a:gd name="T35" fmla="*/ 2147483647 h 472"/>
              <a:gd name="T36" fmla="*/ 2147483647 w 462"/>
              <a:gd name="T37" fmla="*/ 2147483647 h 472"/>
              <a:gd name="T38" fmla="*/ 2147483647 w 462"/>
              <a:gd name="T39" fmla="*/ 2147483647 h 472"/>
              <a:gd name="T40" fmla="*/ 2147483647 w 462"/>
              <a:gd name="T41" fmla="*/ 2147483647 h 472"/>
              <a:gd name="T42" fmla="*/ 2147483647 w 462"/>
              <a:gd name="T43" fmla="*/ 2147483647 h 472"/>
              <a:gd name="T44" fmla="*/ 2147483647 w 462"/>
              <a:gd name="T45" fmla="*/ 2147483647 h 472"/>
              <a:gd name="T46" fmla="*/ 2147483647 w 462"/>
              <a:gd name="T47" fmla="*/ 2147483647 h 472"/>
              <a:gd name="T48" fmla="*/ 2147483647 w 462"/>
              <a:gd name="T49" fmla="*/ 2147483647 h 472"/>
              <a:gd name="T50" fmla="*/ 2147483647 w 462"/>
              <a:gd name="T51" fmla="*/ 2147483647 h 472"/>
              <a:gd name="T52" fmla="*/ 2147483647 w 462"/>
              <a:gd name="T53" fmla="*/ 2147483647 h 472"/>
              <a:gd name="T54" fmla="*/ 2147483647 w 462"/>
              <a:gd name="T55" fmla="*/ 2147483647 h 472"/>
              <a:gd name="T56" fmla="*/ 2147483647 w 462"/>
              <a:gd name="T57" fmla="*/ 2147483647 h 472"/>
              <a:gd name="T58" fmla="*/ 2147483647 w 462"/>
              <a:gd name="T59" fmla="*/ 2147483647 h 472"/>
              <a:gd name="T60" fmla="*/ 2147483647 w 462"/>
              <a:gd name="T61" fmla="*/ 2147483647 h 472"/>
              <a:gd name="T62" fmla="*/ 2147483647 w 462"/>
              <a:gd name="T63" fmla="*/ 2147483647 h 472"/>
              <a:gd name="T64" fmla="*/ 2147483647 w 462"/>
              <a:gd name="T65" fmla="*/ 2147483647 h 472"/>
              <a:gd name="T66" fmla="*/ 2147483647 w 462"/>
              <a:gd name="T67" fmla="*/ 2147483647 h 472"/>
              <a:gd name="T68" fmla="*/ 2147483647 w 462"/>
              <a:gd name="T69" fmla="*/ 2147483647 h 472"/>
              <a:gd name="T70" fmla="*/ 0 w 462"/>
              <a:gd name="T71" fmla="*/ 2147483647 h 472"/>
              <a:gd name="T72" fmla="*/ 2147483647 w 462"/>
              <a:gd name="T73" fmla="*/ 2147483647 h 472"/>
              <a:gd name="T74" fmla="*/ 2147483647 w 462"/>
              <a:gd name="T75" fmla="*/ 2147483647 h 472"/>
              <a:gd name="T76" fmla="*/ 2147483647 w 462"/>
              <a:gd name="T77" fmla="*/ 2147483647 h 472"/>
              <a:gd name="T78" fmla="*/ 2147483647 w 462"/>
              <a:gd name="T79" fmla="*/ 2147483647 h 472"/>
              <a:gd name="T80" fmla="*/ 2147483647 w 462"/>
              <a:gd name="T81" fmla="*/ 2147483647 h 472"/>
              <a:gd name="T82" fmla="*/ 2147483647 w 462"/>
              <a:gd name="T83" fmla="*/ 2147483647 h 472"/>
              <a:gd name="T84" fmla="*/ 2147483647 w 462"/>
              <a:gd name="T85" fmla="*/ 2147483647 h 472"/>
              <a:gd name="T86" fmla="*/ 2147483647 w 462"/>
              <a:gd name="T87" fmla="*/ 2147483647 h 472"/>
              <a:gd name="T88" fmla="*/ 2147483647 w 462"/>
              <a:gd name="T89" fmla="*/ 2147483647 h 472"/>
              <a:gd name="T90" fmla="*/ 2147483647 w 462"/>
              <a:gd name="T91" fmla="*/ 2147483647 h 472"/>
              <a:gd name="T92" fmla="*/ 2147483647 w 462"/>
              <a:gd name="T93" fmla="*/ 2147483647 h 472"/>
              <a:gd name="T94" fmla="*/ 2147483647 w 462"/>
              <a:gd name="T95" fmla="*/ 2147483647 h 472"/>
              <a:gd name="T96" fmla="*/ 2147483647 w 462"/>
              <a:gd name="T97" fmla="*/ 2147483647 h 472"/>
              <a:gd name="T98" fmla="*/ 2147483647 w 462"/>
              <a:gd name="T99" fmla="*/ 2147483647 h 472"/>
              <a:gd name="T100" fmla="*/ 2147483647 w 462"/>
              <a:gd name="T101" fmla="*/ 2147483647 h 472"/>
              <a:gd name="T102" fmla="*/ 2147483647 w 462"/>
              <a:gd name="T103" fmla="*/ 2147483647 h 472"/>
              <a:gd name="T104" fmla="*/ 2147483647 w 462"/>
              <a:gd name="T105" fmla="*/ 2147483647 h 472"/>
              <a:gd name="T106" fmla="*/ 2147483647 w 462"/>
              <a:gd name="T107" fmla="*/ 2147483647 h 472"/>
              <a:gd name="T108" fmla="*/ 2147483647 w 462"/>
              <a:gd name="T109" fmla="*/ 2147483647 h 472"/>
              <a:gd name="T110" fmla="*/ 2147483647 w 462"/>
              <a:gd name="T111" fmla="*/ 2147483647 h 472"/>
              <a:gd name="T112" fmla="*/ 2147483647 w 462"/>
              <a:gd name="T113" fmla="*/ 2147483647 h 472"/>
              <a:gd name="T114" fmla="*/ 2147483647 w 462"/>
              <a:gd name="T115" fmla="*/ 2147483647 h 472"/>
              <a:gd name="T116" fmla="*/ 2147483647 w 462"/>
              <a:gd name="T117" fmla="*/ 2147483647 h 472"/>
              <a:gd name="T118" fmla="*/ 2147483647 w 462"/>
              <a:gd name="T119" fmla="*/ 2147483647 h 472"/>
              <a:gd name="T120" fmla="*/ 2147483647 w 462"/>
              <a:gd name="T121" fmla="*/ 2147483647 h 472"/>
              <a:gd name="T122" fmla="*/ 2147483647 w 462"/>
              <a:gd name="T123" fmla="*/ 2147483647 h 472"/>
              <a:gd name="T124" fmla="*/ 2147483647 w 462"/>
              <a:gd name="T125" fmla="*/ 2147483647 h 47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62" h="472">
                <a:moveTo>
                  <a:pt x="453" y="374"/>
                </a:moveTo>
                <a:cubicBezTo>
                  <a:pt x="457" y="363"/>
                  <a:pt x="462" y="344"/>
                  <a:pt x="462" y="322"/>
                </a:cubicBezTo>
                <a:cubicBezTo>
                  <a:pt x="462" y="318"/>
                  <a:pt x="462" y="313"/>
                  <a:pt x="461" y="308"/>
                </a:cubicBezTo>
                <a:cubicBezTo>
                  <a:pt x="452" y="208"/>
                  <a:pt x="396" y="151"/>
                  <a:pt x="363" y="124"/>
                </a:cubicBezTo>
                <a:cubicBezTo>
                  <a:pt x="363" y="124"/>
                  <a:pt x="363" y="124"/>
                  <a:pt x="363" y="124"/>
                </a:cubicBezTo>
                <a:cubicBezTo>
                  <a:pt x="363" y="124"/>
                  <a:pt x="363" y="124"/>
                  <a:pt x="362" y="124"/>
                </a:cubicBezTo>
                <a:cubicBezTo>
                  <a:pt x="362" y="123"/>
                  <a:pt x="362" y="123"/>
                  <a:pt x="362" y="123"/>
                </a:cubicBezTo>
                <a:cubicBezTo>
                  <a:pt x="361" y="123"/>
                  <a:pt x="361" y="123"/>
                  <a:pt x="361" y="123"/>
                </a:cubicBezTo>
                <a:cubicBezTo>
                  <a:pt x="361" y="123"/>
                  <a:pt x="360" y="123"/>
                  <a:pt x="360" y="123"/>
                </a:cubicBezTo>
                <a:cubicBezTo>
                  <a:pt x="360" y="123"/>
                  <a:pt x="360" y="123"/>
                  <a:pt x="359" y="123"/>
                </a:cubicBezTo>
                <a:cubicBezTo>
                  <a:pt x="359" y="123"/>
                  <a:pt x="359" y="123"/>
                  <a:pt x="359" y="123"/>
                </a:cubicBezTo>
                <a:cubicBezTo>
                  <a:pt x="358" y="122"/>
                  <a:pt x="358" y="122"/>
                  <a:pt x="358" y="122"/>
                </a:cubicBezTo>
                <a:cubicBezTo>
                  <a:pt x="358" y="123"/>
                  <a:pt x="357" y="123"/>
                  <a:pt x="357" y="123"/>
                </a:cubicBezTo>
                <a:cubicBezTo>
                  <a:pt x="357" y="123"/>
                  <a:pt x="357" y="123"/>
                  <a:pt x="356" y="123"/>
                </a:cubicBezTo>
                <a:cubicBezTo>
                  <a:pt x="356" y="123"/>
                  <a:pt x="356" y="123"/>
                  <a:pt x="356" y="123"/>
                </a:cubicBezTo>
                <a:cubicBezTo>
                  <a:pt x="355" y="123"/>
                  <a:pt x="355" y="123"/>
                  <a:pt x="355" y="123"/>
                </a:cubicBezTo>
                <a:cubicBezTo>
                  <a:pt x="355" y="123"/>
                  <a:pt x="355" y="123"/>
                  <a:pt x="354" y="124"/>
                </a:cubicBezTo>
                <a:cubicBezTo>
                  <a:pt x="354" y="124"/>
                  <a:pt x="354" y="124"/>
                  <a:pt x="354" y="124"/>
                </a:cubicBezTo>
                <a:cubicBezTo>
                  <a:pt x="353" y="124"/>
                  <a:pt x="353" y="124"/>
                  <a:pt x="353" y="124"/>
                </a:cubicBezTo>
                <a:cubicBezTo>
                  <a:pt x="353" y="125"/>
                  <a:pt x="353" y="125"/>
                  <a:pt x="353" y="125"/>
                </a:cubicBezTo>
                <a:cubicBezTo>
                  <a:pt x="353" y="125"/>
                  <a:pt x="352" y="125"/>
                  <a:pt x="352" y="125"/>
                </a:cubicBezTo>
                <a:cubicBezTo>
                  <a:pt x="352" y="125"/>
                  <a:pt x="352" y="125"/>
                  <a:pt x="352" y="125"/>
                </a:cubicBezTo>
                <a:cubicBezTo>
                  <a:pt x="352" y="125"/>
                  <a:pt x="352" y="125"/>
                  <a:pt x="352" y="126"/>
                </a:cubicBezTo>
                <a:cubicBezTo>
                  <a:pt x="352" y="126"/>
                  <a:pt x="352" y="126"/>
                  <a:pt x="351" y="126"/>
                </a:cubicBezTo>
                <a:cubicBezTo>
                  <a:pt x="351" y="126"/>
                  <a:pt x="351" y="127"/>
                  <a:pt x="351" y="127"/>
                </a:cubicBezTo>
                <a:cubicBezTo>
                  <a:pt x="351" y="127"/>
                  <a:pt x="351" y="127"/>
                  <a:pt x="351" y="128"/>
                </a:cubicBezTo>
                <a:cubicBezTo>
                  <a:pt x="351" y="128"/>
                  <a:pt x="351" y="128"/>
                  <a:pt x="350" y="128"/>
                </a:cubicBezTo>
                <a:cubicBezTo>
                  <a:pt x="350" y="129"/>
                  <a:pt x="350" y="129"/>
                  <a:pt x="350" y="129"/>
                </a:cubicBezTo>
                <a:cubicBezTo>
                  <a:pt x="350" y="129"/>
                  <a:pt x="350" y="130"/>
                  <a:pt x="350" y="130"/>
                </a:cubicBezTo>
                <a:cubicBezTo>
                  <a:pt x="350" y="130"/>
                  <a:pt x="350" y="130"/>
                  <a:pt x="350" y="131"/>
                </a:cubicBezTo>
                <a:cubicBezTo>
                  <a:pt x="350" y="131"/>
                  <a:pt x="350" y="131"/>
                  <a:pt x="350" y="131"/>
                </a:cubicBezTo>
                <a:cubicBezTo>
                  <a:pt x="350" y="132"/>
                  <a:pt x="350" y="132"/>
                  <a:pt x="350" y="132"/>
                </a:cubicBezTo>
                <a:cubicBezTo>
                  <a:pt x="350" y="132"/>
                  <a:pt x="351" y="133"/>
                  <a:pt x="351" y="133"/>
                </a:cubicBezTo>
                <a:cubicBezTo>
                  <a:pt x="351" y="133"/>
                  <a:pt x="351" y="133"/>
                  <a:pt x="351" y="133"/>
                </a:cubicBezTo>
                <a:cubicBezTo>
                  <a:pt x="351" y="134"/>
                  <a:pt x="352" y="135"/>
                  <a:pt x="353" y="136"/>
                </a:cubicBezTo>
                <a:cubicBezTo>
                  <a:pt x="357" y="140"/>
                  <a:pt x="361" y="145"/>
                  <a:pt x="366" y="151"/>
                </a:cubicBezTo>
                <a:cubicBezTo>
                  <a:pt x="366" y="152"/>
                  <a:pt x="367" y="153"/>
                  <a:pt x="368" y="153"/>
                </a:cubicBezTo>
                <a:cubicBezTo>
                  <a:pt x="368" y="154"/>
                  <a:pt x="369" y="155"/>
                  <a:pt x="369" y="156"/>
                </a:cubicBezTo>
                <a:cubicBezTo>
                  <a:pt x="370" y="157"/>
                  <a:pt x="371" y="158"/>
                  <a:pt x="372" y="160"/>
                </a:cubicBezTo>
                <a:cubicBezTo>
                  <a:pt x="372" y="160"/>
                  <a:pt x="373" y="160"/>
                  <a:pt x="373" y="160"/>
                </a:cubicBezTo>
                <a:cubicBezTo>
                  <a:pt x="383" y="175"/>
                  <a:pt x="393" y="194"/>
                  <a:pt x="400" y="217"/>
                </a:cubicBezTo>
                <a:cubicBezTo>
                  <a:pt x="400" y="217"/>
                  <a:pt x="400" y="217"/>
                  <a:pt x="400" y="217"/>
                </a:cubicBezTo>
                <a:cubicBezTo>
                  <a:pt x="401" y="220"/>
                  <a:pt x="402" y="222"/>
                  <a:pt x="402" y="225"/>
                </a:cubicBezTo>
                <a:cubicBezTo>
                  <a:pt x="402" y="225"/>
                  <a:pt x="402" y="225"/>
                  <a:pt x="402" y="225"/>
                </a:cubicBezTo>
                <a:cubicBezTo>
                  <a:pt x="405" y="238"/>
                  <a:pt x="407" y="251"/>
                  <a:pt x="407" y="265"/>
                </a:cubicBezTo>
                <a:cubicBezTo>
                  <a:pt x="407" y="265"/>
                  <a:pt x="407" y="265"/>
                  <a:pt x="407" y="265"/>
                </a:cubicBezTo>
                <a:cubicBezTo>
                  <a:pt x="406" y="279"/>
                  <a:pt x="404" y="293"/>
                  <a:pt x="402" y="305"/>
                </a:cubicBezTo>
                <a:cubicBezTo>
                  <a:pt x="402" y="305"/>
                  <a:pt x="402" y="305"/>
                  <a:pt x="402" y="305"/>
                </a:cubicBezTo>
                <a:cubicBezTo>
                  <a:pt x="400" y="313"/>
                  <a:pt x="398" y="320"/>
                  <a:pt x="396" y="326"/>
                </a:cubicBezTo>
                <a:cubicBezTo>
                  <a:pt x="394" y="332"/>
                  <a:pt x="391" y="337"/>
                  <a:pt x="389" y="343"/>
                </a:cubicBezTo>
                <a:cubicBezTo>
                  <a:pt x="389" y="343"/>
                  <a:pt x="388" y="343"/>
                  <a:pt x="388" y="343"/>
                </a:cubicBezTo>
                <a:cubicBezTo>
                  <a:pt x="387" y="343"/>
                  <a:pt x="386" y="342"/>
                  <a:pt x="385" y="342"/>
                </a:cubicBezTo>
                <a:cubicBezTo>
                  <a:pt x="385" y="342"/>
                  <a:pt x="385" y="342"/>
                  <a:pt x="385" y="342"/>
                </a:cubicBezTo>
                <a:cubicBezTo>
                  <a:pt x="384" y="342"/>
                  <a:pt x="383" y="342"/>
                  <a:pt x="382" y="342"/>
                </a:cubicBezTo>
                <a:cubicBezTo>
                  <a:pt x="382" y="342"/>
                  <a:pt x="381" y="342"/>
                  <a:pt x="381" y="342"/>
                </a:cubicBezTo>
                <a:cubicBezTo>
                  <a:pt x="379" y="342"/>
                  <a:pt x="377" y="342"/>
                  <a:pt x="376" y="343"/>
                </a:cubicBezTo>
                <a:cubicBezTo>
                  <a:pt x="375" y="343"/>
                  <a:pt x="375" y="344"/>
                  <a:pt x="374" y="344"/>
                </a:cubicBezTo>
                <a:cubicBezTo>
                  <a:pt x="374" y="344"/>
                  <a:pt x="374" y="345"/>
                  <a:pt x="373" y="345"/>
                </a:cubicBezTo>
                <a:cubicBezTo>
                  <a:pt x="373" y="345"/>
                  <a:pt x="373" y="346"/>
                  <a:pt x="372" y="346"/>
                </a:cubicBezTo>
                <a:cubicBezTo>
                  <a:pt x="372" y="346"/>
                  <a:pt x="372" y="346"/>
                  <a:pt x="372" y="346"/>
                </a:cubicBezTo>
                <a:cubicBezTo>
                  <a:pt x="370" y="349"/>
                  <a:pt x="369" y="352"/>
                  <a:pt x="369" y="355"/>
                </a:cubicBezTo>
                <a:cubicBezTo>
                  <a:pt x="369" y="356"/>
                  <a:pt x="369" y="358"/>
                  <a:pt x="370" y="359"/>
                </a:cubicBezTo>
                <a:cubicBezTo>
                  <a:pt x="370" y="360"/>
                  <a:pt x="370" y="360"/>
                  <a:pt x="370" y="360"/>
                </a:cubicBezTo>
                <a:cubicBezTo>
                  <a:pt x="370" y="360"/>
                  <a:pt x="370" y="360"/>
                  <a:pt x="370" y="360"/>
                </a:cubicBezTo>
                <a:cubicBezTo>
                  <a:pt x="370" y="361"/>
                  <a:pt x="370" y="361"/>
                  <a:pt x="370" y="362"/>
                </a:cubicBezTo>
                <a:cubicBezTo>
                  <a:pt x="370" y="362"/>
                  <a:pt x="370" y="362"/>
                  <a:pt x="370" y="362"/>
                </a:cubicBezTo>
                <a:cubicBezTo>
                  <a:pt x="370" y="363"/>
                  <a:pt x="371" y="364"/>
                  <a:pt x="371" y="366"/>
                </a:cubicBezTo>
                <a:cubicBezTo>
                  <a:pt x="371" y="367"/>
                  <a:pt x="372" y="369"/>
                  <a:pt x="372" y="371"/>
                </a:cubicBezTo>
                <a:cubicBezTo>
                  <a:pt x="370" y="374"/>
                  <a:pt x="367" y="377"/>
                  <a:pt x="365" y="380"/>
                </a:cubicBezTo>
                <a:cubicBezTo>
                  <a:pt x="329" y="422"/>
                  <a:pt x="278" y="444"/>
                  <a:pt x="227" y="444"/>
                </a:cubicBezTo>
                <a:cubicBezTo>
                  <a:pt x="202" y="444"/>
                  <a:pt x="177" y="439"/>
                  <a:pt x="154" y="428"/>
                </a:cubicBezTo>
                <a:cubicBezTo>
                  <a:pt x="143" y="423"/>
                  <a:pt x="133" y="417"/>
                  <a:pt x="124" y="410"/>
                </a:cubicBezTo>
                <a:cubicBezTo>
                  <a:pt x="124" y="410"/>
                  <a:pt x="124" y="410"/>
                  <a:pt x="124" y="410"/>
                </a:cubicBezTo>
                <a:cubicBezTo>
                  <a:pt x="122" y="409"/>
                  <a:pt x="121" y="408"/>
                  <a:pt x="120" y="407"/>
                </a:cubicBezTo>
                <a:cubicBezTo>
                  <a:pt x="119" y="406"/>
                  <a:pt x="119" y="406"/>
                  <a:pt x="118" y="405"/>
                </a:cubicBezTo>
                <a:cubicBezTo>
                  <a:pt x="117" y="404"/>
                  <a:pt x="115" y="403"/>
                  <a:pt x="114" y="402"/>
                </a:cubicBezTo>
                <a:cubicBezTo>
                  <a:pt x="114" y="402"/>
                  <a:pt x="113" y="401"/>
                  <a:pt x="113" y="401"/>
                </a:cubicBezTo>
                <a:cubicBezTo>
                  <a:pt x="111" y="400"/>
                  <a:pt x="110" y="398"/>
                  <a:pt x="109" y="397"/>
                </a:cubicBezTo>
                <a:cubicBezTo>
                  <a:pt x="109" y="397"/>
                  <a:pt x="108" y="397"/>
                  <a:pt x="108" y="396"/>
                </a:cubicBezTo>
                <a:cubicBezTo>
                  <a:pt x="96" y="385"/>
                  <a:pt x="86" y="374"/>
                  <a:pt x="80" y="365"/>
                </a:cubicBezTo>
                <a:cubicBezTo>
                  <a:pt x="83" y="364"/>
                  <a:pt x="85" y="361"/>
                  <a:pt x="86" y="359"/>
                </a:cubicBezTo>
                <a:cubicBezTo>
                  <a:pt x="87" y="357"/>
                  <a:pt x="87" y="355"/>
                  <a:pt x="87" y="353"/>
                </a:cubicBezTo>
                <a:cubicBezTo>
                  <a:pt x="87" y="350"/>
                  <a:pt x="85" y="346"/>
                  <a:pt x="83" y="344"/>
                </a:cubicBezTo>
                <a:cubicBezTo>
                  <a:pt x="83" y="344"/>
                  <a:pt x="82" y="343"/>
                  <a:pt x="81" y="343"/>
                </a:cubicBezTo>
                <a:cubicBezTo>
                  <a:pt x="80" y="342"/>
                  <a:pt x="78" y="341"/>
                  <a:pt x="76" y="340"/>
                </a:cubicBezTo>
                <a:cubicBezTo>
                  <a:pt x="76" y="340"/>
                  <a:pt x="75" y="340"/>
                  <a:pt x="75" y="340"/>
                </a:cubicBezTo>
                <a:cubicBezTo>
                  <a:pt x="75" y="340"/>
                  <a:pt x="75" y="340"/>
                  <a:pt x="75" y="340"/>
                </a:cubicBezTo>
                <a:cubicBezTo>
                  <a:pt x="74" y="340"/>
                  <a:pt x="72" y="339"/>
                  <a:pt x="71" y="338"/>
                </a:cubicBezTo>
                <a:cubicBezTo>
                  <a:pt x="70" y="338"/>
                  <a:pt x="70" y="338"/>
                  <a:pt x="70" y="338"/>
                </a:cubicBezTo>
                <a:cubicBezTo>
                  <a:pt x="70" y="338"/>
                  <a:pt x="69" y="338"/>
                  <a:pt x="68" y="337"/>
                </a:cubicBezTo>
                <a:cubicBezTo>
                  <a:pt x="68" y="337"/>
                  <a:pt x="67" y="337"/>
                  <a:pt x="67" y="337"/>
                </a:cubicBezTo>
                <a:cubicBezTo>
                  <a:pt x="67" y="337"/>
                  <a:pt x="66" y="336"/>
                  <a:pt x="65" y="336"/>
                </a:cubicBezTo>
                <a:cubicBezTo>
                  <a:pt x="64" y="336"/>
                  <a:pt x="63" y="335"/>
                  <a:pt x="62" y="335"/>
                </a:cubicBezTo>
                <a:cubicBezTo>
                  <a:pt x="52" y="313"/>
                  <a:pt x="48" y="289"/>
                  <a:pt x="48" y="264"/>
                </a:cubicBezTo>
                <a:cubicBezTo>
                  <a:pt x="48" y="244"/>
                  <a:pt x="51" y="224"/>
                  <a:pt x="58" y="205"/>
                </a:cubicBezTo>
                <a:cubicBezTo>
                  <a:pt x="58" y="205"/>
                  <a:pt x="58" y="205"/>
                  <a:pt x="58" y="205"/>
                </a:cubicBezTo>
                <a:cubicBezTo>
                  <a:pt x="58" y="204"/>
                  <a:pt x="58" y="203"/>
                  <a:pt x="59" y="202"/>
                </a:cubicBezTo>
                <a:cubicBezTo>
                  <a:pt x="59" y="201"/>
                  <a:pt x="59" y="201"/>
                  <a:pt x="59" y="201"/>
                </a:cubicBezTo>
                <a:cubicBezTo>
                  <a:pt x="60" y="200"/>
                  <a:pt x="60" y="198"/>
                  <a:pt x="61" y="197"/>
                </a:cubicBezTo>
                <a:cubicBezTo>
                  <a:pt x="61" y="197"/>
                  <a:pt x="61" y="196"/>
                  <a:pt x="61" y="196"/>
                </a:cubicBezTo>
                <a:cubicBezTo>
                  <a:pt x="62" y="195"/>
                  <a:pt x="62" y="194"/>
                  <a:pt x="63" y="193"/>
                </a:cubicBezTo>
                <a:cubicBezTo>
                  <a:pt x="63" y="192"/>
                  <a:pt x="63" y="192"/>
                  <a:pt x="64" y="191"/>
                </a:cubicBezTo>
                <a:cubicBezTo>
                  <a:pt x="64" y="190"/>
                  <a:pt x="64" y="189"/>
                  <a:pt x="65" y="188"/>
                </a:cubicBezTo>
                <a:cubicBezTo>
                  <a:pt x="65" y="188"/>
                  <a:pt x="65" y="187"/>
                  <a:pt x="66" y="186"/>
                </a:cubicBezTo>
                <a:cubicBezTo>
                  <a:pt x="66" y="186"/>
                  <a:pt x="66" y="185"/>
                  <a:pt x="67" y="184"/>
                </a:cubicBezTo>
                <a:cubicBezTo>
                  <a:pt x="67" y="183"/>
                  <a:pt x="68" y="183"/>
                  <a:pt x="68" y="182"/>
                </a:cubicBezTo>
                <a:cubicBezTo>
                  <a:pt x="68" y="181"/>
                  <a:pt x="69" y="180"/>
                  <a:pt x="69" y="179"/>
                </a:cubicBezTo>
                <a:cubicBezTo>
                  <a:pt x="70" y="179"/>
                  <a:pt x="70" y="178"/>
                  <a:pt x="70" y="178"/>
                </a:cubicBezTo>
                <a:cubicBezTo>
                  <a:pt x="71" y="177"/>
                  <a:pt x="71" y="176"/>
                  <a:pt x="72" y="175"/>
                </a:cubicBezTo>
                <a:cubicBezTo>
                  <a:pt x="72" y="174"/>
                  <a:pt x="73" y="174"/>
                  <a:pt x="73" y="173"/>
                </a:cubicBezTo>
                <a:cubicBezTo>
                  <a:pt x="74" y="172"/>
                  <a:pt x="74" y="171"/>
                  <a:pt x="75" y="169"/>
                </a:cubicBezTo>
                <a:cubicBezTo>
                  <a:pt x="75" y="169"/>
                  <a:pt x="76" y="169"/>
                  <a:pt x="76" y="168"/>
                </a:cubicBezTo>
                <a:cubicBezTo>
                  <a:pt x="79" y="164"/>
                  <a:pt x="82" y="159"/>
                  <a:pt x="86" y="154"/>
                </a:cubicBezTo>
                <a:cubicBezTo>
                  <a:pt x="86" y="154"/>
                  <a:pt x="87" y="153"/>
                  <a:pt x="87" y="153"/>
                </a:cubicBezTo>
                <a:cubicBezTo>
                  <a:pt x="88" y="152"/>
                  <a:pt x="89" y="150"/>
                  <a:pt x="90" y="149"/>
                </a:cubicBezTo>
                <a:cubicBezTo>
                  <a:pt x="91" y="148"/>
                  <a:pt x="91" y="148"/>
                  <a:pt x="91" y="148"/>
                </a:cubicBezTo>
                <a:cubicBezTo>
                  <a:pt x="92" y="147"/>
                  <a:pt x="93" y="145"/>
                  <a:pt x="95" y="144"/>
                </a:cubicBezTo>
                <a:cubicBezTo>
                  <a:pt x="95" y="144"/>
                  <a:pt x="95" y="143"/>
                  <a:pt x="95" y="143"/>
                </a:cubicBezTo>
                <a:cubicBezTo>
                  <a:pt x="96" y="142"/>
                  <a:pt x="98" y="140"/>
                  <a:pt x="99" y="139"/>
                </a:cubicBezTo>
                <a:cubicBezTo>
                  <a:pt x="99" y="139"/>
                  <a:pt x="99" y="139"/>
                  <a:pt x="100" y="138"/>
                </a:cubicBezTo>
                <a:cubicBezTo>
                  <a:pt x="101" y="137"/>
                  <a:pt x="103" y="135"/>
                  <a:pt x="104" y="134"/>
                </a:cubicBezTo>
                <a:cubicBezTo>
                  <a:pt x="104" y="134"/>
                  <a:pt x="104" y="134"/>
                  <a:pt x="104" y="133"/>
                </a:cubicBezTo>
                <a:cubicBezTo>
                  <a:pt x="106" y="132"/>
                  <a:pt x="108" y="130"/>
                  <a:pt x="110" y="129"/>
                </a:cubicBezTo>
                <a:cubicBezTo>
                  <a:pt x="116" y="123"/>
                  <a:pt x="123" y="118"/>
                  <a:pt x="130" y="114"/>
                </a:cubicBezTo>
                <a:cubicBezTo>
                  <a:pt x="131" y="113"/>
                  <a:pt x="133" y="112"/>
                  <a:pt x="134" y="111"/>
                </a:cubicBezTo>
                <a:cubicBezTo>
                  <a:pt x="135" y="110"/>
                  <a:pt x="136" y="110"/>
                  <a:pt x="137" y="109"/>
                </a:cubicBezTo>
                <a:cubicBezTo>
                  <a:pt x="138" y="109"/>
                  <a:pt x="139" y="108"/>
                  <a:pt x="140" y="108"/>
                </a:cubicBezTo>
                <a:cubicBezTo>
                  <a:pt x="141" y="107"/>
                  <a:pt x="143" y="106"/>
                  <a:pt x="144" y="105"/>
                </a:cubicBezTo>
                <a:cubicBezTo>
                  <a:pt x="145" y="105"/>
                  <a:pt x="145" y="105"/>
                  <a:pt x="146" y="105"/>
                </a:cubicBezTo>
                <a:cubicBezTo>
                  <a:pt x="148" y="103"/>
                  <a:pt x="151" y="102"/>
                  <a:pt x="153" y="101"/>
                </a:cubicBezTo>
                <a:cubicBezTo>
                  <a:pt x="153" y="101"/>
                  <a:pt x="153" y="101"/>
                  <a:pt x="153" y="101"/>
                </a:cubicBezTo>
                <a:cubicBezTo>
                  <a:pt x="158" y="99"/>
                  <a:pt x="163" y="97"/>
                  <a:pt x="168" y="96"/>
                </a:cubicBezTo>
                <a:cubicBezTo>
                  <a:pt x="168" y="96"/>
                  <a:pt x="168" y="96"/>
                  <a:pt x="168" y="96"/>
                </a:cubicBezTo>
                <a:cubicBezTo>
                  <a:pt x="171" y="95"/>
                  <a:pt x="173" y="94"/>
                  <a:pt x="175" y="93"/>
                </a:cubicBezTo>
                <a:cubicBezTo>
                  <a:pt x="176" y="93"/>
                  <a:pt x="176" y="93"/>
                  <a:pt x="176" y="93"/>
                </a:cubicBezTo>
                <a:cubicBezTo>
                  <a:pt x="178" y="93"/>
                  <a:pt x="180" y="92"/>
                  <a:pt x="182" y="92"/>
                </a:cubicBezTo>
                <a:cubicBezTo>
                  <a:pt x="183" y="91"/>
                  <a:pt x="183" y="91"/>
                  <a:pt x="184" y="91"/>
                </a:cubicBezTo>
                <a:cubicBezTo>
                  <a:pt x="185" y="91"/>
                  <a:pt x="187" y="90"/>
                  <a:pt x="189" y="90"/>
                </a:cubicBezTo>
                <a:cubicBezTo>
                  <a:pt x="189" y="90"/>
                  <a:pt x="190" y="90"/>
                  <a:pt x="191" y="89"/>
                </a:cubicBezTo>
                <a:cubicBezTo>
                  <a:pt x="193" y="89"/>
                  <a:pt x="194" y="89"/>
                  <a:pt x="196" y="88"/>
                </a:cubicBezTo>
                <a:cubicBezTo>
                  <a:pt x="198" y="88"/>
                  <a:pt x="199" y="88"/>
                  <a:pt x="200" y="88"/>
                </a:cubicBezTo>
                <a:cubicBezTo>
                  <a:pt x="201" y="87"/>
                  <a:pt x="201" y="87"/>
                  <a:pt x="202" y="87"/>
                </a:cubicBezTo>
                <a:cubicBezTo>
                  <a:pt x="203" y="87"/>
                  <a:pt x="205" y="87"/>
                  <a:pt x="206" y="87"/>
                </a:cubicBezTo>
                <a:cubicBezTo>
                  <a:pt x="206" y="87"/>
                  <a:pt x="207" y="86"/>
                  <a:pt x="207" y="86"/>
                </a:cubicBezTo>
                <a:cubicBezTo>
                  <a:pt x="209" y="86"/>
                  <a:pt x="210" y="86"/>
                  <a:pt x="211" y="86"/>
                </a:cubicBezTo>
                <a:cubicBezTo>
                  <a:pt x="212" y="86"/>
                  <a:pt x="212" y="86"/>
                  <a:pt x="212" y="86"/>
                </a:cubicBezTo>
                <a:cubicBezTo>
                  <a:pt x="215" y="86"/>
                  <a:pt x="218" y="85"/>
                  <a:pt x="220" y="85"/>
                </a:cubicBezTo>
                <a:cubicBezTo>
                  <a:pt x="220" y="86"/>
                  <a:pt x="220" y="87"/>
                  <a:pt x="220" y="88"/>
                </a:cubicBezTo>
                <a:cubicBezTo>
                  <a:pt x="221" y="90"/>
                  <a:pt x="222" y="92"/>
                  <a:pt x="223" y="94"/>
                </a:cubicBezTo>
                <a:cubicBezTo>
                  <a:pt x="225" y="97"/>
                  <a:pt x="229" y="99"/>
                  <a:pt x="233" y="99"/>
                </a:cubicBezTo>
                <a:cubicBezTo>
                  <a:pt x="237" y="99"/>
                  <a:pt x="241" y="97"/>
                  <a:pt x="243" y="95"/>
                </a:cubicBezTo>
                <a:cubicBezTo>
                  <a:pt x="244" y="95"/>
                  <a:pt x="244" y="95"/>
                  <a:pt x="244" y="94"/>
                </a:cubicBezTo>
                <a:cubicBezTo>
                  <a:pt x="244" y="94"/>
                  <a:pt x="244" y="94"/>
                  <a:pt x="244" y="94"/>
                </a:cubicBezTo>
                <a:cubicBezTo>
                  <a:pt x="244" y="94"/>
                  <a:pt x="245" y="93"/>
                  <a:pt x="245" y="93"/>
                </a:cubicBezTo>
                <a:cubicBezTo>
                  <a:pt x="246" y="93"/>
                  <a:pt x="246" y="93"/>
                  <a:pt x="246" y="93"/>
                </a:cubicBezTo>
                <a:cubicBezTo>
                  <a:pt x="246" y="93"/>
                  <a:pt x="246" y="92"/>
                  <a:pt x="246" y="92"/>
                </a:cubicBezTo>
                <a:cubicBezTo>
                  <a:pt x="248" y="91"/>
                  <a:pt x="251" y="89"/>
                  <a:pt x="253" y="87"/>
                </a:cubicBezTo>
                <a:cubicBezTo>
                  <a:pt x="278" y="90"/>
                  <a:pt x="307" y="102"/>
                  <a:pt x="330" y="116"/>
                </a:cubicBezTo>
                <a:cubicBezTo>
                  <a:pt x="333" y="119"/>
                  <a:pt x="338" y="118"/>
                  <a:pt x="341" y="114"/>
                </a:cubicBezTo>
                <a:cubicBezTo>
                  <a:pt x="343" y="110"/>
                  <a:pt x="342" y="105"/>
                  <a:pt x="338" y="103"/>
                </a:cubicBezTo>
                <a:cubicBezTo>
                  <a:pt x="319" y="90"/>
                  <a:pt x="293" y="79"/>
                  <a:pt x="271" y="74"/>
                </a:cubicBezTo>
                <a:cubicBezTo>
                  <a:pt x="277" y="69"/>
                  <a:pt x="282" y="65"/>
                  <a:pt x="284" y="64"/>
                </a:cubicBezTo>
                <a:cubicBezTo>
                  <a:pt x="287" y="61"/>
                  <a:pt x="290" y="56"/>
                  <a:pt x="290" y="51"/>
                </a:cubicBezTo>
                <a:cubicBezTo>
                  <a:pt x="290" y="51"/>
                  <a:pt x="290" y="51"/>
                  <a:pt x="290" y="51"/>
                </a:cubicBezTo>
                <a:cubicBezTo>
                  <a:pt x="290" y="45"/>
                  <a:pt x="286" y="40"/>
                  <a:pt x="283" y="38"/>
                </a:cubicBezTo>
                <a:cubicBezTo>
                  <a:pt x="279" y="35"/>
                  <a:pt x="243" y="5"/>
                  <a:pt x="240" y="4"/>
                </a:cubicBezTo>
                <a:cubicBezTo>
                  <a:pt x="238" y="1"/>
                  <a:pt x="234" y="0"/>
                  <a:pt x="230" y="0"/>
                </a:cubicBezTo>
                <a:cubicBezTo>
                  <a:pt x="227" y="0"/>
                  <a:pt x="222" y="2"/>
                  <a:pt x="220" y="5"/>
                </a:cubicBezTo>
                <a:cubicBezTo>
                  <a:pt x="218" y="8"/>
                  <a:pt x="218" y="11"/>
                  <a:pt x="218" y="14"/>
                </a:cubicBezTo>
                <a:cubicBezTo>
                  <a:pt x="203" y="16"/>
                  <a:pt x="179" y="22"/>
                  <a:pt x="155" y="38"/>
                </a:cubicBezTo>
                <a:cubicBezTo>
                  <a:pt x="34" y="118"/>
                  <a:pt x="33" y="238"/>
                  <a:pt x="33" y="242"/>
                </a:cubicBezTo>
                <a:cubicBezTo>
                  <a:pt x="33" y="242"/>
                  <a:pt x="33" y="242"/>
                  <a:pt x="33" y="242"/>
                </a:cubicBezTo>
                <a:cubicBezTo>
                  <a:pt x="32" y="250"/>
                  <a:pt x="32" y="257"/>
                  <a:pt x="32" y="264"/>
                </a:cubicBezTo>
                <a:cubicBezTo>
                  <a:pt x="32" y="286"/>
                  <a:pt x="35" y="307"/>
                  <a:pt x="42" y="327"/>
                </a:cubicBezTo>
                <a:cubicBezTo>
                  <a:pt x="36" y="325"/>
                  <a:pt x="31" y="323"/>
                  <a:pt x="29" y="322"/>
                </a:cubicBezTo>
                <a:cubicBezTo>
                  <a:pt x="27" y="322"/>
                  <a:pt x="25" y="321"/>
                  <a:pt x="23" y="321"/>
                </a:cubicBezTo>
                <a:cubicBezTo>
                  <a:pt x="20" y="321"/>
                  <a:pt x="17" y="322"/>
                  <a:pt x="14" y="324"/>
                </a:cubicBezTo>
                <a:cubicBezTo>
                  <a:pt x="10" y="327"/>
                  <a:pt x="7" y="332"/>
                  <a:pt x="7" y="336"/>
                </a:cubicBezTo>
                <a:cubicBezTo>
                  <a:pt x="7" y="342"/>
                  <a:pt x="0" y="388"/>
                  <a:pt x="0" y="391"/>
                </a:cubicBezTo>
                <a:cubicBezTo>
                  <a:pt x="0" y="391"/>
                  <a:pt x="0" y="392"/>
                  <a:pt x="0" y="393"/>
                </a:cubicBezTo>
                <a:cubicBezTo>
                  <a:pt x="0" y="396"/>
                  <a:pt x="1" y="399"/>
                  <a:pt x="3" y="402"/>
                </a:cubicBezTo>
                <a:cubicBezTo>
                  <a:pt x="5" y="405"/>
                  <a:pt x="9" y="407"/>
                  <a:pt x="13" y="407"/>
                </a:cubicBezTo>
                <a:cubicBezTo>
                  <a:pt x="16" y="407"/>
                  <a:pt x="18" y="406"/>
                  <a:pt x="21" y="405"/>
                </a:cubicBezTo>
                <a:cubicBezTo>
                  <a:pt x="30" y="416"/>
                  <a:pt x="48" y="433"/>
                  <a:pt x="74" y="445"/>
                </a:cubicBezTo>
                <a:cubicBezTo>
                  <a:pt x="116" y="465"/>
                  <a:pt x="156" y="472"/>
                  <a:pt x="190" y="472"/>
                </a:cubicBezTo>
                <a:cubicBezTo>
                  <a:pt x="260" y="472"/>
                  <a:pt x="308" y="443"/>
                  <a:pt x="312" y="440"/>
                </a:cubicBezTo>
                <a:cubicBezTo>
                  <a:pt x="312" y="440"/>
                  <a:pt x="312" y="440"/>
                  <a:pt x="312" y="440"/>
                </a:cubicBezTo>
                <a:cubicBezTo>
                  <a:pt x="312" y="440"/>
                  <a:pt x="313" y="440"/>
                  <a:pt x="313" y="440"/>
                </a:cubicBezTo>
                <a:cubicBezTo>
                  <a:pt x="336" y="429"/>
                  <a:pt x="357" y="413"/>
                  <a:pt x="375" y="392"/>
                </a:cubicBezTo>
                <a:cubicBezTo>
                  <a:pt x="377" y="400"/>
                  <a:pt x="378" y="407"/>
                  <a:pt x="378" y="410"/>
                </a:cubicBezTo>
                <a:cubicBezTo>
                  <a:pt x="379" y="414"/>
                  <a:pt x="382" y="419"/>
                  <a:pt x="387" y="421"/>
                </a:cubicBezTo>
                <a:cubicBezTo>
                  <a:pt x="389" y="422"/>
                  <a:pt x="392" y="423"/>
                  <a:pt x="394" y="423"/>
                </a:cubicBezTo>
                <a:cubicBezTo>
                  <a:pt x="394" y="423"/>
                  <a:pt x="394" y="423"/>
                  <a:pt x="394" y="423"/>
                </a:cubicBezTo>
                <a:cubicBezTo>
                  <a:pt x="397" y="423"/>
                  <a:pt x="399" y="422"/>
                  <a:pt x="401" y="421"/>
                </a:cubicBezTo>
                <a:cubicBezTo>
                  <a:pt x="406" y="419"/>
                  <a:pt x="449" y="400"/>
                  <a:pt x="452" y="399"/>
                </a:cubicBezTo>
                <a:cubicBezTo>
                  <a:pt x="454" y="398"/>
                  <a:pt x="456" y="397"/>
                  <a:pt x="458" y="395"/>
                </a:cubicBezTo>
                <a:cubicBezTo>
                  <a:pt x="460" y="393"/>
                  <a:pt x="461" y="390"/>
                  <a:pt x="461" y="387"/>
                </a:cubicBezTo>
                <a:cubicBezTo>
                  <a:pt x="461" y="381"/>
                  <a:pt x="457" y="377"/>
                  <a:pt x="453" y="374"/>
                </a:cubicBezTo>
                <a:close/>
                <a:moveTo>
                  <a:pt x="164" y="51"/>
                </a:moveTo>
                <a:cubicBezTo>
                  <a:pt x="190" y="34"/>
                  <a:pt x="216" y="30"/>
                  <a:pt x="227" y="29"/>
                </a:cubicBezTo>
                <a:cubicBezTo>
                  <a:pt x="231" y="29"/>
                  <a:pt x="234" y="25"/>
                  <a:pt x="234" y="21"/>
                </a:cubicBezTo>
                <a:cubicBezTo>
                  <a:pt x="234" y="20"/>
                  <a:pt x="234" y="19"/>
                  <a:pt x="234" y="19"/>
                </a:cubicBezTo>
                <a:cubicBezTo>
                  <a:pt x="243" y="26"/>
                  <a:pt x="269" y="48"/>
                  <a:pt x="273" y="51"/>
                </a:cubicBezTo>
                <a:cubicBezTo>
                  <a:pt x="273" y="51"/>
                  <a:pt x="274" y="51"/>
                  <a:pt x="274" y="51"/>
                </a:cubicBezTo>
                <a:cubicBezTo>
                  <a:pt x="274" y="51"/>
                  <a:pt x="273" y="51"/>
                  <a:pt x="273" y="52"/>
                </a:cubicBezTo>
                <a:cubicBezTo>
                  <a:pt x="272" y="53"/>
                  <a:pt x="262" y="60"/>
                  <a:pt x="254" y="67"/>
                </a:cubicBezTo>
                <a:cubicBezTo>
                  <a:pt x="247" y="72"/>
                  <a:pt x="240" y="77"/>
                  <a:pt x="236" y="80"/>
                </a:cubicBezTo>
                <a:cubicBezTo>
                  <a:pt x="236" y="79"/>
                  <a:pt x="236" y="78"/>
                  <a:pt x="236" y="77"/>
                </a:cubicBezTo>
                <a:cubicBezTo>
                  <a:pt x="236" y="74"/>
                  <a:pt x="234" y="71"/>
                  <a:pt x="231" y="70"/>
                </a:cubicBezTo>
                <a:cubicBezTo>
                  <a:pt x="231" y="70"/>
                  <a:pt x="231" y="70"/>
                  <a:pt x="231" y="70"/>
                </a:cubicBezTo>
                <a:cubicBezTo>
                  <a:pt x="231" y="70"/>
                  <a:pt x="231" y="70"/>
                  <a:pt x="231" y="70"/>
                </a:cubicBezTo>
                <a:cubicBezTo>
                  <a:pt x="230" y="70"/>
                  <a:pt x="229" y="69"/>
                  <a:pt x="228" y="69"/>
                </a:cubicBezTo>
                <a:cubicBezTo>
                  <a:pt x="228" y="69"/>
                  <a:pt x="227" y="69"/>
                  <a:pt x="227" y="69"/>
                </a:cubicBezTo>
                <a:cubicBezTo>
                  <a:pt x="226" y="69"/>
                  <a:pt x="225" y="69"/>
                  <a:pt x="224" y="69"/>
                </a:cubicBezTo>
                <a:cubicBezTo>
                  <a:pt x="224" y="69"/>
                  <a:pt x="223" y="69"/>
                  <a:pt x="223" y="69"/>
                </a:cubicBezTo>
                <a:cubicBezTo>
                  <a:pt x="222" y="69"/>
                  <a:pt x="220" y="69"/>
                  <a:pt x="219" y="69"/>
                </a:cubicBezTo>
                <a:cubicBezTo>
                  <a:pt x="219" y="69"/>
                  <a:pt x="218" y="69"/>
                  <a:pt x="218" y="69"/>
                </a:cubicBezTo>
                <a:cubicBezTo>
                  <a:pt x="216" y="69"/>
                  <a:pt x="215" y="70"/>
                  <a:pt x="213" y="70"/>
                </a:cubicBezTo>
                <a:cubicBezTo>
                  <a:pt x="213" y="70"/>
                  <a:pt x="212" y="70"/>
                  <a:pt x="212" y="70"/>
                </a:cubicBezTo>
                <a:cubicBezTo>
                  <a:pt x="210" y="70"/>
                  <a:pt x="209" y="70"/>
                  <a:pt x="207" y="70"/>
                </a:cubicBezTo>
                <a:cubicBezTo>
                  <a:pt x="206" y="70"/>
                  <a:pt x="206" y="70"/>
                  <a:pt x="205" y="71"/>
                </a:cubicBezTo>
                <a:cubicBezTo>
                  <a:pt x="204" y="71"/>
                  <a:pt x="202" y="71"/>
                  <a:pt x="200" y="71"/>
                </a:cubicBezTo>
                <a:cubicBezTo>
                  <a:pt x="200" y="71"/>
                  <a:pt x="199" y="71"/>
                  <a:pt x="199" y="72"/>
                </a:cubicBezTo>
                <a:cubicBezTo>
                  <a:pt x="196" y="72"/>
                  <a:pt x="194" y="72"/>
                  <a:pt x="192" y="73"/>
                </a:cubicBezTo>
                <a:cubicBezTo>
                  <a:pt x="191" y="73"/>
                  <a:pt x="190" y="73"/>
                  <a:pt x="189" y="73"/>
                </a:cubicBezTo>
                <a:cubicBezTo>
                  <a:pt x="188" y="74"/>
                  <a:pt x="186" y="74"/>
                  <a:pt x="185" y="74"/>
                </a:cubicBezTo>
                <a:cubicBezTo>
                  <a:pt x="183" y="75"/>
                  <a:pt x="182" y="75"/>
                  <a:pt x="180" y="75"/>
                </a:cubicBezTo>
                <a:cubicBezTo>
                  <a:pt x="179" y="76"/>
                  <a:pt x="178" y="76"/>
                  <a:pt x="177" y="76"/>
                </a:cubicBezTo>
                <a:cubicBezTo>
                  <a:pt x="176" y="77"/>
                  <a:pt x="174" y="77"/>
                  <a:pt x="172" y="78"/>
                </a:cubicBezTo>
                <a:cubicBezTo>
                  <a:pt x="172" y="78"/>
                  <a:pt x="171" y="78"/>
                  <a:pt x="170" y="78"/>
                </a:cubicBezTo>
                <a:cubicBezTo>
                  <a:pt x="168" y="79"/>
                  <a:pt x="166" y="79"/>
                  <a:pt x="164" y="80"/>
                </a:cubicBezTo>
                <a:cubicBezTo>
                  <a:pt x="164" y="80"/>
                  <a:pt x="164" y="80"/>
                  <a:pt x="164" y="80"/>
                </a:cubicBezTo>
                <a:cubicBezTo>
                  <a:pt x="157" y="83"/>
                  <a:pt x="150" y="85"/>
                  <a:pt x="143" y="88"/>
                </a:cubicBezTo>
                <a:cubicBezTo>
                  <a:pt x="143" y="88"/>
                  <a:pt x="143" y="89"/>
                  <a:pt x="142" y="89"/>
                </a:cubicBezTo>
                <a:cubicBezTo>
                  <a:pt x="141" y="89"/>
                  <a:pt x="139" y="90"/>
                  <a:pt x="137" y="91"/>
                </a:cubicBezTo>
                <a:cubicBezTo>
                  <a:pt x="136" y="92"/>
                  <a:pt x="135" y="92"/>
                  <a:pt x="134" y="93"/>
                </a:cubicBezTo>
                <a:cubicBezTo>
                  <a:pt x="133" y="93"/>
                  <a:pt x="131" y="94"/>
                  <a:pt x="130" y="95"/>
                </a:cubicBezTo>
                <a:cubicBezTo>
                  <a:pt x="128" y="96"/>
                  <a:pt x="127" y="97"/>
                  <a:pt x="125" y="97"/>
                </a:cubicBezTo>
                <a:cubicBezTo>
                  <a:pt x="125" y="98"/>
                  <a:pt x="124" y="99"/>
                  <a:pt x="123" y="99"/>
                </a:cubicBezTo>
                <a:cubicBezTo>
                  <a:pt x="122" y="99"/>
                  <a:pt x="122" y="100"/>
                  <a:pt x="121" y="100"/>
                </a:cubicBezTo>
                <a:cubicBezTo>
                  <a:pt x="121" y="100"/>
                  <a:pt x="120" y="101"/>
                  <a:pt x="120" y="101"/>
                </a:cubicBezTo>
                <a:cubicBezTo>
                  <a:pt x="113" y="106"/>
                  <a:pt x="106" y="111"/>
                  <a:pt x="99" y="116"/>
                </a:cubicBezTo>
                <a:cubicBezTo>
                  <a:pt x="99" y="117"/>
                  <a:pt x="98" y="117"/>
                  <a:pt x="98" y="118"/>
                </a:cubicBezTo>
                <a:cubicBezTo>
                  <a:pt x="96" y="120"/>
                  <a:pt x="94" y="121"/>
                  <a:pt x="93" y="122"/>
                </a:cubicBezTo>
                <a:cubicBezTo>
                  <a:pt x="92" y="123"/>
                  <a:pt x="91" y="124"/>
                  <a:pt x="90" y="125"/>
                </a:cubicBezTo>
                <a:cubicBezTo>
                  <a:pt x="89" y="126"/>
                  <a:pt x="88" y="128"/>
                  <a:pt x="87" y="129"/>
                </a:cubicBezTo>
                <a:cubicBezTo>
                  <a:pt x="86" y="129"/>
                  <a:pt x="86" y="130"/>
                  <a:pt x="85" y="130"/>
                </a:cubicBezTo>
                <a:cubicBezTo>
                  <a:pt x="102" y="103"/>
                  <a:pt x="127" y="75"/>
                  <a:pt x="164" y="51"/>
                </a:cubicBezTo>
                <a:close/>
                <a:moveTo>
                  <a:pt x="81" y="431"/>
                </a:moveTo>
                <a:cubicBezTo>
                  <a:pt x="81" y="431"/>
                  <a:pt x="81" y="431"/>
                  <a:pt x="81" y="431"/>
                </a:cubicBezTo>
                <a:cubicBezTo>
                  <a:pt x="53" y="418"/>
                  <a:pt x="36" y="398"/>
                  <a:pt x="29" y="389"/>
                </a:cubicBezTo>
                <a:cubicBezTo>
                  <a:pt x="26" y="386"/>
                  <a:pt x="22" y="385"/>
                  <a:pt x="18" y="387"/>
                </a:cubicBezTo>
                <a:cubicBezTo>
                  <a:pt x="18" y="388"/>
                  <a:pt x="17" y="388"/>
                  <a:pt x="17" y="388"/>
                </a:cubicBezTo>
                <a:cubicBezTo>
                  <a:pt x="18" y="376"/>
                  <a:pt x="23" y="343"/>
                  <a:pt x="23" y="338"/>
                </a:cubicBezTo>
                <a:cubicBezTo>
                  <a:pt x="23" y="338"/>
                  <a:pt x="23" y="338"/>
                  <a:pt x="23" y="337"/>
                </a:cubicBezTo>
                <a:cubicBezTo>
                  <a:pt x="23" y="337"/>
                  <a:pt x="24" y="337"/>
                  <a:pt x="24" y="338"/>
                </a:cubicBezTo>
                <a:cubicBezTo>
                  <a:pt x="26" y="338"/>
                  <a:pt x="37" y="342"/>
                  <a:pt x="47" y="346"/>
                </a:cubicBezTo>
                <a:cubicBezTo>
                  <a:pt x="49" y="347"/>
                  <a:pt x="51" y="348"/>
                  <a:pt x="53" y="349"/>
                </a:cubicBezTo>
                <a:cubicBezTo>
                  <a:pt x="53" y="349"/>
                  <a:pt x="53" y="349"/>
                  <a:pt x="53" y="349"/>
                </a:cubicBezTo>
                <a:cubicBezTo>
                  <a:pt x="54" y="349"/>
                  <a:pt x="54" y="349"/>
                  <a:pt x="55" y="350"/>
                </a:cubicBezTo>
                <a:cubicBezTo>
                  <a:pt x="55" y="350"/>
                  <a:pt x="56" y="350"/>
                  <a:pt x="56" y="350"/>
                </a:cubicBezTo>
                <a:cubicBezTo>
                  <a:pt x="57" y="350"/>
                  <a:pt x="57" y="350"/>
                  <a:pt x="58" y="351"/>
                </a:cubicBezTo>
                <a:cubicBezTo>
                  <a:pt x="59" y="351"/>
                  <a:pt x="60" y="351"/>
                  <a:pt x="61" y="352"/>
                </a:cubicBezTo>
                <a:cubicBezTo>
                  <a:pt x="61" y="352"/>
                  <a:pt x="61" y="352"/>
                  <a:pt x="62" y="352"/>
                </a:cubicBezTo>
                <a:cubicBezTo>
                  <a:pt x="63" y="352"/>
                  <a:pt x="63" y="353"/>
                  <a:pt x="64" y="353"/>
                </a:cubicBezTo>
                <a:cubicBezTo>
                  <a:pt x="65" y="353"/>
                  <a:pt x="65" y="353"/>
                  <a:pt x="65" y="353"/>
                </a:cubicBezTo>
                <a:cubicBezTo>
                  <a:pt x="66" y="354"/>
                  <a:pt x="67" y="354"/>
                  <a:pt x="68" y="354"/>
                </a:cubicBezTo>
                <a:cubicBezTo>
                  <a:pt x="68" y="354"/>
                  <a:pt x="67" y="355"/>
                  <a:pt x="67" y="355"/>
                </a:cubicBezTo>
                <a:cubicBezTo>
                  <a:pt x="67" y="355"/>
                  <a:pt x="66" y="356"/>
                  <a:pt x="65" y="356"/>
                </a:cubicBezTo>
                <a:cubicBezTo>
                  <a:pt x="62" y="358"/>
                  <a:pt x="60" y="363"/>
                  <a:pt x="62" y="367"/>
                </a:cubicBezTo>
                <a:cubicBezTo>
                  <a:pt x="63" y="368"/>
                  <a:pt x="64" y="369"/>
                  <a:pt x="65" y="371"/>
                </a:cubicBezTo>
                <a:cubicBezTo>
                  <a:pt x="65" y="371"/>
                  <a:pt x="65" y="371"/>
                  <a:pt x="65" y="372"/>
                </a:cubicBezTo>
                <a:cubicBezTo>
                  <a:pt x="66" y="373"/>
                  <a:pt x="67" y="374"/>
                  <a:pt x="68" y="376"/>
                </a:cubicBezTo>
                <a:cubicBezTo>
                  <a:pt x="68" y="376"/>
                  <a:pt x="69" y="376"/>
                  <a:pt x="69" y="377"/>
                </a:cubicBezTo>
                <a:cubicBezTo>
                  <a:pt x="70" y="378"/>
                  <a:pt x="71" y="379"/>
                  <a:pt x="72" y="381"/>
                </a:cubicBezTo>
                <a:cubicBezTo>
                  <a:pt x="72" y="381"/>
                  <a:pt x="73" y="382"/>
                  <a:pt x="73" y="382"/>
                </a:cubicBezTo>
                <a:cubicBezTo>
                  <a:pt x="74" y="383"/>
                  <a:pt x="75" y="384"/>
                  <a:pt x="76" y="386"/>
                </a:cubicBezTo>
                <a:cubicBezTo>
                  <a:pt x="76" y="386"/>
                  <a:pt x="77" y="387"/>
                  <a:pt x="77" y="388"/>
                </a:cubicBezTo>
                <a:cubicBezTo>
                  <a:pt x="78" y="389"/>
                  <a:pt x="79" y="390"/>
                  <a:pt x="80" y="391"/>
                </a:cubicBezTo>
                <a:cubicBezTo>
                  <a:pt x="95" y="408"/>
                  <a:pt x="117" y="428"/>
                  <a:pt x="145" y="442"/>
                </a:cubicBezTo>
                <a:cubicBezTo>
                  <a:pt x="146" y="442"/>
                  <a:pt x="146" y="442"/>
                  <a:pt x="147" y="443"/>
                </a:cubicBezTo>
                <a:cubicBezTo>
                  <a:pt x="147" y="443"/>
                  <a:pt x="147" y="443"/>
                  <a:pt x="148" y="443"/>
                </a:cubicBezTo>
                <a:cubicBezTo>
                  <a:pt x="155" y="446"/>
                  <a:pt x="162" y="449"/>
                  <a:pt x="170" y="452"/>
                </a:cubicBezTo>
                <a:cubicBezTo>
                  <a:pt x="176" y="453"/>
                  <a:pt x="181" y="455"/>
                  <a:pt x="186" y="456"/>
                </a:cubicBezTo>
                <a:cubicBezTo>
                  <a:pt x="155" y="455"/>
                  <a:pt x="119" y="449"/>
                  <a:pt x="81" y="431"/>
                </a:cubicBezTo>
                <a:close/>
                <a:moveTo>
                  <a:pt x="440" y="385"/>
                </a:moveTo>
                <a:cubicBezTo>
                  <a:pt x="440" y="386"/>
                  <a:pt x="441" y="386"/>
                  <a:pt x="441" y="386"/>
                </a:cubicBezTo>
                <a:cubicBezTo>
                  <a:pt x="430" y="391"/>
                  <a:pt x="399" y="404"/>
                  <a:pt x="395" y="406"/>
                </a:cubicBezTo>
                <a:cubicBezTo>
                  <a:pt x="394" y="406"/>
                  <a:pt x="394" y="406"/>
                  <a:pt x="394" y="407"/>
                </a:cubicBezTo>
                <a:cubicBezTo>
                  <a:pt x="394" y="406"/>
                  <a:pt x="394" y="406"/>
                  <a:pt x="394" y="406"/>
                </a:cubicBezTo>
                <a:cubicBezTo>
                  <a:pt x="393" y="404"/>
                  <a:pt x="392" y="393"/>
                  <a:pt x="390" y="382"/>
                </a:cubicBezTo>
                <a:cubicBezTo>
                  <a:pt x="389" y="378"/>
                  <a:pt x="389" y="375"/>
                  <a:pt x="388" y="371"/>
                </a:cubicBezTo>
                <a:cubicBezTo>
                  <a:pt x="388" y="371"/>
                  <a:pt x="388" y="371"/>
                  <a:pt x="388" y="371"/>
                </a:cubicBezTo>
                <a:cubicBezTo>
                  <a:pt x="388" y="370"/>
                  <a:pt x="388" y="369"/>
                  <a:pt x="387" y="367"/>
                </a:cubicBezTo>
                <a:cubicBezTo>
                  <a:pt x="387" y="366"/>
                  <a:pt x="387" y="364"/>
                  <a:pt x="387" y="362"/>
                </a:cubicBezTo>
                <a:cubicBezTo>
                  <a:pt x="387" y="362"/>
                  <a:pt x="387" y="362"/>
                  <a:pt x="387" y="362"/>
                </a:cubicBezTo>
                <a:cubicBezTo>
                  <a:pt x="386" y="362"/>
                  <a:pt x="386" y="361"/>
                  <a:pt x="386" y="361"/>
                </a:cubicBezTo>
                <a:cubicBezTo>
                  <a:pt x="386" y="361"/>
                  <a:pt x="386" y="360"/>
                  <a:pt x="386" y="360"/>
                </a:cubicBezTo>
                <a:cubicBezTo>
                  <a:pt x="387" y="360"/>
                  <a:pt x="388" y="360"/>
                  <a:pt x="389" y="361"/>
                </a:cubicBezTo>
                <a:cubicBezTo>
                  <a:pt x="393" y="363"/>
                  <a:pt x="397" y="361"/>
                  <a:pt x="399" y="358"/>
                </a:cubicBezTo>
                <a:cubicBezTo>
                  <a:pt x="407" y="344"/>
                  <a:pt x="418" y="316"/>
                  <a:pt x="421" y="284"/>
                </a:cubicBezTo>
                <a:cubicBezTo>
                  <a:pt x="422" y="283"/>
                  <a:pt x="422" y="282"/>
                  <a:pt x="422" y="282"/>
                </a:cubicBezTo>
                <a:cubicBezTo>
                  <a:pt x="422" y="280"/>
                  <a:pt x="422" y="278"/>
                  <a:pt x="422" y="276"/>
                </a:cubicBezTo>
                <a:cubicBezTo>
                  <a:pt x="422" y="275"/>
                  <a:pt x="422" y="274"/>
                  <a:pt x="422" y="272"/>
                </a:cubicBezTo>
                <a:cubicBezTo>
                  <a:pt x="422" y="271"/>
                  <a:pt x="423" y="269"/>
                  <a:pt x="423" y="267"/>
                </a:cubicBezTo>
                <a:cubicBezTo>
                  <a:pt x="423" y="266"/>
                  <a:pt x="423" y="266"/>
                  <a:pt x="423" y="265"/>
                </a:cubicBezTo>
                <a:cubicBezTo>
                  <a:pt x="423" y="265"/>
                  <a:pt x="423" y="265"/>
                  <a:pt x="423" y="265"/>
                </a:cubicBezTo>
                <a:cubicBezTo>
                  <a:pt x="423" y="265"/>
                  <a:pt x="423" y="264"/>
                  <a:pt x="423" y="264"/>
                </a:cubicBezTo>
                <a:cubicBezTo>
                  <a:pt x="423" y="264"/>
                  <a:pt x="423" y="263"/>
                  <a:pt x="423" y="262"/>
                </a:cubicBezTo>
                <a:cubicBezTo>
                  <a:pt x="423" y="249"/>
                  <a:pt x="421" y="235"/>
                  <a:pt x="418" y="222"/>
                </a:cubicBezTo>
                <a:cubicBezTo>
                  <a:pt x="417" y="219"/>
                  <a:pt x="416" y="216"/>
                  <a:pt x="416" y="213"/>
                </a:cubicBezTo>
                <a:cubicBezTo>
                  <a:pt x="415" y="213"/>
                  <a:pt x="415" y="212"/>
                  <a:pt x="415" y="212"/>
                </a:cubicBezTo>
                <a:cubicBezTo>
                  <a:pt x="415" y="210"/>
                  <a:pt x="414" y="209"/>
                  <a:pt x="414" y="208"/>
                </a:cubicBezTo>
                <a:cubicBezTo>
                  <a:pt x="429" y="234"/>
                  <a:pt x="441" y="268"/>
                  <a:pt x="445" y="310"/>
                </a:cubicBezTo>
                <a:cubicBezTo>
                  <a:pt x="446" y="314"/>
                  <a:pt x="446" y="318"/>
                  <a:pt x="446" y="322"/>
                </a:cubicBezTo>
                <a:cubicBezTo>
                  <a:pt x="446" y="347"/>
                  <a:pt x="439" y="367"/>
                  <a:pt x="436" y="375"/>
                </a:cubicBezTo>
                <a:cubicBezTo>
                  <a:pt x="434" y="379"/>
                  <a:pt x="436" y="384"/>
                  <a:pt x="440" y="385"/>
                </a:cubicBezTo>
                <a:close/>
              </a:path>
            </a:pathLst>
          </a:custGeom>
          <a:solidFill>
            <a:srgbClr val="FFFFFF"/>
          </a:solidFill>
          <a:ln>
            <a:noFill/>
          </a:ln>
        </p:spPr>
        <p:txBody>
          <a:bodyPr/>
          <a:lstStyle/>
          <a:p>
            <a:endParaRPr lang="sv-SE"/>
          </a:p>
        </p:txBody>
      </p:sp>
      <p:sp>
        <p:nvSpPr>
          <p:cNvPr id="128" name="Freeform 3"/>
          <p:cNvSpPr>
            <a:spLocks noChangeAspect="1"/>
          </p:cNvSpPr>
          <p:nvPr/>
        </p:nvSpPr>
        <p:spPr bwMode="auto">
          <a:xfrm>
            <a:off x="6497765" y="4523263"/>
            <a:ext cx="242077" cy="153545"/>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FFFF"/>
          </a:solidFill>
          <a:ln>
            <a:noFill/>
          </a:ln>
        </p:spPr>
        <p:txBody>
          <a:bodyPr/>
          <a:lstStyle/>
          <a:p>
            <a:endParaRPr lang="sv-SE"/>
          </a:p>
        </p:txBody>
      </p:sp>
      <p:cxnSp>
        <p:nvCxnSpPr>
          <p:cNvPr id="129" name="Rak 270"/>
          <p:cNvCxnSpPr/>
          <p:nvPr/>
        </p:nvCxnSpPr>
        <p:spPr bwMode="auto">
          <a:xfrm flipH="1">
            <a:off x="6304452" y="4633101"/>
            <a:ext cx="161457" cy="0"/>
          </a:xfrm>
          <a:prstGeom prst="line">
            <a:avLst/>
          </a:prstGeom>
          <a:solidFill>
            <a:schemeClr val="accent1"/>
          </a:solidFill>
          <a:ln w="19050" cap="rnd" cmpd="sng" algn="ctr">
            <a:solidFill>
              <a:schemeClr val="bg1"/>
            </a:solidFill>
            <a:prstDash val="sysDot"/>
            <a:round/>
            <a:headEnd type="none" w="med" len="med"/>
            <a:tailEnd type="none" w="med" len="med"/>
          </a:ln>
          <a:effectLst/>
        </p:spPr>
      </p:cxnSp>
      <p:sp>
        <p:nvSpPr>
          <p:cNvPr id="130" name="Freeform 3"/>
          <p:cNvSpPr>
            <a:spLocks noChangeAspect="1" noEditPoints="1"/>
          </p:cNvSpPr>
          <p:nvPr/>
        </p:nvSpPr>
        <p:spPr bwMode="auto">
          <a:xfrm>
            <a:off x="4166330" y="4018308"/>
            <a:ext cx="231927" cy="201449"/>
          </a:xfrm>
          <a:custGeom>
            <a:avLst/>
            <a:gdLst>
              <a:gd name="T0" fmla="*/ 2147483647 w 338"/>
              <a:gd name="T1" fmla="*/ 2147483647 h 294"/>
              <a:gd name="T2" fmla="*/ 2147483647 w 338"/>
              <a:gd name="T3" fmla="*/ 2147483647 h 294"/>
              <a:gd name="T4" fmla="*/ 2147483647 w 338"/>
              <a:gd name="T5" fmla="*/ 2147483647 h 294"/>
              <a:gd name="T6" fmla="*/ 2147483647 w 338"/>
              <a:gd name="T7" fmla="*/ 2147483647 h 294"/>
              <a:gd name="T8" fmla="*/ 2147483647 w 338"/>
              <a:gd name="T9" fmla="*/ 2147483647 h 294"/>
              <a:gd name="T10" fmla="*/ 2147483647 w 338"/>
              <a:gd name="T11" fmla="*/ 2147483647 h 294"/>
              <a:gd name="T12" fmla="*/ 2147483647 w 338"/>
              <a:gd name="T13" fmla="*/ 2147483647 h 294"/>
              <a:gd name="T14" fmla="*/ 2147483647 w 338"/>
              <a:gd name="T15" fmla="*/ 2147483647 h 294"/>
              <a:gd name="T16" fmla="*/ 2147483647 w 338"/>
              <a:gd name="T17" fmla="*/ 2147483647 h 294"/>
              <a:gd name="T18" fmla="*/ 2147483647 w 338"/>
              <a:gd name="T19" fmla="*/ 2147483647 h 294"/>
              <a:gd name="T20" fmla="*/ 2147483647 w 338"/>
              <a:gd name="T21" fmla="*/ 2147483647 h 294"/>
              <a:gd name="T22" fmla="*/ 2147483647 w 338"/>
              <a:gd name="T23" fmla="*/ 2147483647 h 294"/>
              <a:gd name="T24" fmla="*/ 2147483647 w 338"/>
              <a:gd name="T25" fmla="*/ 2147483647 h 294"/>
              <a:gd name="T26" fmla="*/ 2147483647 w 338"/>
              <a:gd name="T27" fmla="*/ 2147483647 h 294"/>
              <a:gd name="T28" fmla="*/ 2147483647 w 338"/>
              <a:gd name="T29" fmla="*/ 2147483647 h 294"/>
              <a:gd name="T30" fmla="*/ 2147483647 w 338"/>
              <a:gd name="T31" fmla="*/ 2147483647 h 294"/>
              <a:gd name="T32" fmla="*/ 2147483647 w 338"/>
              <a:gd name="T33" fmla="*/ 2147483647 h 294"/>
              <a:gd name="T34" fmla="*/ 2147483647 w 338"/>
              <a:gd name="T35" fmla="*/ 2147483647 h 294"/>
              <a:gd name="T36" fmla="*/ 2147483647 w 338"/>
              <a:gd name="T37" fmla="*/ 2147483647 h 294"/>
              <a:gd name="T38" fmla="*/ 2147483647 w 338"/>
              <a:gd name="T39" fmla="*/ 2147483647 h 294"/>
              <a:gd name="T40" fmla="*/ 2147483647 w 338"/>
              <a:gd name="T41" fmla="*/ 2147483647 h 294"/>
              <a:gd name="T42" fmla="*/ 2147483647 w 338"/>
              <a:gd name="T43" fmla="*/ 2147483647 h 294"/>
              <a:gd name="T44" fmla="*/ 2147483647 w 338"/>
              <a:gd name="T45" fmla="*/ 2147483647 h 294"/>
              <a:gd name="T46" fmla="*/ 2147483647 w 338"/>
              <a:gd name="T47" fmla="*/ 2147483647 h 294"/>
              <a:gd name="T48" fmla="*/ 2147483647 w 338"/>
              <a:gd name="T49" fmla="*/ 2147483647 h 294"/>
              <a:gd name="T50" fmla="*/ 2147483647 w 338"/>
              <a:gd name="T51" fmla="*/ 2147483647 h 294"/>
              <a:gd name="T52" fmla="*/ 2147483647 w 338"/>
              <a:gd name="T53" fmla="*/ 2147483647 h 294"/>
              <a:gd name="T54" fmla="*/ 2147483647 w 338"/>
              <a:gd name="T55" fmla="*/ 2147483647 h 294"/>
              <a:gd name="T56" fmla="*/ 2147483647 w 338"/>
              <a:gd name="T57" fmla="*/ 2147483647 h 294"/>
              <a:gd name="T58" fmla="*/ 2147483647 w 338"/>
              <a:gd name="T59" fmla="*/ 2147483647 h 294"/>
              <a:gd name="T60" fmla="*/ 2147483647 w 338"/>
              <a:gd name="T61" fmla="*/ 2147483647 h 294"/>
              <a:gd name="T62" fmla="*/ 2147483647 w 338"/>
              <a:gd name="T63" fmla="*/ 2147483647 h 294"/>
              <a:gd name="T64" fmla="*/ 2147483647 w 338"/>
              <a:gd name="T65" fmla="*/ 2147483647 h 294"/>
              <a:gd name="T66" fmla="*/ 2147483647 w 338"/>
              <a:gd name="T67" fmla="*/ 2147483647 h 294"/>
              <a:gd name="T68" fmla="*/ 2147483647 w 338"/>
              <a:gd name="T69" fmla="*/ 2147483647 h 294"/>
              <a:gd name="T70" fmla="*/ 2147483647 w 338"/>
              <a:gd name="T71" fmla="*/ 2147483647 h 294"/>
              <a:gd name="T72" fmla="*/ 2147483647 w 338"/>
              <a:gd name="T73" fmla="*/ 2147483647 h 294"/>
              <a:gd name="T74" fmla="*/ 2147483647 w 338"/>
              <a:gd name="T75" fmla="*/ 2147483647 h 294"/>
              <a:gd name="T76" fmla="*/ 2147483647 w 338"/>
              <a:gd name="T77" fmla="*/ 0 h 294"/>
              <a:gd name="T78" fmla="*/ 2147483647 w 338"/>
              <a:gd name="T79" fmla="*/ 2147483647 h 294"/>
              <a:gd name="T80" fmla="*/ 2147483647 w 338"/>
              <a:gd name="T81" fmla="*/ 2147483647 h 294"/>
              <a:gd name="T82" fmla="*/ 2147483647 w 338"/>
              <a:gd name="T83" fmla="*/ 2147483647 h 294"/>
              <a:gd name="T84" fmla="*/ 2147483647 w 338"/>
              <a:gd name="T85" fmla="*/ 2147483647 h 294"/>
              <a:gd name="T86" fmla="*/ 2147483647 w 338"/>
              <a:gd name="T87" fmla="*/ 2147483647 h 294"/>
              <a:gd name="T88" fmla="*/ 2147483647 w 338"/>
              <a:gd name="T89" fmla="*/ 2147483647 h 294"/>
              <a:gd name="T90" fmla="*/ 2147483647 w 338"/>
              <a:gd name="T91" fmla="*/ 2147483647 h 294"/>
              <a:gd name="T92" fmla="*/ 2147483647 w 338"/>
              <a:gd name="T93" fmla="*/ 2147483647 h 2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38" h="294">
                <a:moveTo>
                  <a:pt x="169" y="136"/>
                </a:moveTo>
                <a:cubicBezTo>
                  <a:pt x="144" y="136"/>
                  <a:pt x="118" y="146"/>
                  <a:pt x="99" y="165"/>
                </a:cubicBezTo>
                <a:cubicBezTo>
                  <a:pt x="96" y="168"/>
                  <a:pt x="96" y="173"/>
                  <a:pt x="99" y="176"/>
                </a:cubicBezTo>
                <a:cubicBezTo>
                  <a:pt x="102" y="180"/>
                  <a:pt x="107" y="180"/>
                  <a:pt x="110" y="176"/>
                </a:cubicBezTo>
                <a:cubicBezTo>
                  <a:pt x="110" y="176"/>
                  <a:pt x="110" y="176"/>
                  <a:pt x="110" y="176"/>
                </a:cubicBezTo>
                <a:cubicBezTo>
                  <a:pt x="127" y="160"/>
                  <a:pt x="148" y="152"/>
                  <a:pt x="169" y="152"/>
                </a:cubicBezTo>
                <a:cubicBezTo>
                  <a:pt x="190" y="152"/>
                  <a:pt x="212" y="160"/>
                  <a:pt x="228" y="176"/>
                </a:cubicBezTo>
                <a:cubicBezTo>
                  <a:pt x="229" y="178"/>
                  <a:pt x="232" y="179"/>
                  <a:pt x="234" y="179"/>
                </a:cubicBezTo>
                <a:cubicBezTo>
                  <a:pt x="236" y="179"/>
                  <a:pt x="238" y="178"/>
                  <a:pt x="239" y="176"/>
                </a:cubicBezTo>
                <a:cubicBezTo>
                  <a:pt x="242" y="173"/>
                  <a:pt x="242" y="168"/>
                  <a:pt x="239" y="165"/>
                </a:cubicBezTo>
                <a:cubicBezTo>
                  <a:pt x="220" y="146"/>
                  <a:pt x="194" y="136"/>
                  <a:pt x="169" y="136"/>
                </a:cubicBezTo>
                <a:close/>
                <a:moveTo>
                  <a:pt x="169" y="68"/>
                </a:moveTo>
                <a:cubicBezTo>
                  <a:pt x="126" y="68"/>
                  <a:pt x="84" y="84"/>
                  <a:pt x="51" y="117"/>
                </a:cubicBezTo>
                <a:cubicBezTo>
                  <a:pt x="48" y="120"/>
                  <a:pt x="48" y="125"/>
                  <a:pt x="51" y="128"/>
                </a:cubicBezTo>
                <a:cubicBezTo>
                  <a:pt x="53" y="130"/>
                  <a:pt x="55" y="131"/>
                  <a:pt x="57" y="131"/>
                </a:cubicBezTo>
                <a:cubicBezTo>
                  <a:pt x="59" y="131"/>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39" y="217"/>
                </a:moveTo>
                <a:cubicBezTo>
                  <a:pt x="123" y="234"/>
                  <a:pt x="123" y="261"/>
                  <a:pt x="139" y="277"/>
                </a:cubicBezTo>
                <a:cubicBezTo>
                  <a:pt x="156" y="294"/>
                  <a:pt x="183" y="294"/>
                  <a:pt x="199" y="277"/>
                </a:cubicBezTo>
                <a:cubicBezTo>
                  <a:pt x="216" y="261"/>
                  <a:pt x="216" y="234"/>
                  <a:pt x="199" y="217"/>
                </a:cubicBezTo>
                <a:cubicBezTo>
                  <a:pt x="183" y="201"/>
                  <a:pt x="156" y="201"/>
                  <a:pt x="139" y="217"/>
                </a:cubicBezTo>
                <a:close/>
                <a:moveTo>
                  <a:pt x="334" y="66"/>
                </a:moveTo>
                <a:cubicBezTo>
                  <a:pt x="330" y="62"/>
                  <a:pt x="326" y="59"/>
                  <a:pt x="321" y="55"/>
                </a:cubicBezTo>
                <a:cubicBezTo>
                  <a:pt x="319" y="54"/>
                  <a:pt x="318" y="53"/>
                  <a:pt x="316" y="51"/>
                </a:cubicBezTo>
                <a:cubicBezTo>
                  <a:pt x="313" y="49"/>
                  <a:pt x="308" y="49"/>
                  <a:pt x="305" y="53"/>
                </a:cubicBezTo>
                <a:cubicBezTo>
                  <a:pt x="302" y="56"/>
                  <a:pt x="303" y="61"/>
                  <a:pt x="306" y="64"/>
                </a:cubicBezTo>
                <a:cubicBezTo>
                  <a:pt x="308" y="65"/>
                  <a:pt x="310" y="67"/>
                  <a:pt x="311" y="68"/>
                </a:cubicBezTo>
                <a:cubicBezTo>
                  <a:pt x="316" y="71"/>
                  <a:pt x="320" y="75"/>
                  <a:pt x="323" y="78"/>
                </a:cubicBezTo>
                <a:cubicBezTo>
                  <a:pt x="325" y="79"/>
                  <a:pt x="327" y="80"/>
                  <a:pt x="329" y="80"/>
                </a:cubicBezTo>
                <a:cubicBezTo>
                  <a:pt x="331" y="80"/>
                  <a:pt x="333" y="79"/>
                  <a:pt x="335" y="78"/>
                </a:cubicBezTo>
                <a:cubicBezTo>
                  <a:pt x="338" y="74"/>
                  <a:pt x="338" y="69"/>
                  <a:pt x="334" y="66"/>
                </a:cubicBezTo>
                <a:close/>
                <a:moveTo>
                  <a:pt x="290" y="33"/>
                </a:moveTo>
                <a:cubicBezTo>
                  <a:pt x="253" y="11"/>
                  <a:pt x="212" y="0"/>
                  <a:pt x="169" y="0"/>
                </a:cubicBezTo>
                <a:cubicBezTo>
                  <a:pt x="107" y="0"/>
                  <a:pt x="49" y="24"/>
                  <a:pt x="4" y="66"/>
                </a:cubicBezTo>
                <a:cubicBezTo>
                  <a:pt x="1" y="69"/>
                  <a:pt x="0" y="74"/>
                  <a:pt x="4" y="78"/>
                </a:cubicBezTo>
                <a:cubicBezTo>
                  <a:pt x="5" y="79"/>
                  <a:pt x="7" y="80"/>
                  <a:pt x="9" y="80"/>
                </a:cubicBezTo>
                <a:cubicBezTo>
                  <a:pt x="11" y="80"/>
                  <a:pt x="13" y="79"/>
                  <a:pt x="15" y="78"/>
                </a:cubicBezTo>
                <a:cubicBezTo>
                  <a:pt x="57" y="38"/>
                  <a:pt x="111" y="16"/>
                  <a:pt x="169" y="16"/>
                </a:cubicBezTo>
                <a:cubicBezTo>
                  <a:pt x="209" y="16"/>
                  <a:pt x="248" y="27"/>
                  <a:pt x="282" y="46"/>
                </a:cubicBezTo>
                <a:cubicBezTo>
                  <a:pt x="285" y="49"/>
                  <a:pt x="290" y="47"/>
                  <a:pt x="293" y="44"/>
                </a:cubicBezTo>
                <a:cubicBezTo>
                  <a:pt x="295" y="40"/>
                  <a:pt x="294" y="35"/>
                  <a:pt x="290" y="33"/>
                </a:cubicBezTo>
                <a:close/>
              </a:path>
            </a:pathLst>
          </a:custGeom>
          <a:solidFill>
            <a:srgbClr val="FFFFFF"/>
          </a:solidFill>
          <a:ln>
            <a:noFill/>
          </a:ln>
        </p:spPr>
        <p:txBody>
          <a:bodyPr/>
          <a:lstStyle/>
          <a:p>
            <a:endParaRPr lang="sv-SE"/>
          </a:p>
        </p:txBody>
      </p:sp>
    </p:spTree>
    <p:extLst>
      <p:ext uri="{BB962C8B-B14F-4D97-AF65-F5344CB8AC3E}">
        <p14:creationId xmlns:p14="http://schemas.microsoft.com/office/powerpoint/2010/main" val="39979197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178"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5" name="think-cell Slide" r:id="rId6" imgW="270" imgH="270" progId="TCLayout.ActiveDocument.1">
                  <p:embed/>
                </p:oleObj>
              </mc:Choice>
              <mc:Fallback>
                <p:oleObj name="think-cell Slide" r:id="rId6" imgW="270" imgH="270" progId="TCLayout.ActiveDocument.1">
                  <p:embed/>
                  <p:pic>
                    <p:nvPicPr>
                      <p:cNvPr id="50178"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0214" name="Title 1"/>
          <p:cNvSpPr>
            <a:spLocks noGrp="1"/>
          </p:cNvSpPr>
          <p:nvPr>
            <p:ph type="title"/>
            <p:custDataLst>
              <p:tags r:id="rId3"/>
            </p:custDataLst>
          </p:nvPr>
        </p:nvSpPr>
        <p:spPr>
          <a:xfrm>
            <a:off x="525463" y="213421"/>
            <a:ext cx="9991725" cy="1085850"/>
          </a:xfrm>
        </p:spPr>
        <p:txBody>
          <a:bodyPr>
            <a:normAutofit/>
          </a:bodyPr>
          <a:lstStyle/>
          <a:p>
            <a:r>
              <a:rPr lang="en-US" dirty="0">
                <a:solidFill>
                  <a:schemeClr val="tx1"/>
                </a:solidFill>
                <a:latin typeface="Ericsson Capital TT" charset="0"/>
                <a:ea typeface="ＭＳ Ｐゴシック" charset="0"/>
                <a:cs typeface="ＭＳ Ｐゴシック" charset="0"/>
              </a:rPr>
              <a:t>Creating 5G future right now</a:t>
            </a:r>
          </a:p>
        </p:txBody>
      </p:sp>
      <p:cxnSp>
        <p:nvCxnSpPr>
          <p:cNvPr id="53" name="Rak pil 52"/>
          <p:cNvCxnSpPr>
            <a:cxnSpLocks/>
          </p:cNvCxnSpPr>
          <p:nvPr/>
        </p:nvCxnSpPr>
        <p:spPr bwMode="auto">
          <a:xfrm flipV="1">
            <a:off x="912738" y="3023801"/>
            <a:ext cx="6692575" cy="764661"/>
          </a:xfrm>
          <a:prstGeom prst="straightConnector1">
            <a:avLst/>
          </a:prstGeom>
          <a:solidFill>
            <a:schemeClr val="accent1"/>
          </a:solidFill>
          <a:ln w="76200" cap="rnd" cmpd="sng" algn="ctr">
            <a:solidFill>
              <a:schemeClr val="tx1">
                <a:alpha val="42000"/>
              </a:schemeClr>
            </a:solidFill>
            <a:prstDash val="solid"/>
            <a:round/>
            <a:headEnd type="none" w="med" len="med"/>
            <a:tailEnd type="arrow" w="lg" len="med"/>
          </a:ln>
          <a:effectLst/>
        </p:spPr>
      </p:cxnSp>
      <p:cxnSp>
        <p:nvCxnSpPr>
          <p:cNvPr id="54" name="Rak pil 53"/>
          <p:cNvCxnSpPr>
            <a:cxnSpLocks/>
          </p:cNvCxnSpPr>
          <p:nvPr/>
        </p:nvCxnSpPr>
        <p:spPr bwMode="auto">
          <a:xfrm>
            <a:off x="912738" y="4232945"/>
            <a:ext cx="6692575" cy="498024"/>
          </a:xfrm>
          <a:prstGeom prst="straightConnector1">
            <a:avLst/>
          </a:prstGeom>
          <a:solidFill>
            <a:schemeClr val="accent1"/>
          </a:solidFill>
          <a:ln w="76200" cap="rnd" cmpd="sng" algn="ctr">
            <a:solidFill>
              <a:schemeClr val="tx1">
                <a:alpha val="42000"/>
              </a:schemeClr>
            </a:solidFill>
            <a:prstDash val="solid"/>
            <a:round/>
            <a:headEnd type="none" w="med" len="med"/>
            <a:tailEnd type="arrow" w="lg" len="med"/>
          </a:ln>
          <a:effectLst/>
        </p:spPr>
      </p:cxnSp>
      <p:grpSp>
        <p:nvGrpSpPr>
          <p:cNvPr id="76" name="Grupp 46">
            <a:extLst>
              <a:ext uri="{FF2B5EF4-FFF2-40B4-BE49-F238E27FC236}">
                <a16:creationId xmlns:a16="http://schemas.microsoft.com/office/drawing/2014/main" id="{814ABEE1-4889-40B6-A8A0-100FF2D2D8CC}"/>
              </a:ext>
            </a:extLst>
          </p:cNvPr>
          <p:cNvGrpSpPr/>
          <p:nvPr/>
        </p:nvGrpSpPr>
        <p:grpSpPr>
          <a:xfrm>
            <a:off x="7862999" y="2161426"/>
            <a:ext cx="3515625" cy="3269672"/>
            <a:chOff x="8676292" y="2156977"/>
            <a:chExt cx="2746780" cy="2547344"/>
          </a:xfrm>
        </p:grpSpPr>
        <p:pic>
          <p:nvPicPr>
            <p:cNvPr id="77" name="Picture 349">
              <a:extLst>
                <a:ext uri="{FF2B5EF4-FFF2-40B4-BE49-F238E27FC236}">
                  <a16:creationId xmlns:a16="http://schemas.microsoft.com/office/drawing/2014/main" id="{5809AF7D-23B2-4EF2-AAFE-84FA473CECC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76292" y="2156977"/>
              <a:ext cx="2746780" cy="2547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 name="Picture 349">
              <a:extLst>
                <a:ext uri="{FF2B5EF4-FFF2-40B4-BE49-F238E27FC236}">
                  <a16:creationId xmlns:a16="http://schemas.microsoft.com/office/drawing/2014/main" id="{E728BBC6-3B4A-4411-AADC-4EAF0F4F467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676292" y="2156977"/>
              <a:ext cx="2746780" cy="2547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2" name="Title 1">
            <a:extLst>
              <a:ext uri="{FF2B5EF4-FFF2-40B4-BE49-F238E27FC236}">
                <a16:creationId xmlns:a16="http://schemas.microsoft.com/office/drawing/2014/main" id="{8598ADE5-DEA6-4A4B-9A64-86ACC08F6060}"/>
              </a:ext>
            </a:extLst>
          </p:cNvPr>
          <p:cNvSpPr txBox="1">
            <a:spLocks/>
          </p:cNvSpPr>
          <p:nvPr/>
        </p:nvSpPr>
        <p:spPr bwMode="auto">
          <a:xfrm>
            <a:off x="5966761" y="2384339"/>
            <a:ext cx="1736003" cy="369713"/>
          </a:xfrm>
          <a:prstGeom prst="rect">
            <a:avLst/>
          </a:prstGeom>
          <a:noFill/>
          <a:ln w="9525">
            <a:noFill/>
            <a:miter lim="800000"/>
            <a:headEnd/>
            <a:tailEnd/>
          </a:ln>
        </p:spPr>
        <p:txBody>
          <a:bodyPr lIns="53995" tIns="0" rIns="53995" bIns="0"/>
          <a:lstStyle>
            <a:lvl1pPr algn="l" rtl="0" eaLnBrk="0" fontAlgn="base" hangingPunct="0">
              <a:lnSpc>
                <a:spcPct val="75000"/>
              </a:lnSpc>
              <a:spcBef>
                <a:spcPct val="0"/>
              </a:spcBef>
              <a:spcAft>
                <a:spcPct val="0"/>
              </a:spcAft>
              <a:defRPr sz="3300">
                <a:solidFill>
                  <a:schemeClr val="tx1"/>
                </a:solidFill>
                <a:latin typeface="Ericsson Capital TT"/>
                <a:ea typeface="MS PGothic" pitchFamily="34" charset="-128"/>
                <a:cs typeface="+mj-cs"/>
              </a:defRPr>
            </a:lvl1pPr>
            <a:lvl2pPr algn="l" rtl="0" eaLnBrk="0" fontAlgn="base" hangingPunct="0">
              <a:lnSpc>
                <a:spcPct val="75000"/>
              </a:lnSpc>
              <a:spcBef>
                <a:spcPct val="0"/>
              </a:spcBef>
              <a:spcAft>
                <a:spcPct val="0"/>
              </a:spcAft>
              <a:defRPr sz="3300">
                <a:solidFill>
                  <a:schemeClr val="tx1"/>
                </a:solidFill>
                <a:latin typeface="Ericsson Capital TT" pitchFamily="2" charset="0"/>
                <a:ea typeface="MS PGothic" pitchFamily="34" charset="-128"/>
              </a:defRPr>
            </a:lvl2pPr>
            <a:lvl3pPr algn="l" rtl="0" eaLnBrk="0" fontAlgn="base" hangingPunct="0">
              <a:lnSpc>
                <a:spcPct val="75000"/>
              </a:lnSpc>
              <a:spcBef>
                <a:spcPct val="0"/>
              </a:spcBef>
              <a:spcAft>
                <a:spcPct val="0"/>
              </a:spcAft>
              <a:defRPr sz="3300">
                <a:solidFill>
                  <a:schemeClr val="tx1"/>
                </a:solidFill>
                <a:latin typeface="Ericsson Capital TT" pitchFamily="2" charset="0"/>
                <a:ea typeface="MS PGothic" pitchFamily="34" charset="-128"/>
              </a:defRPr>
            </a:lvl3pPr>
            <a:lvl4pPr algn="l" rtl="0" eaLnBrk="0" fontAlgn="base" hangingPunct="0">
              <a:lnSpc>
                <a:spcPct val="75000"/>
              </a:lnSpc>
              <a:spcBef>
                <a:spcPct val="0"/>
              </a:spcBef>
              <a:spcAft>
                <a:spcPct val="0"/>
              </a:spcAft>
              <a:defRPr sz="3300">
                <a:solidFill>
                  <a:schemeClr val="tx1"/>
                </a:solidFill>
                <a:latin typeface="Ericsson Capital TT" pitchFamily="2" charset="0"/>
                <a:ea typeface="MS PGothic" pitchFamily="34" charset="-128"/>
              </a:defRPr>
            </a:lvl4pPr>
            <a:lvl5pPr algn="l" rtl="0" eaLnBrk="0" fontAlgn="base" hangingPunct="0">
              <a:lnSpc>
                <a:spcPct val="75000"/>
              </a:lnSpc>
              <a:spcBef>
                <a:spcPct val="0"/>
              </a:spcBef>
              <a:spcAft>
                <a:spcPct val="0"/>
              </a:spcAft>
              <a:defRPr sz="3300">
                <a:solidFill>
                  <a:schemeClr val="tx1"/>
                </a:solidFill>
                <a:latin typeface="Ericsson Capital TT" pitchFamily="2" charset="0"/>
                <a:ea typeface="MS PGothic" pitchFamily="34" charset="-128"/>
              </a:defRPr>
            </a:lvl5pPr>
            <a:lvl6pPr marL="342870" algn="l" rtl="0" eaLnBrk="1" fontAlgn="base" hangingPunct="1">
              <a:spcBef>
                <a:spcPct val="0"/>
              </a:spcBef>
              <a:spcAft>
                <a:spcPct val="0"/>
              </a:spcAft>
              <a:defRPr sz="2400">
                <a:solidFill>
                  <a:schemeClr val="tx1"/>
                </a:solidFill>
                <a:latin typeface="Ericsson Capital TT" pitchFamily="2" charset="0"/>
              </a:defRPr>
            </a:lvl6pPr>
            <a:lvl7pPr marL="685740" algn="l" rtl="0" eaLnBrk="1" fontAlgn="base" hangingPunct="1">
              <a:spcBef>
                <a:spcPct val="0"/>
              </a:spcBef>
              <a:spcAft>
                <a:spcPct val="0"/>
              </a:spcAft>
              <a:defRPr sz="2400">
                <a:solidFill>
                  <a:schemeClr val="tx1"/>
                </a:solidFill>
                <a:latin typeface="Ericsson Capital TT" pitchFamily="2" charset="0"/>
              </a:defRPr>
            </a:lvl7pPr>
            <a:lvl8pPr marL="1028611" algn="l" rtl="0" eaLnBrk="1" fontAlgn="base" hangingPunct="1">
              <a:spcBef>
                <a:spcPct val="0"/>
              </a:spcBef>
              <a:spcAft>
                <a:spcPct val="0"/>
              </a:spcAft>
              <a:defRPr sz="2400">
                <a:solidFill>
                  <a:schemeClr val="tx1"/>
                </a:solidFill>
                <a:latin typeface="Ericsson Capital TT" pitchFamily="2" charset="0"/>
              </a:defRPr>
            </a:lvl8pPr>
            <a:lvl9pPr marL="1371482" algn="l" rtl="0" eaLnBrk="1" fontAlgn="base" hangingPunct="1">
              <a:spcBef>
                <a:spcPct val="0"/>
              </a:spcBef>
              <a:spcAft>
                <a:spcPct val="0"/>
              </a:spcAft>
              <a:defRPr sz="2400">
                <a:solidFill>
                  <a:schemeClr val="tx1"/>
                </a:solidFill>
                <a:latin typeface="Ericsson Capital TT" pitchFamily="2" charset="0"/>
              </a:defRPr>
            </a:lvl9pPr>
          </a:lstStyle>
          <a:p>
            <a:pPr algn="ctr" eaLnBrk="1" hangingPunct="1">
              <a:lnSpc>
                <a:spcPct val="100000"/>
              </a:lnSpc>
              <a:defRPr/>
            </a:pPr>
            <a:endParaRPr lang="en-US" sz="1100" b="1" dirty="0">
              <a:latin typeface="Arial" charset="0"/>
              <a:cs typeface="Arial" charset="0"/>
            </a:endParaRPr>
          </a:p>
        </p:txBody>
      </p:sp>
      <p:sp>
        <p:nvSpPr>
          <p:cNvPr id="83" name="Title 1">
            <a:extLst>
              <a:ext uri="{FF2B5EF4-FFF2-40B4-BE49-F238E27FC236}">
                <a16:creationId xmlns:a16="http://schemas.microsoft.com/office/drawing/2014/main" id="{69B8035D-A398-4EAE-B5B2-3F5E4EB10285}"/>
              </a:ext>
            </a:extLst>
          </p:cNvPr>
          <p:cNvSpPr txBox="1">
            <a:spLocks/>
          </p:cNvSpPr>
          <p:nvPr/>
        </p:nvSpPr>
        <p:spPr bwMode="auto">
          <a:xfrm rot="21164409">
            <a:off x="6673300" y="2482542"/>
            <a:ext cx="1736003" cy="208009"/>
          </a:xfrm>
          <a:prstGeom prst="rect">
            <a:avLst/>
          </a:prstGeom>
          <a:noFill/>
          <a:ln w="9525">
            <a:noFill/>
            <a:miter lim="800000"/>
            <a:headEnd/>
            <a:tailEnd/>
          </a:ln>
        </p:spPr>
        <p:txBody>
          <a:bodyPr lIns="53995" tIns="0" rIns="53995" bIns="0"/>
          <a:lstStyle>
            <a:lvl1pPr algn="l" rtl="0" eaLnBrk="0" fontAlgn="base" hangingPunct="0">
              <a:lnSpc>
                <a:spcPct val="75000"/>
              </a:lnSpc>
              <a:spcBef>
                <a:spcPct val="0"/>
              </a:spcBef>
              <a:spcAft>
                <a:spcPct val="0"/>
              </a:spcAft>
              <a:defRPr sz="3300">
                <a:solidFill>
                  <a:schemeClr val="tx1"/>
                </a:solidFill>
                <a:latin typeface="Ericsson Capital TT"/>
                <a:ea typeface="MS PGothic" pitchFamily="34" charset="-128"/>
                <a:cs typeface="+mj-cs"/>
              </a:defRPr>
            </a:lvl1pPr>
            <a:lvl2pPr algn="l" rtl="0" eaLnBrk="0" fontAlgn="base" hangingPunct="0">
              <a:lnSpc>
                <a:spcPct val="75000"/>
              </a:lnSpc>
              <a:spcBef>
                <a:spcPct val="0"/>
              </a:spcBef>
              <a:spcAft>
                <a:spcPct val="0"/>
              </a:spcAft>
              <a:defRPr sz="3300">
                <a:solidFill>
                  <a:schemeClr val="tx1"/>
                </a:solidFill>
                <a:latin typeface="Ericsson Capital TT" pitchFamily="2" charset="0"/>
                <a:ea typeface="MS PGothic" pitchFamily="34" charset="-128"/>
              </a:defRPr>
            </a:lvl2pPr>
            <a:lvl3pPr algn="l" rtl="0" eaLnBrk="0" fontAlgn="base" hangingPunct="0">
              <a:lnSpc>
                <a:spcPct val="75000"/>
              </a:lnSpc>
              <a:spcBef>
                <a:spcPct val="0"/>
              </a:spcBef>
              <a:spcAft>
                <a:spcPct val="0"/>
              </a:spcAft>
              <a:defRPr sz="3300">
                <a:solidFill>
                  <a:schemeClr val="tx1"/>
                </a:solidFill>
                <a:latin typeface="Ericsson Capital TT" pitchFamily="2" charset="0"/>
                <a:ea typeface="MS PGothic" pitchFamily="34" charset="-128"/>
              </a:defRPr>
            </a:lvl3pPr>
            <a:lvl4pPr algn="l" rtl="0" eaLnBrk="0" fontAlgn="base" hangingPunct="0">
              <a:lnSpc>
                <a:spcPct val="75000"/>
              </a:lnSpc>
              <a:spcBef>
                <a:spcPct val="0"/>
              </a:spcBef>
              <a:spcAft>
                <a:spcPct val="0"/>
              </a:spcAft>
              <a:defRPr sz="3300">
                <a:solidFill>
                  <a:schemeClr val="tx1"/>
                </a:solidFill>
                <a:latin typeface="Ericsson Capital TT" pitchFamily="2" charset="0"/>
                <a:ea typeface="MS PGothic" pitchFamily="34" charset="-128"/>
              </a:defRPr>
            </a:lvl4pPr>
            <a:lvl5pPr algn="l" rtl="0" eaLnBrk="0" fontAlgn="base" hangingPunct="0">
              <a:lnSpc>
                <a:spcPct val="75000"/>
              </a:lnSpc>
              <a:spcBef>
                <a:spcPct val="0"/>
              </a:spcBef>
              <a:spcAft>
                <a:spcPct val="0"/>
              </a:spcAft>
              <a:defRPr sz="3300">
                <a:solidFill>
                  <a:schemeClr val="tx1"/>
                </a:solidFill>
                <a:latin typeface="Ericsson Capital TT" pitchFamily="2" charset="0"/>
                <a:ea typeface="MS PGothic" pitchFamily="34" charset="-128"/>
              </a:defRPr>
            </a:lvl5pPr>
            <a:lvl6pPr marL="342870" algn="l" rtl="0" eaLnBrk="1" fontAlgn="base" hangingPunct="1">
              <a:spcBef>
                <a:spcPct val="0"/>
              </a:spcBef>
              <a:spcAft>
                <a:spcPct val="0"/>
              </a:spcAft>
              <a:defRPr sz="2400">
                <a:solidFill>
                  <a:schemeClr val="tx1"/>
                </a:solidFill>
                <a:latin typeface="Ericsson Capital TT" pitchFamily="2" charset="0"/>
              </a:defRPr>
            </a:lvl6pPr>
            <a:lvl7pPr marL="685740" algn="l" rtl="0" eaLnBrk="1" fontAlgn="base" hangingPunct="1">
              <a:spcBef>
                <a:spcPct val="0"/>
              </a:spcBef>
              <a:spcAft>
                <a:spcPct val="0"/>
              </a:spcAft>
              <a:defRPr sz="2400">
                <a:solidFill>
                  <a:schemeClr val="tx1"/>
                </a:solidFill>
                <a:latin typeface="Ericsson Capital TT" pitchFamily="2" charset="0"/>
              </a:defRPr>
            </a:lvl7pPr>
            <a:lvl8pPr marL="1028611" algn="l" rtl="0" eaLnBrk="1" fontAlgn="base" hangingPunct="1">
              <a:spcBef>
                <a:spcPct val="0"/>
              </a:spcBef>
              <a:spcAft>
                <a:spcPct val="0"/>
              </a:spcAft>
              <a:defRPr sz="2400">
                <a:solidFill>
                  <a:schemeClr val="tx1"/>
                </a:solidFill>
                <a:latin typeface="Ericsson Capital TT" pitchFamily="2" charset="0"/>
              </a:defRPr>
            </a:lvl8pPr>
            <a:lvl9pPr marL="1371482" algn="l" rtl="0" eaLnBrk="1" fontAlgn="base" hangingPunct="1">
              <a:spcBef>
                <a:spcPct val="0"/>
              </a:spcBef>
              <a:spcAft>
                <a:spcPct val="0"/>
              </a:spcAft>
              <a:defRPr sz="2400">
                <a:solidFill>
                  <a:schemeClr val="tx1"/>
                </a:solidFill>
                <a:latin typeface="Ericsson Capital TT" pitchFamily="2" charset="0"/>
              </a:defRPr>
            </a:lvl9pPr>
          </a:lstStyle>
          <a:p>
            <a:pPr algn="ctr" eaLnBrk="1" hangingPunct="1">
              <a:lnSpc>
                <a:spcPct val="100000"/>
              </a:lnSpc>
              <a:defRPr/>
            </a:pPr>
            <a:r>
              <a:rPr lang="en-US" sz="2000" b="1" dirty="0">
                <a:latin typeface="Arial" charset="0"/>
                <a:cs typeface="Arial" charset="0"/>
              </a:rPr>
              <a:t>Critical IoT</a:t>
            </a:r>
          </a:p>
        </p:txBody>
      </p:sp>
      <p:sp>
        <p:nvSpPr>
          <p:cNvPr id="86" name="Freeform 6">
            <a:extLst>
              <a:ext uri="{FF2B5EF4-FFF2-40B4-BE49-F238E27FC236}">
                <a16:creationId xmlns:a16="http://schemas.microsoft.com/office/drawing/2014/main" id="{A59CCF16-03BE-4F74-97A5-73F9247A59E5}"/>
              </a:ext>
            </a:extLst>
          </p:cNvPr>
          <p:cNvSpPr/>
          <p:nvPr/>
        </p:nvSpPr>
        <p:spPr>
          <a:xfrm rot="10800009" flipH="1">
            <a:off x="-258147" y="3651991"/>
            <a:ext cx="2396639" cy="724597"/>
          </a:xfrm>
          <a:custGeom>
            <a:avLst/>
            <a:gdLst>
              <a:gd name="f0" fmla="val 10800000"/>
              <a:gd name="f1" fmla="val 5400000"/>
              <a:gd name="f2" fmla="val 180"/>
              <a:gd name="f3" fmla="val w"/>
              <a:gd name="f4" fmla="val h"/>
              <a:gd name="f5" fmla="val 0"/>
              <a:gd name="f6" fmla="val 1098"/>
              <a:gd name="f7" fmla="val 211"/>
              <a:gd name="f8" fmla="val 1002"/>
              <a:gd name="f9" fmla="val 10"/>
              <a:gd name="f10" fmla="val 1087"/>
              <a:gd name="f11" fmla="val 95"/>
              <a:gd name="f12" fmla="val 105"/>
              <a:gd name="f13" fmla="val 116"/>
              <a:gd name="f14" fmla="val 1075"/>
              <a:gd name="f15" fmla="val 128"/>
              <a:gd name="f16" fmla="val 201"/>
              <a:gd name="f17" fmla="val 991"/>
              <a:gd name="f18" fmla="val 976"/>
              <a:gd name="f19" fmla="val 969"/>
              <a:gd name="f20" fmla="val 21"/>
              <a:gd name="f21" fmla="val 9"/>
              <a:gd name="f22" fmla="val 202"/>
              <a:gd name="f23" fmla="val 190"/>
              <a:gd name="f24" fmla="val 992"/>
              <a:gd name="f25" fmla="+- 0 0 -90"/>
              <a:gd name="f26" fmla="*/ f3 1 1098"/>
              <a:gd name="f27" fmla="*/ f4 1 211"/>
              <a:gd name="f28" fmla="+- f7 0 f5"/>
              <a:gd name="f29" fmla="+- f6 0 f5"/>
              <a:gd name="f30" fmla="*/ f25 f0 1"/>
              <a:gd name="f31" fmla="*/ f29 1 1098"/>
              <a:gd name="f32" fmla="*/ f28 1 211"/>
              <a:gd name="f33" fmla="*/ 2147483647 f29 1"/>
              <a:gd name="f34" fmla="*/ 2147483647 f28 1"/>
              <a:gd name="f35" fmla="*/ 0 f29 1"/>
              <a:gd name="f36" fmla="*/ 0 f28 1"/>
              <a:gd name="f37" fmla="*/ 1098 f29 1"/>
              <a:gd name="f38" fmla="*/ 211 f28 1"/>
              <a:gd name="f39" fmla="*/ f30 1 f2"/>
              <a:gd name="f40" fmla="*/ f33 1 1098"/>
              <a:gd name="f41" fmla="*/ f34 1 211"/>
              <a:gd name="f42" fmla="*/ f35 1 1098"/>
              <a:gd name="f43" fmla="*/ f36 1 211"/>
              <a:gd name="f44" fmla="*/ f37 1 1098"/>
              <a:gd name="f45" fmla="*/ f38 1 211"/>
              <a:gd name="f46" fmla="+- f39 0 f1"/>
              <a:gd name="f47" fmla="*/ f40 1 f31"/>
              <a:gd name="f48" fmla="*/ f41 1 f32"/>
              <a:gd name="f49" fmla="*/ f42 1 f31"/>
              <a:gd name="f50" fmla="*/ f43 1 f32"/>
              <a:gd name="f51" fmla="*/ f44 1 f31"/>
              <a:gd name="f52" fmla="*/ f45 1 f32"/>
              <a:gd name="f53" fmla="*/ f49 f26 1"/>
              <a:gd name="f54" fmla="*/ f51 f26 1"/>
              <a:gd name="f55" fmla="*/ f52 f27 1"/>
              <a:gd name="f56" fmla="*/ f50 f27 1"/>
              <a:gd name="f57" fmla="*/ f47 f26 1"/>
              <a:gd name="f58" fmla="*/ f48 f27 1"/>
            </a:gdLst>
            <a:ahLst/>
            <a:cxnLst>
              <a:cxn ang="3cd4">
                <a:pos x="hc" y="t"/>
              </a:cxn>
              <a:cxn ang="0">
                <a:pos x="r" y="vc"/>
              </a:cxn>
              <a:cxn ang="cd4">
                <a:pos x="hc" y="b"/>
              </a:cxn>
              <a:cxn ang="cd2">
                <a:pos x="l" y="vc"/>
              </a:cxn>
              <a:cxn ang="f46">
                <a:pos x="f57" y="f58"/>
              </a:cxn>
              <a:cxn ang="f46">
                <a:pos x="f57" y="f58"/>
              </a:cxn>
              <a:cxn ang="f46">
                <a:pos x="f57" y="f58"/>
              </a:cxn>
              <a:cxn ang="f46">
                <a:pos x="f57" y="f58"/>
              </a:cxn>
              <a:cxn ang="f46">
                <a:pos x="f57" y="f58"/>
              </a:cxn>
              <a:cxn ang="f46">
                <a:pos x="f57" y="f58"/>
              </a:cxn>
              <a:cxn ang="f46">
                <a:pos x="f53" y="f58"/>
              </a:cxn>
              <a:cxn ang="f46">
                <a:pos x="f53" y="f58"/>
              </a:cxn>
              <a:cxn ang="f46">
                <a:pos x="f57" y="f56"/>
              </a:cxn>
              <a:cxn ang="f46">
                <a:pos x="f57" y="f56"/>
              </a:cxn>
              <a:cxn ang="f46">
                <a:pos x="f57" y="f58"/>
              </a:cxn>
            </a:cxnLst>
            <a:rect l="f53" t="f56" r="f54" b="f55"/>
            <a:pathLst>
              <a:path w="1098" h="211">
                <a:moveTo>
                  <a:pt x="f8" y="f9"/>
                </a:moveTo>
                <a:cubicBezTo>
                  <a:pt x="f10" y="f11"/>
                  <a:pt x="f10" y="f11"/>
                  <a:pt x="f10" y="f11"/>
                </a:cubicBezTo>
                <a:cubicBezTo>
                  <a:pt x="f10" y="f11"/>
                  <a:pt x="f6" y="f12"/>
                  <a:pt x="f10" y="f13"/>
                </a:cubicBezTo>
                <a:cubicBezTo>
                  <a:pt x="f14" y="f15"/>
                  <a:pt x="f8" y="f16"/>
                  <a:pt x="f8" y="f16"/>
                </a:cubicBezTo>
                <a:cubicBezTo>
                  <a:pt x="f8" y="f16"/>
                  <a:pt x="f17" y="f7"/>
                  <a:pt x="f18" y="f7"/>
                </a:cubicBezTo>
                <a:cubicBezTo>
                  <a:pt x="f19" y="f7"/>
                  <a:pt x="f20" y="f7"/>
                  <a:pt x="f20" y="f7"/>
                </a:cubicBezTo>
                <a:cubicBezTo>
                  <a:pt x="f21" y="f7"/>
                  <a:pt x="f5" y="f22"/>
                  <a:pt x="f5" y="f23"/>
                </a:cubicBezTo>
                <a:cubicBezTo>
                  <a:pt x="f5" y="f20"/>
                  <a:pt x="f5" y="f20"/>
                  <a:pt x="f5" y="f20"/>
                </a:cubicBezTo>
                <a:cubicBezTo>
                  <a:pt x="f5" y="f21"/>
                  <a:pt x="f21" y="f5"/>
                  <a:pt x="f20" y="f5"/>
                </a:cubicBezTo>
                <a:cubicBezTo>
                  <a:pt x="f20" y="f5"/>
                  <a:pt x="f19" y="f5"/>
                  <a:pt x="f18" y="f5"/>
                </a:cubicBezTo>
                <a:cubicBezTo>
                  <a:pt x="f24" y="f5"/>
                  <a:pt x="f8" y="f9"/>
                  <a:pt x="f8" y="f9"/>
                </a:cubicBezTo>
                <a:close/>
              </a:path>
            </a:pathLst>
          </a:custGeom>
          <a:gradFill>
            <a:gsLst>
              <a:gs pos="0">
                <a:srgbClr val="FFFFFF">
                  <a:alpha val="0"/>
                </a:srgbClr>
              </a:gs>
              <a:gs pos="100000">
                <a:srgbClr val="FFFFFF">
                  <a:alpha val="36000"/>
                </a:srgbClr>
              </a:gs>
            </a:gsLst>
            <a:lin ang="0"/>
          </a:gradFill>
          <a:ln cap="flat">
            <a:noFill/>
            <a:prstDash val="solid"/>
          </a:ln>
        </p:spPr>
        <p:txBody>
          <a:bodyPr vert="horz" wrap="square" lIns="91440" tIns="45720" rIns="91440" bIns="45720" anchor="ctr"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1" i="0" u="none" strike="noStrike" kern="1200" cap="none" spc="0" baseline="0">
              <a:uFillTx/>
              <a:latin typeface="Arial"/>
              <a:ea typeface="MS PGothic"/>
              <a:cs typeface="Arial"/>
            </a:endParaRPr>
          </a:p>
        </p:txBody>
      </p:sp>
      <p:sp>
        <p:nvSpPr>
          <p:cNvPr id="90" name="Title 1">
            <a:extLst>
              <a:ext uri="{FF2B5EF4-FFF2-40B4-BE49-F238E27FC236}">
                <a16:creationId xmlns:a16="http://schemas.microsoft.com/office/drawing/2014/main" id="{CC547FFD-8740-4D73-A151-C0D93B993C48}"/>
              </a:ext>
            </a:extLst>
          </p:cNvPr>
          <p:cNvSpPr txBox="1">
            <a:spLocks/>
          </p:cNvSpPr>
          <p:nvPr/>
        </p:nvSpPr>
        <p:spPr bwMode="auto">
          <a:xfrm rot="360064">
            <a:off x="6335336" y="4959101"/>
            <a:ext cx="2725648" cy="305377"/>
          </a:xfrm>
          <a:prstGeom prst="rect">
            <a:avLst/>
          </a:prstGeom>
          <a:noFill/>
          <a:ln w="9525">
            <a:noFill/>
            <a:miter lim="800000"/>
            <a:headEnd/>
            <a:tailEnd/>
          </a:ln>
        </p:spPr>
        <p:txBody>
          <a:bodyPr lIns="53995" tIns="0" rIns="53995" bIns="0"/>
          <a:lstStyle>
            <a:lvl1pPr algn="l" rtl="0" eaLnBrk="0" fontAlgn="base" hangingPunct="0">
              <a:lnSpc>
                <a:spcPct val="75000"/>
              </a:lnSpc>
              <a:spcBef>
                <a:spcPct val="0"/>
              </a:spcBef>
              <a:spcAft>
                <a:spcPct val="0"/>
              </a:spcAft>
              <a:defRPr sz="3300">
                <a:solidFill>
                  <a:schemeClr val="tx1"/>
                </a:solidFill>
                <a:latin typeface="Ericsson Capital TT"/>
                <a:ea typeface="MS PGothic" pitchFamily="34" charset="-128"/>
                <a:cs typeface="+mj-cs"/>
              </a:defRPr>
            </a:lvl1pPr>
            <a:lvl2pPr algn="l" rtl="0" eaLnBrk="0" fontAlgn="base" hangingPunct="0">
              <a:lnSpc>
                <a:spcPct val="75000"/>
              </a:lnSpc>
              <a:spcBef>
                <a:spcPct val="0"/>
              </a:spcBef>
              <a:spcAft>
                <a:spcPct val="0"/>
              </a:spcAft>
              <a:defRPr sz="3300">
                <a:solidFill>
                  <a:schemeClr val="tx1"/>
                </a:solidFill>
                <a:latin typeface="Ericsson Capital TT" pitchFamily="2" charset="0"/>
                <a:ea typeface="MS PGothic" pitchFamily="34" charset="-128"/>
              </a:defRPr>
            </a:lvl2pPr>
            <a:lvl3pPr algn="l" rtl="0" eaLnBrk="0" fontAlgn="base" hangingPunct="0">
              <a:lnSpc>
                <a:spcPct val="75000"/>
              </a:lnSpc>
              <a:spcBef>
                <a:spcPct val="0"/>
              </a:spcBef>
              <a:spcAft>
                <a:spcPct val="0"/>
              </a:spcAft>
              <a:defRPr sz="3300">
                <a:solidFill>
                  <a:schemeClr val="tx1"/>
                </a:solidFill>
                <a:latin typeface="Ericsson Capital TT" pitchFamily="2" charset="0"/>
                <a:ea typeface="MS PGothic" pitchFamily="34" charset="-128"/>
              </a:defRPr>
            </a:lvl3pPr>
            <a:lvl4pPr algn="l" rtl="0" eaLnBrk="0" fontAlgn="base" hangingPunct="0">
              <a:lnSpc>
                <a:spcPct val="75000"/>
              </a:lnSpc>
              <a:spcBef>
                <a:spcPct val="0"/>
              </a:spcBef>
              <a:spcAft>
                <a:spcPct val="0"/>
              </a:spcAft>
              <a:defRPr sz="3300">
                <a:solidFill>
                  <a:schemeClr val="tx1"/>
                </a:solidFill>
                <a:latin typeface="Ericsson Capital TT" pitchFamily="2" charset="0"/>
                <a:ea typeface="MS PGothic" pitchFamily="34" charset="-128"/>
              </a:defRPr>
            </a:lvl4pPr>
            <a:lvl5pPr algn="l" rtl="0" eaLnBrk="0" fontAlgn="base" hangingPunct="0">
              <a:lnSpc>
                <a:spcPct val="75000"/>
              </a:lnSpc>
              <a:spcBef>
                <a:spcPct val="0"/>
              </a:spcBef>
              <a:spcAft>
                <a:spcPct val="0"/>
              </a:spcAft>
              <a:defRPr sz="3300">
                <a:solidFill>
                  <a:schemeClr val="tx1"/>
                </a:solidFill>
                <a:latin typeface="Ericsson Capital TT" pitchFamily="2" charset="0"/>
                <a:ea typeface="MS PGothic" pitchFamily="34" charset="-128"/>
              </a:defRPr>
            </a:lvl5pPr>
            <a:lvl6pPr marL="342870" algn="l" rtl="0" eaLnBrk="1" fontAlgn="base" hangingPunct="1">
              <a:spcBef>
                <a:spcPct val="0"/>
              </a:spcBef>
              <a:spcAft>
                <a:spcPct val="0"/>
              </a:spcAft>
              <a:defRPr sz="2400">
                <a:solidFill>
                  <a:schemeClr val="tx1"/>
                </a:solidFill>
                <a:latin typeface="Ericsson Capital TT" pitchFamily="2" charset="0"/>
              </a:defRPr>
            </a:lvl6pPr>
            <a:lvl7pPr marL="685740" algn="l" rtl="0" eaLnBrk="1" fontAlgn="base" hangingPunct="1">
              <a:spcBef>
                <a:spcPct val="0"/>
              </a:spcBef>
              <a:spcAft>
                <a:spcPct val="0"/>
              </a:spcAft>
              <a:defRPr sz="2400">
                <a:solidFill>
                  <a:schemeClr val="tx1"/>
                </a:solidFill>
                <a:latin typeface="Ericsson Capital TT" pitchFamily="2" charset="0"/>
              </a:defRPr>
            </a:lvl7pPr>
            <a:lvl8pPr marL="1028611" algn="l" rtl="0" eaLnBrk="1" fontAlgn="base" hangingPunct="1">
              <a:spcBef>
                <a:spcPct val="0"/>
              </a:spcBef>
              <a:spcAft>
                <a:spcPct val="0"/>
              </a:spcAft>
              <a:defRPr sz="2400">
                <a:solidFill>
                  <a:schemeClr val="tx1"/>
                </a:solidFill>
                <a:latin typeface="Ericsson Capital TT" pitchFamily="2" charset="0"/>
              </a:defRPr>
            </a:lvl8pPr>
            <a:lvl9pPr marL="1371482" algn="l" rtl="0" eaLnBrk="1" fontAlgn="base" hangingPunct="1">
              <a:spcBef>
                <a:spcPct val="0"/>
              </a:spcBef>
              <a:spcAft>
                <a:spcPct val="0"/>
              </a:spcAft>
              <a:defRPr sz="2400">
                <a:solidFill>
                  <a:schemeClr val="tx1"/>
                </a:solidFill>
                <a:latin typeface="Ericsson Capital TT" pitchFamily="2" charset="0"/>
              </a:defRPr>
            </a:lvl9pPr>
          </a:lstStyle>
          <a:p>
            <a:pPr algn="ctr" eaLnBrk="1" hangingPunct="1">
              <a:lnSpc>
                <a:spcPct val="100000"/>
              </a:lnSpc>
              <a:defRPr/>
            </a:pPr>
            <a:r>
              <a:rPr lang="en-US" sz="2000" b="1" dirty="0">
                <a:latin typeface="Arial" charset="0"/>
                <a:cs typeface="Arial" charset="0"/>
              </a:rPr>
              <a:t>Massive IoT</a:t>
            </a:r>
          </a:p>
        </p:txBody>
      </p:sp>
      <p:sp>
        <p:nvSpPr>
          <p:cNvPr id="12" name="Rectangle 11">
            <a:extLst>
              <a:ext uri="{FF2B5EF4-FFF2-40B4-BE49-F238E27FC236}">
                <a16:creationId xmlns:a16="http://schemas.microsoft.com/office/drawing/2014/main" id="{BB9C7DD3-2CE3-4CFD-B9FC-4839ABB1544A}"/>
              </a:ext>
            </a:extLst>
          </p:cNvPr>
          <p:cNvSpPr/>
          <p:nvPr/>
        </p:nvSpPr>
        <p:spPr>
          <a:xfrm>
            <a:off x="380416" y="3773336"/>
            <a:ext cx="1648208" cy="369332"/>
          </a:xfrm>
          <a:prstGeom prst="rect">
            <a:avLst/>
          </a:prstGeom>
        </p:spPr>
        <p:txBody>
          <a:bodyPr wrap="none">
            <a:spAutoFit/>
          </a:bodyPr>
          <a:lstStyle/>
          <a:p>
            <a:r>
              <a:rPr lang="en-US" dirty="0"/>
              <a:t>LTE Evolution </a:t>
            </a:r>
          </a:p>
        </p:txBody>
      </p:sp>
      <p:sp>
        <p:nvSpPr>
          <p:cNvPr id="95" name="Oval 111">
            <a:extLst>
              <a:ext uri="{FF2B5EF4-FFF2-40B4-BE49-F238E27FC236}">
                <a16:creationId xmlns:a16="http://schemas.microsoft.com/office/drawing/2014/main" id="{5C0CDE03-5E51-4F2A-B297-CDD6DC72E25B}"/>
              </a:ext>
            </a:extLst>
          </p:cNvPr>
          <p:cNvSpPr>
            <a:spLocks noChangeArrowheads="1"/>
          </p:cNvSpPr>
          <p:nvPr/>
        </p:nvSpPr>
        <p:spPr bwMode="auto">
          <a:xfrm>
            <a:off x="2297243" y="3997269"/>
            <a:ext cx="735930" cy="720000"/>
          </a:xfrm>
          <a:prstGeom prst="ellipse">
            <a:avLst/>
          </a:prstGeom>
          <a:solidFill>
            <a:srgbClr val="7E1563"/>
          </a:solidFill>
          <a:ln w="38100">
            <a:solidFill>
              <a:schemeClr val="bg1"/>
            </a:solidFill>
            <a:round/>
            <a:headEnd/>
            <a:tailEnd/>
          </a:ln>
        </p:spPr>
        <p:txBody>
          <a:bodyPr wrap="none" lIns="72000" rIns="72000"/>
          <a:lstStyle/>
          <a:p>
            <a:endParaRPr lang="en-US" dirty="0">
              <a:cs typeface="Arial" charset="0"/>
            </a:endParaRPr>
          </a:p>
        </p:txBody>
      </p:sp>
      <p:sp>
        <p:nvSpPr>
          <p:cNvPr id="96" name="Freeform 113">
            <a:extLst>
              <a:ext uri="{FF2B5EF4-FFF2-40B4-BE49-F238E27FC236}">
                <a16:creationId xmlns:a16="http://schemas.microsoft.com/office/drawing/2014/main" id="{C66A2809-471F-434B-8C70-BA6F0210D530}"/>
              </a:ext>
            </a:extLst>
          </p:cNvPr>
          <p:cNvSpPr>
            <a:spLocks noChangeAspect="1" noEditPoints="1"/>
          </p:cNvSpPr>
          <p:nvPr/>
        </p:nvSpPr>
        <p:spPr bwMode="auto">
          <a:xfrm>
            <a:off x="2443697" y="4136152"/>
            <a:ext cx="443023" cy="442234"/>
          </a:xfrm>
          <a:custGeom>
            <a:avLst/>
            <a:gdLst>
              <a:gd name="T0" fmla="*/ 2147483647 w 385"/>
              <a:gd name="T1" fmla="*/ 2147483647 h 385"/>
              <a:gd name="T2" fmla="*/ 2147483647 w 385"/>
              <a:gd name="T3" fmla="*/ 2147483647 h 385"/>
              <a:gd name="T4" fmla="*/ 2147483647 w 385"/>
              <a:gd name="T5" fmla="*/ 2147483647 h 385"/>
              <a:gd name="T6" fmla="*/ 2147483647 w 385"/>
              <a:gd name="T7" fmla="*/ 2147483647 h 385"/>
              <a:gd name="T8" fmla="*/ 2147483647 w 385"/>
              <a:gd name="T9" fmla="*/ 2147483647 h 385"/>
              <a:gd name="T10" fmla="*/ 2147483647 w 385"/>
              <a:gd name="T11" fmla="*/ 2147483647 h 385"/>
              <a:gd name="T12" fmla="*/ 2147483647 w 385"/>
              <a:gd name="T13" fmla="*/ 2147483647 h 385"/>
              <a:gd name="T14" fmla="*/ 2147483647 w 385"/>
              <a:gd name="T15" fmla="*/ 2147483647 h 385"/>
              <a:gd name="T16" fmla="*/ 2147483647 w 385"/>
              <a:gd name="T17" fmla="*/ 2147483647 h 385"/>
              <a:gd name="T18" fmla="*/ 2147483647 w 385"/>
              <a:gd name="T19" fmla="*/ 2147483647 h 385"/>
              <a:gd name="T20" fmla="*/ 2147483647 w 385"/>
              <a:gd name="T21" fmla="*/ 2147483647 h 385"/>
              <a:gd name="T22" fmla="*/ 2147483647 w 385"/>
              <a:gd name="T23" fmla="*/ 2147483647 h 385"/>
              <a:gd name="T24" fmla="*/ 2147483647 w 385"/>
              <a:gd name="T25" fmla="*/ 2147483647 h 385"/>
              <a:gd name="T26" fmla="*/ 2147483647 w 385"/>
              <a:gd name="T27" fmla="*/ 2147483647 h 385"/>
              <a:gd name="T28" fmla="*/ 2147483647 w 385"/>
              <a:gd name="T29" fmla="*/ 2147483647 h 385"/>
              <a:gd name="T30" fmla="*/ 2147483647 w 385"/>
              <a:gd name="T31" fmla="*/ 2147483647 h 385"/>
              <a:gd name="T32" fmla="*/ 2147483647 w 385"/>
              <a:gd name="T33" fmla="*/ 2147483647 h 385"/>
              <a:gd name="T34" fmla="*/ 2147483647 w 385"/>
              <a:gd name="T35" fmla="*/ 2147483647 h 385"/>
              <a:gd name="T36" fmla="*/ 2147483647 w 385"/>
              <a:gd name="T37" fmla="*/ 2147483647 h 385"/>
              <a:gd name="T38" fmla="*/ 2147483647 w 385"/>
              <a:gd name="T39" fmla="*/ 2147483647 h 385"/>
              <a:gd name="T40" fmla="*/ 2147483647 w 385"/>
              <a:gd name="T41" fmla="*/ 2147483647 h 385"/>
              <a:gd name="T42" fmla="*/ 2147483647 w 385"/>
              <a:gd name="T43" fmla="*/ 2147483647 h 385"/>
              <a:gd name="T44" fmla="*/ 2147483647 w 385"/>
              <a:gd name="T45" fmla="*/ 2147483647 h 385"/>
              <a:gd name="T46" fmla="*/ 2147483647 w 385"/>
              <a:gd name="T47" fmla="*/ 2147483647 h 385"/>
              <a:gd name="T48" fmla="*/ 2147483647 w 385"/>
              <a:gd name="T49" fmla="*/ 2147483647 h 385"/>
              <a:gd name="T50" fmla="*/ 2147483647 w 385"/>
              <a:gd name="T51" fmla="*/ 2147483647 h 385"/>
              <a:gd name="T52" fmla="*/ 2147483647 w 385"/>
              <a:gd name="T53" fmla="*/ 2147483647 h 385"/>
              <a:gd name="T54" fmla="*/ 2147483647 w 385"/>
              <a:gd name="T55" fmla="*/ 2147483647 h 385"/>
              <a:gd name="T56" fmla="*/ 2147483647 w 385"/>
              <a:gd name="T57" fmla="*/ 2147483647 h 385"/>
              <a:gd name="T58" fmla="*/ 2147483647 w 385"/>
              <a:gd name="T59" fmla="*/ 2147483647 h 385"/>
              <a:gd name="T60" fmla="*/ 2147483647 w 385"/>
              <a:gd name="T61" fmla="*/ 2147483647 h 385"/>
              <a:gd name="T62" fmla="*/ 2147483647 w 385"/>
              <a:gd name="T63" fmla="*/ 2147483647 h 385"/>
              <a:gd name="T64" fmla="*/ 2147483647 w 385"/>
              <a:gd name="T65" fmla="*/ 2147483647 h 385"/>
              <a:gd name="T66" fmla="*/ 0 w 385"/>
              <a:gd name="T67" fmla="*/ 2147483647 h 385"/>
              <a:gd name="T68" fmla="*/ 2147483647 w 385"/>
              <a:gd name="T69" fmla="*/ 2147483647 h 3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5"/>
              <a:gd name="T106" fmla="*/ 0 h 385"/>
              <a:gd name="T107" fmla="*/ 385 w 385"/>
              <a:gd name="T108" fmla="*/ 385 h 38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5" h="385">
                <a:moveTo>
                  <a:pt x="192" y="333"/>
                </a:moveTo>
                <a:cubicBezTo>
                  <a:pt x="202" y="333"/>
                  <a:pt x="210" y="325"/>
                  <a:pt x="210" y="315"/>
                </a:cubicBezTo>
                <a:cubicBezTo>
                  <a:pt x="210" y="301"/>
                  <a:pt x="210" y="301"/>
                  <a:pt x="210" y="301"/>
                </a:cubicBezTo>
                <a:cubicBezTo>
                  <a:pt x="216" y="300"/>
                  <a:pt x="224" y="299"/>
                  <a:pt x="232" y="296"/>
                </a:cubicBezTo>
                <a:cubicBezTo>
                  <a:pt x="241" y="292"/>
                  <a:pt x="251" y="287"/>
                  <a:pt x="259" y="278"/>
                </a:cubicBezTo>
                <a:cubicBezTo>
                  <a:pt x="268" y="269"/>
                  <a:pt x="273" y="255"/>
                  <a:pt x="273" y="241"/>
                </a:cubicBezTo>
                <a:cubicBezTo>
                  <a:pt x="273" y="232"/>
                  <a:pt x="271" y="224"/>
                  <a:pt x="269" y="217"/>
                </a:cubicBezTo>
                <a:cubicBezTo>
                  <a:pt x="261" y="199"/>
                  <a:pt x="246" y="188"/>
                  <a:pt x="232" y="183"/>
                </a:cubicBezTo>
                <a:cubicBezTo>
                  <a:pt x="219" y="177"/>
                  <a:pt x="205" y="174"/>
                  <a:pt x="197" y="172"/>
                </a:cubicBezTo>
                <a:cubicBezTo>
                  <a:pt x="185" y="170"/>
                  <a:pt x="172" y="167"/>
                  <a:pt x="164" y="163"/>
                </a:cubicBezTo>
                <a:cubicBezTo>
                  <a:pt x="159" y="161"/>
                  <a:pt x="156" y="158"/>
                  <a:pt x="155" y="155"/>
                </a:cubicBezTo>
                <a:cubicBezTo>
                  <a:pt x="153" y="152"/>
                  <a:pt x="151" y="149"/>
                  <a:pt x="151" y="141"/>
                </a:cubicBezTo>
                <a:cubicBezTo>
                  <a:pt x="151" y="135"/>
                  <a:pt x="153" y="133"/>
                  <a:pt x="155" y="130"/>
                </a:cubicBezTo>
                <a:cubicBezTo>
                  <a:pt x="159" y="125"/>
                  <a:pt x="168" y="121"/>
                  <a:pt x="176" y="120"/>
                </a:cubicBezTo>
                <a:cubicBezTo>
                  <a:pt x="180" y="119"/>
                  <a:pt x="184" y="118"/>
                  <a:pt x="187" y="118"/>
                </a:cubicBezTo>
                <a:cubicBezTo>
                  <a:pt x="188" y="118"/>
                  <a:pt x="189" y="118"/>
                  <a:pt x="190" y="118"/>
                </a:cubicBezTo>
                <a:cubicBezTo>
                  <a:pt x="191" y="118"/>
                  <a:pt x="191" y="118"/>
                  <a:pt x="191" y="118"/>
                </a:cubicBezTo>
                <a:cubicBezTo>
                  <a:pt x="205" y="118"/>
                  <a:pt x="215" y="121"/>
                  <a:pt x="221" y="123"/>
                </a:cubicBezTo>
                <a:cubicBezTo>
                  <a:pt x="224" y="125"/>
                  <a:pt x="226" y="126"/>
                  <a:pt x="227" y="127"/>
                </a:cubicBezTo>
                <a:cubicBezTo>
                  <a:pt x="228" y="127"/>
                  <a:pt x="228" y="127"/>
                  <a:pt x="228" y="127"/>
                </a:cubicBezTo>
                <a:cubicBezTo>
                  <a:pt x="228" y="127"/>
                  <a:pt x="228" y="127"/>
                  <a:pt x="228" y="127"/>
                </a:cubicBezTo>
                <a:cubicBezTo>
                  <a:pt x="236" y="134"/>
                  <a:pt x="247" y="133"/>
                  <a:pt x="253" y="126"/>
                </a:cubicBezTo>
                <a:cubicBezTo>
                  <a:pt x="260" y="119"/>
                  <a:pt x="260" y="107"/>
                  <a:pt x="252" y="100"/>
                </a:cubicBezTo>
                <a:cubicBezTo>
                  <a:pt x="250" y="99"/>
                  <a:pt x="237" y="87"/>
                  <a:pt x="210" y="83"/>
                </a:cubicBezTo>
                <a:cubicBezTo>
                  <a:pt x="210" y="70"/>
                  <a:pt x="210" y="70"/>
                  <a:pt x="210" y="70"/>
                </a:cubicBezTo>
                <a:cubicBezTo>
                  <a:pt x="210" y="60"/>
                  <a:pt x="202" y="52"/>
                  <a:pt x="192" y="52"/>
                </a:cubicBezTo>
                <a:cubicBezTo>
                  <a:pt x="182" y="52"/>
                  <a:pt x="174" y="60"/>
                  <a:pt x="174" y="70"/>
                </a:cubicBezTo>
                <a:cubicBezTo>
                  <a:pt x="174" y="83"/>
                  <a:pt x="174" y="83"/>
                  <a:pt x="174" y="83"/>
                </a:cubicBezTo>
                <a:cubicBezTo>
                  <a:pt x="168" y="84"/>
                  <a:pt x="162" y="86"/>
                  <a:pt x="156" y="88"/>
                </a:cubicBezTo>
                <a:cubicBezTo>
                  <a:pt x="147" y="92"/>
                  <a:pt x="137" y="97"/>
                  <a:pt x="129" y="105"/>
                </a:cubicBezTo>
                <a:cubicBezTo>
                  <a:pt x="121" y="114"/>
                  <a:pt x="115" y="127"/>
                  <a:pt x="115" y="141"/>
                </a:cubicBezTo>
                <a:cubicBezTo>
                  <a:pt x="115" y="154"/>
                  <a:pt x="118" y="166"/>
                  <a:pt x="124" y="175"/>
                </a:cubicBezTo>
                <a:cubicBezTo>
                  <a:pt x="134" y="189"/>
                  <a:pt x="147" y="196"/>
                  <a:pt x="159" y="200"/>
                </a:cubicBezTo>
                <a:cubicBezTo>
                  <a:pt x="171" y="204"/>
                  <a:pt x="182" y="206"/>
                  <a:pt x="189" y="207"/>
                </a:cubicBezTo>
                <a:cubicBezTo>
                  <a:pt x="198" y="209"/>
                  <a:pt x="209" y="212"/>
                  <a:pt x="218" y="215"/>
                </a:cubicBezTo>
                <a:cubicBezTo>
                  <a:pt x="227" y="220"/>
                  <a:pt x="233" y="224"/>
                  <a:pt x="235" y="231"/>
                </a:cubicBezTo>
                <a:cubicBezTo>
                  <a:pt x="236" y="233"/>
                  <a:pt x="237" y="236"/>
                  <a:pt x="237" y="241"/>
                </a:cubicBezTo>
                <a:cubicBezTo>
                  <a:pt x="237" y="247"/>
                  <a:pt x="235" y="251"/>
                  <a:pt x="232" y="254"/>
                </a:cubicBezTo>
                <a:cubicBezTo>
                  <a:pt x="228" y="259"/>
                  <a:pt x="220" y="263"/>
                  <a:pt x="211" y="265"/>
                </a:cubicBezTo>
                <a:cubicBezTo>
                  <a:pt x="202" y="267"/>
                  <a:pt x="194" y="267"/>
                  <a:pt x="192" y="267"/>
                </a:cubicBezTo>
                <a:cubicBezTo>
                  <a:pt x="192" y="267"/>
                  <a:pt x="192" y="267"/>
                  <a:pt x="192" y="267"/>
                </a:cubicBezTo>
                <a:cubicBezTo>
                  <a:pt x="180" y="267"/>
                  <a:pt x="167" y="262"/>
                  <a:pt x="157" y="257"/>
                </a:cubicBezTo>
                <a:cubicBezTo>
                  <a:pt x="152" y="254"/>
                  <a:pt x="147" y="251"/>
                  <a:pt x="145" y="249"/>
                </a:cubicBezTo>
                <a:cubicBezTo>
                  <a:pt x="143" y="248"/>
                  <a:pt x="142" y="248"/>
                  <a:pt x="141" y="247"/>
                </a:cubicBezTo>
                <a:cubicBezTo>
                  <a:pt x="141" y="247"/>
                  <a:pt x="141" y="247"/>
                  <a:pt x="141" y="247"/>
                </a:cubicBezTo>
                <a:cubicBezTo>
                  <a:pt x="141" y="246"/>
                  <a:pt x="141" y="246"/>
                  <a:pt x="141" y="246"/>
                </a:cubicBezTo>
                <a:cubicBezTo>
                  <a:pt x="133" y="240"/>
                  <a:pt x="121" y="241"/>
                  <a:pt x="115" y="249"/>
                </a:cubicBezTo>
                <a:cubicBezTo>
                  <a:pt x="109" y="257"/>
                  <a:pt x="110" y="268"/>
                  <a:pt x="118" y="274"/>
                </a:cubicBezTo>
                <a:cubicBezTo>
                  <a:pt x="119" y="275"/>
                  <a:pt x="127" y="282"/>
                  <a:pt x="140" y="289"/>
                </a:cubicBezTo>
                <a:cubicBezTo>
                  <a:pt x="149" y="293"/>
                  <a:pt x="161" y="298"/>
                  <a:pt x="174" y="301"/>
                </a:cubicBezTo>
                <a:cubicBezTo>
                  <a:pt x="174" y="315"/>
                  <a:pt x="174" y="315"/>
                  <a:pt x="174" y="315"/>
                </a:cubicBezTo>
                <a:cubicBezTo>
                  <a:pt x="174" y="325"/>
                  <a:pt x="182" y="333"/>
                  <a:pt x="192" y="333"/>
                </a:cubicBezTo>
                <a:close/>
                <a:moveTo>
                  <a:pt x="339" y="68"/>
                </a:moveTo>
                <a:cubicBezTo>
                  <a:pt x="336" y="64"/>
                  <a:pt x="331" y="64"/>
                  <a:pt x="327" y="67"/>
                </a:cubicBezTo>
                <a:cubicBezTo>
                  <a:pt x="324" y="70"/>
                  <a:pt x="323" y="75"/>
                  <a:pt x="326" y="78"/>
                </a:cubicBezTo>
                <a:cubicBezTo>
                  <a:pt x="353" y="109"/>
                  <a:pt x="369" y="149"/>
                  <a:pt x="369" y="193"/>
                </a:cubicBezTo>
                <a:cubicBezTo>
                  <a:pt x="369" y="241"/>
                  <a:pt x="349" y="285"/>
                  <a:pt x="317" y="317"/>
                </a:cubicBezTo>
                <a:cubicBezTo>
                  <a:pt x="285" y="349"/>
                  <a:pt x="241" y="369"/>
                  <a:pt x="192" y="369"/>
                </a:cubicBezTo>
                <a:cubicBezTo>
                  <a:pt x="143" y="369"/>
                  <a:pt x="99" y="349"/>
                  <a:pt x="67" y="317"/>
                </a:cubicBezTo>
                <a:cubicBezTo>
                  <a:pt x="35" y="285"/>
                  <a:pt x="16" y="241"/>
                  <a:pt x="16" y="193"/>
                </a:cubicBezTo>
                <a:cubicBezTo>
                  <a:pt x="16" y="144"/>
                  <a:pt x="35" y="100"/>
                  <a:pt x="67" y="68"/>
                </a:cubicBezTo>
                <a:cubicBezTo>
                  <a:pt x="99" y="36"/>
                  <a:pt x="143" y="16"/>
                  <a:pt x="192" y="16"/>
                </a:cubicBezTo>
                <a:cubicBezTo>
                  <a:pt x="234" y="16"/>
                  <a:pt x="273" y="31"/>
                  <a:pt x="304" y="56"/>
                </a:cubicBezTo>
                <a:cubicBezTo>
                  <a:pt x="307" y="59"/>
                  <a:pt x="312" y="58"/>
                  <a:pt x="315" y="55"/>
                </a:cubicBezTo>
                <a:cubicBezTo>
                  <a:pt x="318" y="51"/>
                  <a:pt x="317" y="46"/>
                  <a:pt x="314" y="43"/>
                </a:cubicBezTo>
                <a:cubicBezTo>
                  <a:pt x="314" y="43"/>
                  <a:pt x="314" y="43"/>
                  <a:pt x="314" y="43"/>
                </a:cubicBezTo>
                <a:cubicBezTo>
                  <a:pt x="281" y="16"/>
                  <a:pt x="238" y="0"/>
                  <a:pt x="192" y="0"/>
                </a:cubicBezTo>
                <a:cubicBezTo>
                  <a:pt x="86" y="0"/>
                  <a:pt x="0" y="86"/>
                  <a:pt x="0" y="193"/>
                </a:cubicBezTo>
                <a:cubicBezTo>
                  <a:pt x="0" y="299"/>
                  <a:pt x="86" y="385"/>
                  <a:pt x="192" y="385"/>
                </a:cubicBezTo>
                <a:cubicBezTo>
                  <a:pt x="298" y="385"/>
                  <a:pt x="385" y="299"/>
                  <a:pt x="385" y="193"/>
                </a:cubicBezTo>
                <a:cubicBezTo>
                  <a:pt x="385" y="145"/>
                  <a:pt x="367" y="101"/>
                  <a:pt x="339" y="68"/>
                </a:cubicBezTo>
                <a:close/>
              </a:path>
            </a:pathLst>
          </a:custGeom>
          <a:solidFill>
            <a:srgbClr val="FFFFFF"/>
          </a:solidFill>
          <a:ln>
            <a:noFill/>
          </a:ln>
          <a:extLst>
            <a:ext uri="{91240B29-F687-4F45-9708-019B960494DF}">
              <a14:hiddenLine xmlns:a14="http://schemas.microsoft.com/office/drawing/2010/main" w="9525" cap="flat" cmpd="sng">
                <a:solidFill>
                  <a:srgbClr val="FFFFFF"/>
                </a:solidFill>
                <a:prstDash val="solid"/>
                <a:miter lim="800000"/>
                <a:headEnd type="none" w="med" len="med"/>
                <a:tailEnd type="none" w="med" len="med"/>
              </a14:hiddenLine>
            </a:ext>
          </a:extLst>
        </p:spPr>
        <p:txBody>
          <a:bodyPr/>
          <a:lstStyle/>
          <a:p>
            <a:endParaRPr lang="en-US" dirty="0"/>
          </a:p>
        </p:txBody>
      </p:sp>
      <p:grpSp>
        <p:nvGrpSpPr>
          <p:cNvPr id="98" name="Grupp 8">
            <a:extLst>
              <a:ext uri="{FF2B5EF4-FFF2-40B4-BE49-F238E27FC236}">
                <a16:creationId xmlns:a16="http://schemas.microsoft.com/office/drawing/2014/main" id="{88CB1AE1-0B58-4879-9430-AB1EA851D2AA}"/>
              </a:ext>
            </a:extLst>
          </p:cNvPr>
          <p:cNvGrpSpPr/>
          <p:nvPr/>
        </p:nvGrpSpPr>
        <p:grpSpPr>
          <a:xfrm>
            <a:off x="3232870" y="4058211"/>
            <a:ext cx="720000" cy="720000"/>
            <a:chOff x="3229395" y="3853350"/>
            <a:chExt cx="720000" cy="720000"/>
          </a:xfrm>
        </p:grpSpPr>
        <p:sp>
          <p:nvSpPr>
            <p:cNvPr id="99" name="Oval 70">
              <a:extLst>
                <a:ext uri="{FF2B5EF4-FFF2-40B4-BE49-F238E27FC236}">
                  <a16:creationId xmlns:a16="http://schemas.microsoft.com/office/drawing/2014/main" id="{0218F732-4BA6-433B-BF9F-19320BCF45FC}"/>
                </a:ext>
              </a:extLst>
            </p:cNvPr>
            <p:cNvSpPr>
              <a:spLocks noChangeArrowheads="1"/>
            </p:cNvSpPr>
            <p:nvPr/>
          </p:nvSpPr>
          <p:spPr bwMode="auto">
            <a:xfrm>
              <a:off x="3229395" y="3853350"/>
              <a:ext cx="720000" cy="720000"/>
            </a:xfrm>
            <a:prstGeom prst="ellipse">
              <a:avLst/>
            </a:prstGeom>
            <a:solidFill>
              <a:srgbClr val="7E1563"/>
            </a:solidFill>
            <a:ln w="38100">
              <a:solidFill>
                <a:schemeClr val="bg1"/>
              </a:solidFill>
              <a:round/>
              <a:headEnd/>
              <a:tailEnd/>
            </a:ln>
          </p:spPr>
          <p:txBody>
            <a:bodyPr wrap="none" lIns="72000" rIns="72000"/>
            <a:lstStyle/>
            <a:p>
              <a:endParaRPr lang="en-US" dirty="0">
                <a:cs typeface="Arial" charset="0"/>
              </a:endParaRPr>
            </a:p>
          </p:txBody>
        </p:sp>
        <p:sp>
          <p:nvSpPr>
            <p:cNvPr id="100" name="Freeform 72">
              <a:extLst>
                <a:ext uri="{FF2B5EF4-FFF2-40B4-BE49-F238E27FC236}">
                  <a16:creationId xmlns:a16="http://schemas.microsoft.com/office/drawing/2014/main" id="{0EC7F8FE-05F6-4E7F-83A7-DF7755A0E424}"/>
                </a:ext>
              </a:extLst>
            </p:cNvPr>
            <p:cNvSpPr>
              <a:spLocks noChangeAspect="1" noEditPoints="1"/>
            </p:cNvSpPr>
            <p:nvPr/>
          </p:nvSpPr>
          <p:spPr bwMode="auto">
            <a:xfrm>
              <a:off x="3392421" y="4089253"/>
              <a:ext cx="415522" cy="263147"/>
            </a:xfrm>
            <a:custGeom>
              <a:avLst/>
              <a:gdLst>
                <a:gd name="T0" fmla="*/ 2147483647 w 439"/>
                <a:gd name="T1" fmla="*/ 2147483647 h 273"/>
                <a:gd name="T2" fmla="*/ 2147483647 w 439"/>
                <a:gd name="T3" fmla="*/ 2147483647 h 273"/>
                <a:gd name="T4" fmla="*/ 2147483647 w 439"/>
                <a:gd name="T5" fmla="*/ 2147483647 h 273"/>
                <a:gd name="T6" fmla="*/ 2147483647 w 439"/>
                <a:gd name="T7" fmla="*/ 2147483647 h 273"/>
                <a:gd name="T8" fmla="*/ 2147483647 w 439"/>
                <a:gd name="T9" fmla="*/ 2147483647 h 273"/>
                <a:gd name="T10" fmla="*/ 2147483647 w 439"/>
                <a:gd name="T11" fmla="*/ 2147483647 h 273"/>
                <a:gd name="T12" fmla="*/ 2147483647 w 439"/>
                <a:gd name="T13" fmla="*/ 2147483647 h 273"/>
                <a:gd name="T14" fmla="*/ 2147483647 w 439"/>
                <a:gd name="T15" fmla="*/ 2147483647 h 273"/>
                <a:gd name="T16" fmla="*/ 2147483647 w 439"/>
                <a:gd name="T17" fmla="*/ 2147483647 h 273"/>
                <a:gd name="T18" fmla="*/ 2147483647 w 439"/>
                <a:gd name="T19" fmla="*/ 2147483647 h 273"/>
                <a:gd name="T20" fmla="*/ 2147483647 w 439"/>
                <a:gd name="T21" fmla="*/ 0 h 273"/>
                <a:gd name="T22" fmla="*/ 0 w 439"/>
                <a:gd name="T23" fmla="*/ 2147483647 h 273"/>
                <a:gd name="T24" fmla="*/ 2147483647 w 439"/>
                <a:gd name="T25" fmla="*/ 2147483647 h 273"/>
                <a:gd name="T26" fmla="*/ 2147483647 w 439"/>
                <a:gd name="T27" fmla="*/ 2147483647 h 273"/>
                <a:gd name="T28" fmla="*/ 2147483647 w 439"/>
                <a:gd name="T29" fmla="*/ 2147483647 h 273"/>
                <a:gd name="T30" fmla="*/ 2147483647 w 439"/>
                <a:gd name="T31" fmla="*/ 2147483647 h 273"/>
                <a:gd name="T32" fmla="*/ 2147483647 w 439"/>
                <a:gd name="T33" fmla="*/ 2147483647 h 273"/>
                <a:gd name="T34" fmla="*/ 2147483647 w 439"/>
                <a:gd name="T35" fmla="*/ 2147483647 h 273"/>
                <a:gd name="T36" fmla="*/ 2147483647 w 439"/>
                <a:gd name="T37" fmla="*/ 2147483647 h 273"/>
                <a:gd name="T38" fmla="*/ 2147483647 w 439"/>
                <a:gd name="T39" fmla="*/ 2147483647 h 273"/>
                <a:gd name="T40" fmla="*/ 2147483647 w 439"/>
                <a:gd name="T41" fmla="*/ 2147483647 h 273"/>
                <a:gd name="T42" fmla="*/ 2147483647 w 439"/>
                <a:gd name="T43" fmla="*/ 2147483647 h 273"/>
                <a:gd name="T44" fmla="*/ 2147483647 w 439"/>
                <a:gd name="T45" fmla="*/ 2147483647 h 273"/>
                <a:gd name="T46" fmla="*/ 2147483647 w 439"/>
                <a:gd name="T47" fmla="*/ 2147483647 h 273"/>
                <a:gd name="T48" fmla="*/ 2147483647 w 439"/>
                <a:gd name="T49" fmla="*/ 2147483647 h 273"/>
                <a:gd name="T50" fmla="*/ 2147483647 w 439"/>
                <a:gd name="T51" fmla="*/ 2147483647 h 273"/>
                <a:gd name="T52" fmla="*/ 2147483647 w 439"/>
                <a:gd name="T53" fmla="*/ 2147483647 h 273"/>
                <a:gd name="T54" fmla="*/ 2147483647 w 439"/>
                <a:gd name="T55" fmla="*/ 2147483647 h 273"/>
                <a:gd name="T56" fmla="*/ 2147483647 w 439"/>
                <a:gd name="T57" fmla="*/ 2147483647 h 273"/>
                <a:gd name="T58" fmla="*/ 2147483647 w 439"/>
                <a:gd name="T59" fmla="*/ 2147483647 h 273"/>
                <a:gd name="T60" fmla="*/ 2147483647 w 439"/>
                <a:gd name="T61" fmla="*/ 2147483647 h 273"/>
                <a:gd name="T62" fmla="*/ 2147483647 w 439"/>
                <a:gd name="T63" fmla="*/ 2147483647 h 273"/>
                <a:gd name="T64" fmla="*/ 2147483647 w 439"/>
                <a:gd name="T65" fmla="*/ 2147483647 h 2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39"/>
                <a:gd name="T100" fmla="*/ 0 h 273"/>
                <a:gd name="T101" fmla="*/ 439 w 439"/>
                <a:gd name="T102" fmla="*/ 273 h 2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39" h="273">
                  <a:moveTo>
                    <a:pt x="421" y="82"/>
                  </a:moveTo>
                  <a:cubicBezTo>
                    <a:pt x="403" y="82"/>
                    <a:pt x="403" y="82"/>
                    <a:pt x="403" y="82"/>
                  </a:cubicBezTo>
                  <a:cubicBezTo>
                    <a:pt x="403" y="66"/>
                    <a:pt x="403" y="66"/>
                    <a:pt x="403" y="66"/>
                  </a:cubicBezTo>
                  <a:cubicBezTo>
                    <a:pt x="403" y="62"/>
                    <a:pt x="400" y="58"/>
                    <a:pt x="395" y="58"/>
                  </a:cubicBezTo>
                  <a:cubicBezTo>
                    <a:pt x="391" y="58"/>
                    <a:pt x="388" y="62"/>
                    <a:pt x="388" y="66"/>
                  </a:cubicBezTo>
                  <a:cubicBezTo>
                    <a:pt x="388" y="89"/>
                    <a:pt x="388" y="89"/>
                    <a:pt x="388" y="89"/>
                  </a:cubicBezTo>
                  <a:cubicBezTo>
                    <a:pt x="388" y="89"/>
                    <a:pt x="388" y="89"/>
                    <a:pt x="388" y="89"/>
                  </a:cubicBezTo>
                  <a:cubicBezTo>
                    <a:pt x="388" y="184"/>
                    <a:pt x="388" y="184"/>
                    <a:pt x="388" y="184"/>
                  </a:cubicBezTo>
                  <a:cubicBezTo>
                    <a:pt x="388" y="185"/>
                    <a:pt x="388" y="185"/>
                    <a:pt x="388" y="185"/>
                  </a:cubicBezTo>
                  <a:cubicBezTo>
                    <a:pt x="388" y="250"/>
                    <a:pt x="388" y="250"/>
                    <a:pt x="388" y="250"/>
                  </a:cubicBezTo>
                  <a:cubicBezTo>
                    <a:pt x="388" y="255"/>
                    <a:pt x="384" y="259"/>
                    <a:pt x="380" y="259"/>
                  </a:cubicBezTo>
                  <a:cubicBezTo>
                    <a:pt x="23" y="259"/>
                    <a:pt x="23" y="259"/>
                    <a:pt x="23" y="259"/>
                  </a:cubicBezTo>
                  <a:cubicBezTo>
                    <a:pt x="18" y="259"/>
                    <a:pt x="14" y="255"/>
                    <a:pt x="14" y="250"/>
                  </a:cubicBezTo>
                  <a:cubicBezTo>
                    <a:pt x="14" y="23"/>
                    <a:pt x="14" y="23"/>
                    <a:pt x="14" y="23"/>
                  </a:cubicBezTo>
                  <a:cubicBezTo>
                    <a:pt x="14" y="19"/>
                    <a:pt x="18" y="15"/>
                    <a:pt x="23" y="15"/>
                  </a:cubicBezTo>
                  <a:cubicBezTo>
                    <a:pt x="380" y="15"/>
                    <a:pt x="380" y="15"/>
                    <a:pt x="380" y="15"/>
                  </a:cubicBezTo>
                  <a:cubicBezTo>
                    <a:pt x="384" y="15"/>
                    <a:pt x="388" y="19"/>
                    <a:pt x="388" y="23"/>
                  </a:cubicBezTo>
                  <a:cubicBezTo>
                    <a:pt x="388" y="36"/>
                    <a:pt x="388" y="36"/>
                    <a:pt x="388" y="36"/>
                  </a:cubicBezTo>
                  <a:cubicBezTo>
                    <a:pt x="388" y="40"/>
                    <a:pt x="391" y="43"/>
                    <a:pt x="395" y="43"/>
                  </a:cubicBezTo>
                  <a:cubicBezTo>
                    <a:pt x="400" y="43"/>
                    <a:pt x="403" y="40"/>
                    <a:pt x="403" y="36"/>
                  </a:cubicBezTo>
                  <a:cubicBezTo>
                    <a:pt x="403" y="23"/>
                    <a:pt x="403" y="23"/>
                    <a:pt x="403" y="23"/>
                  </a:cubicBezTo>
                  <a:cubicBezTo>
                    <a:pt x="403" y="10"/>
                    <a:pt x="393" y="0"/>
                    <a:pt x="380" y="0"/>
                  </a:cubicBezTo>
                  <a:cubicBezTo>
                    <a:pt x="23" y="0"/>
                    <a:pt x="23" y="0"/>
                    <a:pt x="23" y="0"/>
                  </a:cubicBezTo>
                  <a:cubicBezTo>
                    <a:pt x="10" y="0"/>
                    <a:pt x="0" y="10"/>
                    <a:pt x="0" y="23"/>
                  </a:cubicBezTo>
                  <a:cubicBezTo>
                    <a:pt x="0" y="250"/>
                    <a:pt x="0" y="250"/>
                    <a:pt x="0" y="250"/>
                  </a:cubicBezTo>
                  <a:cubicBezTo>
                    <a:pt x="0" y="263"/>
                    <a:pt x="10" y="273"/>
                    <a:pt x="23" y="273"/>
                  </a:cubicBezTo>
                  <a:cubicBezTo>
                    <a:pt x="380" y="273"/>
                    <a:pt x="380" y="273"/>
                    <a:pt x="380" y="273"/>
                  </a:cubicBezTo>
                  <a:cubicBezTo>
                    <a:pt x="393" y="273"/>
                    <a:pt x="403" y="263"/>
                    <a:pt x="403" y="250"/>
                  </a:cubicBezTo>
                  <a:cubicBezTo>
                    <a:pt x="403" y="192"/>
                    <a:pt x="403" y="192"/>
                    <a:pt x="403" y="192"/>
                  </a:cubicBezTo>
                  <a:cubicBezTo>
                    <a:pt x="421" y="192"/>
                    <a:pt x="421" y="192"/>
                    <a:pt x="421" y="192"/>
                  </a:cubicBezTo>
                  <a:cubicBezTo>
                    <a:pt x="431" y="192"/>
                    <a:pt x="439" y="184"/>
                    <a:pt x="439" y="174"/>
                  </a:cubicBezTo>
                  <a:cubicBezTo>
                    <a:pt x="439" y="99"/>
                    <a:pt x="439" y="99"/>
                    <a:pt x="439" y="99"/>
                  </a:cubicBezTo>
                  <a:cubicBezTo>
                    <a:pt x="439" y="89"/>
                    <a:pt x="431" y="82"/>
                    <a:pt x="421" y="82"/>
                  </a:cubicBezTo>
                  <a:close/>
                  <a:moveTo>
                    <a:pt x="424" y="174"/>
                  </a:moveTo>
                  <a:cubicBezTo>
                    <a:pt x="424" y="176"/>
                    <a:pt x="423" y="177"/>
                    <a:pt x="421" y="177"/>
                  </a:cubicBezTo>
                  <a:cubicBezTo>
                    <a:pt x="403" y="177"/>
                    <a:pt x="403" y="177"/>
                    <a:pt x="403" y="177"/>
                  </a:cubicBezTo>
                  <a:cubicBezTo>
                    <a:pt x="403" y="96"/>
                    <a:pt x="403" y="96"/>
                    <a:pt x="403" y="96"/>
                  </a:cubicBezTo>
                  <a:cubicBezTo>
                    <a:pt x="421" y="96"/>
                    <a:pt x="421" y="96"/>
                    <a:pt x="421" y="96"/>
                  </a:cubicBezTo>
                  <a:cubicBezTo>
                    <a:pt x="423" y="96"/>
                    <a:pt x="424" y="98"/>
                    <a:pt x="424" y="99"/>
                  </a:cubicBezTo>
                  <a:lnTo>
                    <a:pt x="424" y="174"/>
                  </a:lnTo>
                  <a:close/>
                  <a:moveTo>
                    <a:pt x="219" y="30"/>
                  </a:moveTo>
                  <a:cubicBezTo>
                    <a:pt x="213" y="30"/>
                    <a:pt x="209" y="34"/>
                    <a:pt x="209" y="40"/>
                  </a:cubicBezTo>
                  <a:cubicBezTo>
                    <a:pt x="209" y="234"/>
                    <a:pt x="209" y="234"/>
                    <a:pt x="209" y="234"/>
                  </a:cubicBezTo>
                  <a:cubicBezTo>
                    <a:pt x="209" y="240"/>
                    <a:pt x="213" y="245"/>
                    <a:pt x="219" y="245"/>
                  </a:cubicBezTo>
                  <a:cubicBezTo>
                    <a:pt x="271" y="245"/>
                    <a:pt x="271" y="245"/>
                    <a:pt x="271" y="245"/>
                  </a:cubicBezTo>
                  <a:cubicBezTo>
                    <a:pt x="277" y="245"/>
                    <a:pt x="282" y="240"/>
                    <a:pt x="282" y="234"/>
                  </a:cubicBezTo>
                  <a:cubicBezTo>
                    <a:pt x="282" y="40"/>
                    <a:pt x="282" y="40"/>
                    <a:pt x="282" y="40"/>
                  </a:cubicBezTo>
                  <a:cubicBezTo>
                    <a:pt x="282" y="34"/>
                    <a:pt x="277" y="30"/>
                    <a:pt x="271" y="30"/>
                  </a:cubicBezTo>
                  <a:lnTo>
                    <a:pt x="219" y="30"/>
                  </a:lnTo>
                  <a:close/>
                  <a:moveTo>
                    <a:pt x="130" y="30"/>
                  </a:moveTo>
                  <a:cubicBezTo>
                    <a:pt x="124" y="30"/>
                    <a:pt x="120" y="34"/>
                    <a:pt x="120" y="40"/>
                  </a:cubicBezTo>
                  <a:cubicBezTo>
                    <a:pt x="120" y="234"/>
                    <a:pt x="120" y="234"/>
                    <a:pt x="120" y="234"/>
                  </a:cubicBezTo>
                  <a:cubicBezTo>
                    <a:pt x="120" y="240"/>
                    <a:pt x="124" y="245"/>
                    <a:pt x="130" y="245"/>
                  </a:cubicBezTo>
                  <a:cubicBezTo>
                    <a:pt x="182" y="245"/>
                    <a:pt x="182" y="245"/>
                    <a:pt x="182" y="245"/>
                  </a:cubicBezTo>
                  <a:cubicBezTo>
                    <a:pt x="188" y="245"/>
                    <a:pt x="193" y="240"/>
                    <a:pt x="193" y="234"/>
                  </a:cubicBezTo>
                  <a:cubicBezTo>
                    <a:pt x="193" y="40"/>
                    <a:pt x="193" y="40"/>
                    <a:pt x="193" y="40"/>
                  </a:cubicBezTo>
                  <a:cubicBezTo>
                    <a:pt x="193" y="34"/>
                    <a:pt x="188" y="30"/>
                    <a:pt x="182" y="30"/>
                  </a:cubicBezTo>
                  <a:lnTo>
                    <a:pt x="130" y="30"/>
                  </a:lnTo>
                  <a:close/>
                  <a:moveTo>
                    <a:pt x="41" y="30"/>
                  </a:moveTo>
                  <a:cubicBezTo>
                    <a:pt x="36" y="30"/>
                    <a:pt x="31" y="34"/>
                    <a:pt x="31" y="40"/>
                  </a:cubicBezTo>
                  <a:cubicBezTo>
                    <a:pt x="31" y="234"/>
                    <a:pt x="31" y="234"/>
                    <a:pt x="31" y="234"/>
                  </a:cubicBezTo>
                  <a:cubicBezTo>
                    <a:pt x="31" y="240"/>
                    <a:pt x="36" y="245"/>
                    <a:pt x="41" y="245"/>
                  </a:cubicBezTo>
                  <a:cubicBezTo>
                    <a:pt x="93" y="245"/>
                    <a:pt x="93" y="245"/>
                    <a:pt x="93" y="245"/>
                  </a:cubicBezTo>
                  <a:cubicBezTo>
                    <a:pt x="99" y="245"/>
                    <a:pt x="104" y="240"/>
                    <a:pt x="104" y="234"/>
                  </a:cubicBezTo>
                  <a:cubicBezTo>
                    <a:pt x="104" y="40"/>
                    <a:pt x="104" y="40"/>
                    <a:pt x="104" y="40"/>
                  </a:cubicBezTo>
                  <a:cubicBezTo>
                    <a:pt x="104" y="34"/>
                    <a:pt x="99" y="30"/>
                    <a:pt x="93" y="30"/>
                  </a:cubicBezTo>
                  <a:lnTo>
                    <a:pt x="41" y="30"/>
                  </a:lnTo>
                  <a:close/>
                </a:path>
              </a:pathLst>
            </a:custGeom>
            <a:solidFill>
              <a:srgbClr val="FFFFFF"/>
            </a:solidFill>
            <a:ln w="38100" cap="flat" cmpd="sng">
              <a:noFill/>
              <a:prstDash val="solid"/>
              <a:miter lim="800000"/>
              <a:headEnd type="none" w="med" len="med"/>
              <a:tailEnd type="none" w="med" len="med"/>
            </a:ln>
            <a:extLst/>
          </p:spPr>
          <p:txBody>
            <a:bodyPr/>
            <a:lstStyle/>
            <a:p>
              <a:endParaRPr lang="en-US" dirty="0"/>
            </a:p>
          </p:txBody>
        </p:sp>
      </p:grpSp>
      <p:grpSp>
        <p:nvGrpSpPr>
          <p:cNvPr id="102" name="Group 101">
            <a:extLst>
              <a:ext uri="{FF2B5EF4-FFF2-40B4-BE49-F238E27FC236}">
                <a16:creationId xmlns:a16="http://schemas.microsoft.com/office/drawing/2014/main" id="{C3E9D0F5-FC69-4677-8C46-AF8E0A3DC378}"/>
              </a:ext>
            </a:extLst>
          </p:cNvPr>
          <p:cNvGrpSpPr/>
          <p:nvPr/>
        </p:nvGrpSpPr>
        <p:grpSpPr>
          <a:xfrm>
            <a:off x="4152567" y="4121957"/>
            <a:ext cx="736001" cy="720000"/>
            <a:chOff x="5923438" y="4131836"/>
            <a:chExt cx="736001" cy="720000"/>
          </a:xfrm>
        </p:grpSpPr>
        <p:sp>
          <p:nvSpPr>
            <p:cNvPr id="103" name="Oval 119">
              <a:extLst>
                <a:ext uri="{FF2B5EF4-FFF2-40B4-BE49-F238E27FC236}">
                  <a16:creationId xmlns:a16="http://schemas.microsoft.com/office/drawing/2014/main" id="{056FE61B-E96D-478C-B2AC-8A328FFB5847}"/>
                </a:ext>
              </a:extLst>
            </p:cNvPr>
            <p:cNvSpPr>
              <a:spLocks noChangeArrowheads="1"/>
            </p:cNvSpPr>
            <p:nvPr/>
          </p:nvSpPr>
          <p:spPr bwMode="auto">
            <a:xfrm>
              <a:off x="5923438" y="4131836"/>
              <a:ext cx="736001" cy="720000"/>
            </a:xfrm>
            <a:prstGeom prst="ellipse">
              <a:avLst/>
            </a:prstGeom>
            <a:solidFill>
              <a:srgbClr val="7E1563"/>
            </a:solidFill>
            <a:ln w="38100">
              <a:solidFill>
                <a:schemeClr val="bg1"/>
              </a:solidFill>
              <a:round/>
              <a:headEnd/>
              <a:tailEnd/>
            </a:ln>
          </p:spPr>
          <p:txBody>
            <a:bodyPr wrap="none" lIns="72000" rIns="72000"/>
            <a:lstStyle/>
            <a:p>
              <a:endParaRPr lang="en-US" dirty="0">
                <a:cs typeface="Arial" charset="0"/>
              </a:endParaRPr>
            </a:p>
          </p:txBody>
        </p:sp>
        <p:pic>
          <p:nvPicPr>
            <p:cNvPr id="121" name="Bildobjekt 7">
              <a:extLst>
                <a:ext uri="{FF2B5EF4-FFF2-40B4-BE49-F238E27FC236}">
                  <a16:creationId xmlns:a16="http://schemas.microsoft.com/office/drawing/2014/main" id="{B225D111-9416-44AC-8E7E-16ED74FD22AD}"/>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017176" y="4352309"/>
              <a:ext cx="545345" cy="30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8">
            <a:extLst>
              <a:ext uri="{FF2B5EF4-FFF2-40B4-BE49-F238E27FC236}">
                <a16:creationId xmlns:a16="http://schemas.microsoft.com/office/drawing/2014/main" id="{A8D1BBC8-7FC9-42F6-B71A-40E48AD28719}"/>
              </a:ext>
            </a:extLst>
          </p:cNvPr>
          <p:cNvGrpSpPr/>
          <p:nvPr/>
        </p:nvGrpSpPr>
        <p:grpSpPr>
          <a:xfrm>
            <a:off x="5088265" y="4174001"/>
            <a:ext cx="736001" cy="720000"/>
            <a:chOff x="5071612" y="4174001"/>
            <a:chExt cx="736001" cy="720000"/>
          </a:xfrm>
        </p:grpSpPr>
        <p:sp>
          <p:nvSpPr>
            <p:cNvPr id="123" name="Oval 119">
              <a:extLst>
                <a:ext uri="{FF2B5EF4-FFF2-40B4-BE49-F238E27FC236}">
                  <a16:creationId xmlns:a16="http://schemas.microsoft.com/office/drawing/2014/main" id="{BB15FC3C-2263-499B-979E-E8900C115CD2}"/>
                </a:ext>
              </a:extLst>
            </p:cNvPr>
            <p:cNvSpPr>
              <a:spLocks noChangeArrowheads="1"/>
            </p:cNvSpPr>
            <p:nvPr/>
          </p:nvSpPr>
          <p:spPr bwMode="auto">
            <a:xfrm>
              <a:off x="5071612" y="4174001"/>
              <a:ext cx="736001" cy="720000"/>
            </a:xfrm>
            <a:prstGeom prst="ellipse">
              <a:avLst/>
            </a:prstGeom>
            <a:solidFill>
              <a:srgbClr val="7E1563"/>
            </a:solidFill>
            <a:ln w="38100">
              <a:solidFill>
                <a:schemeClr val="bg1"/>
              </a:solidFill>
              <a:round/>
              <a:headEnd/>
              <a:tailEnd/>
            </a:ln>
          </p:spPr>
          <p:txBody>
            <a:bodyPr wrap="none" lIns="72000" rIns="72000"/>
            <a:lstStyle/>
            <a:p>
              <a:endParaRPr lang="en-US" dirty="0">
                <a:cs typeface="Arial" charset="0"/>
              </a:endParaRPr>
            </a:p>
          </p:txBody>
        </p:sp>
        <p:sp>
          <p:nvSpPr>
            <p:cNvPr id="129" name="Freeform 3">
              <a:extLst>
                <a:ext uri="{FF2B5EF4-FFF2-40B4-BE49-F238E27FC236}">
                  <a16:creationId xmlns:a16="http://schemas.microsoft.com/office/drawing/2014/main" id="{E03215BE-2E54-4998-BB8F-A2D2E01527FD}"/>
                </a:ext>
              </a:extLst>
            </p:cNvPr>
            <p:cNvSpPr>
              <a:spLocks noChangeAspect="1" noEditPoints="1"/>
            </p:cNvSpPr>
            <p:nvPr/>
          </p:nvSpPr>
          <p:spPr bwMode="auto">
            <a:xfrm>
              <a:off x="5237119" y="4352815"/>
              <a:ext cx="428911" cy="360665"/>
            </a:xfrm>
            <a:custGeom>
              <a:avLst/>
              <a:gdLst>
                <a:gd name="T0" fmla="*/ 2147483647 w 402"/>
                <a:gd name="T1" fmla="*/ 2147483647 h 338"/>
                <a:gd name="T2" fmla="*/ 2147483647 w 402"/>
                <a:gd name="T3" fmla="*/ 2147483647 h 338"/>
                <a:gd name="T4" fmla="*/ 2147483647 w 402"/>
                <a:gd name="T5" fmla="*/ 2147483647 h 338"/>
                <a:gd name="T6" fmla="*/ 2147483647 w 402"/>
                <a:gd name="T7" fmla="*/ 2147483647 h 338"/>
                <a:gd name="T8" fmla="*/ 2147483647 w 402"/>
                <a:gd name="T9" fmla="*/ 2147483647 h 338"/>
                <a:gd name="T10" fmla="*/ 2147483647 w 402"/>
                <a:gd name="T11" fmla="*/ 2147483647 h 338"/>
                <a:gd name="T12" fmla="*/ 2147483647 w 402"/>
                <a:gd name="T13" fmla="*/ 2147483647 h 338"/>
                <a:gd name="T14" fmla="*/ 2147483647 w 402"/>
                <a:gd name="T15" fmla="*/ 2147483647 h 338"/>
                <a:gd name="T16" fmla="*/ 0 w 402"/>
                <a:gd name="T17" fmla="*/ 2147483647 h 338"/>
                <a:gd name="T18" fmla="*/ 2147483647 w 402"/>
                <a:gd name="T19" fmla="*/ 2147483647 h 338"/>
                <a:gd name="T20" fmla="*/ 2147483647 w 402"/>
                <a:gd name="T21" fmla="*/ 2147483647 h 338"/>
                <a:gd name="T22" fmla="*/ 2147483647 w 402"/>
                <a:gd name="T23" fmla="*/ 2147483647 h 338"/>
                <a:gd name="T24" fmla="*/ 2147483647 w 402"/>
                <a:gd name="T25" fmla="*/ 2147483647 h 338"/>
                <a:gd name="T26" fmla="*/ 2147483647 w 402"/>
                <a:gd name="T27" fmla="*/ 2147483647 h 338"/>
                <a:gd name="T28" fmla="*/ 2147483647 w 402"/>
                <a:gd name="T29" fmla="*/ 2147483647 h 338"/>
                <a:gd name="T30" fmla="*/ 2147483647 w 402"/>
                <a:gd name="T31" fmla="*/ 2147483647 h 338"/>
                <a:gd name="T32" fmla="*/ 2147483647 w 402"/>
                <a:gd name="T33" fmla="*/ 2147483647 h 338"/>
                <a:gd name="T34" fmla="*/ 2147483647 w 402"/>
                <a:gd name="T35" fmla="*/ 2147483647 h 338"/>
                <a:gd name="T36" fmla="*/ 2147483647 w 402"/>
                <a:gd name="T37" fmla="*/ 2147483647 h 338"/>
                <a:gd name="T38" fmla="*/ 2147483647 w 402"/>
                <a:gd name="T39" fmla="*/ 2147483647 h 338"/>
                <a:gd name="T40" fmla="*/ 2147483647 w 402"/>
                <a:gd name="T41" fmla="*/ 2147483647 h 338"/>
                <a:gd name="T42" fmla="*/ 2147483647 w 402"/>
                <a:gd name="T43" fmla="*/ 2147483647 h 338"/>
                <a:gd name="T44" fmla="*/ 2147483647 w 402"/>
                <a:gd name="T45" fmla="*/ 2147483647 h 338"/>
                <a:gd name="T46" fmla="*/ 2147483647 w 402"/>
                <a:gd name="T47" fmla="*/ 2147483647 h 338"/>
                <a:gd name="T48" fmla="*/ 2147483647 w 402"/>
                <a:gd name="T49" fmla="*/ 2147483647 h 338"/>
                <a:gd name="T50" fmla="*/ 2147483647 w 402"/>
                <a:gd name="T51" fmla="*/ 2147483647 h 338"/>
                <a:gd name="T52" fmla="*/ 2147483647 w 402"/>
                <a:gd name="T53" fmla="*/ 2147483647 h 338"/>
                <a:gd name="T54" fmla="*/ 2147483647 w 402"/>
                <a:gd name="T55" fmla="*/ 2147483647 h 338"/>
                <a:gd name="T56" fmla="*/ 2147483647 w 402"/>
                <a:gd name="T57" fmla="*/ 2147483647 h 338"/>
                <a:gd name="T58" fmla="*/ 2147483647 w 402"/>
                <a:gd name="T59" fmla="*/ 2147483647 h 338"/>
                <a:gd name="T60" fmla="*/ 2147483647 w 402"/>
                <a:gd name="T61" fmla="*/ 2147483647 h 338"/>
                <a:gd name="T62" fmla="*/ 2147483647 w 402"/>
                <a:gd name="T63" fmla="*/ 2147483647 h 338"/>
                <a:gd name="T64" fmla="*/ 2147483647 w 402"/>
                <a:gd name="T65" fmla="*/ 2147483647 h 338"/>
                <a:gd name="T66" fmla="*/ 2147483647 w 402"/>
                <a:gd name="T67" fmla="*/ 2147483647 h 338"/>
                <a:gd name="T68" fmla="*/ 2147483647 w 402"/>
                <a:gd name="T69" fmla="*/ 2147483647 h 338"/>
                <a:gd name="T70" fmla="*/ 2147483647 w 402"/>
                <a:gd name="T71" fmla="*/ 2147483647 h 338"/>
                <a:gd name="T72" fmla="*/ 2147483647 w 402"/>
                <a:gd name="T73" fmla="*/ 2147483647 h 338"/>
                <a:gd name="T74" fmla="*/ 2147483647 w 402"/>
                <a:gd name="T75" fmla="*/ 2147483647 h 338"/>
                <a:gd name="T76" fmla="*/ 2147483647 w 402"/>
                <a:gd name="T77" fmla="*/ 2147483647 h 338"/>
                <a:gd name="T78" fmla="*/ 2147483647 w 402"/>
                <a:gd name="T79" fmla="*/ 2147483647 h 338"/>
                <a:gd name="T80" fmla="*/ 2147483647 w 402"/>
                <a:gd name="T81" fmla="*/ 2147483647 h 3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02" h="338">
                  <a:moveTo>
                    <a:pt x="322" y="15"/>
                  </a:moveTo>
                  <a:cubicBezTo>
                    <a:pt x="334" y="27"/>
                    <a:pt x="344" y="39"/>
                    <a:pt x="352" y="53"/>
                  </a:cubicBezTo>
                  <a:cubicBezTo>
                    <a:pt x="354" y="55"/>
                    <a:pt x="356" y="56"/>
                    <a:pt x="359" y="56"/>
                  </a:cubicBezTo>
                  <a:cubicBezTo>
                    <a:pt x="360" y="56"/>
                    <a:pt x="362" y="56"/>
                    <a:pt x="363" y="55"/>
                  </a:cubicBezTo>
                  <a:cubicBezTo>
                    <a:pt x="367" y="53"/>
                    <a:pt x="368" y="48"/>
                    <a:pt x="366" y="44"/>
                  </a:cubicBezTo>
                  <a:cubicBezTo>
                    <a:pt x="357" y="30"/>
                    <a:pt x="346" y="16"/>
                    <a:pt x="333" y="3"/>
                  </a:cubicBezTo>
                  <a:cubicBezTo>
                    <a:pt x="330" y="0"/>
                    <a:pt x="325" y="0"/>
                    <a:pt x="322" y="3"/>
                  </a:cubicBezTo>
                  <a:cubicBezTo>
                    <a:pt x="319" y="7"/>
                    <a:pt x="319" y="12"/>
                    <a:pt x="322" y="15"/>
                  </a:cubicBezTo>
                  <a:close/>
                  <a:moveTo>
                    <a:pt x="163" y="47"/>
                  </a:moveTo>
                  <a:cubicBezTo>
                    <a:pt x="136" y="47"/>
                    <a:pt x="136" y="47"/>
                    <a:pt x="136" y="47"/>
                  </a:cubicBezTo>
                  <a:cubicBezTo>
                    <a:pt x="131" y="47"/>
                    <a:pt x="126" y="49"/>
                    <a:pt x="122" y="53"/>
                  </a:cubicBezTo>
                  <a:cubicBezTo>
                    <a:pt x="64" y="111"/>
                    <a:pt x="64" y="111"/>
                    <a:pt x="64" y="111"/>
                  </a:cubicBezTo>
                  <a:cubicBezTo>
                    <a:pt x="64" y="111"/>
                    <a:pt x="64" y="111"/>
                    <a:pt x="64" y="111"/>
                  </a:cubicBezTo>
                  <a:cubicBezTo>
                    <a:pt x="61" y="114"/>
                    <a:pt x="56" y="117"/>
                    <a:pt x="51" y="118"/>
                  </a:cubicBezTo>
                  <a:cubicBezTo>
                    <a:pt x="49" y="119"/>
                    <a:pt x="47" y="119"/>
                    <a:pt x="46" y="119"/>
                  </a:cubicBezTo>
                  <a:cubicBezTo>
                    <a:pt x="45" y="119"/>
                    <a:pt x="44" y="119"/>
                    <a:pt x="44" y="119"/>
                  </a:cubicBezTo>
                  <a:cubicBezTo>
                    <a:pt x="20" y="119"/>
                    <a:pt x="20" y="119"/>
                    <a:pt x="20" y="119"/>
                  </a:cubicBezTo>
                  <a:cubicBezTo>
                    <a:pt x="9" y="119"/>
                    <a:pt x="0" y="128"/>
                    <a:pt x="0" y="139"/>
                  </a:cubicBezTo>
                  <a:cubicBezTo>
                    <a:pt x="0" y="201"/>
                    <a:pt x="0" y="201"/>
                    <a:pt x="0" y="201"/>
                  </a:cubicBezTo>
                  <a:cubicBezTo>
                    <a:pt x="0" y="211"/>
                    <a:pt x="9" y="220"/>
                    <a:pt x="20" y="220"/>
                  </a:cubicBezTo>
                  <a:cubicBezTo>
                    <a:pt x="44" y="220"/>
                    <a:pt x="44" y="220"/>
                    <a:pt x="44" y="220"/>
                  </a:cubicBezTo>
                  <a:cubicBezTo>
                    <a:pt x="45" y="220"/>
                    <a:pt x="48" y="221"/>
                    <a:pt x="51" y="222"/>
                  </a:cubicBezTo>
                  <a:cubicBezTo>
                    <a:pt x="56" y="223"/>
                    <a:pt x="61" y="225"/>
                    <a:pt x="64" y="228"/>
                  </a:cubicBezTo>
                  <a:cubicBezTo>
                    <a:pt x="123" y="287"/>
                    <a:pt x="123" y="287"/>
                    <a:pt x="123" y="287"/>
                  </a:cubicBezTo>
                  <a:cubicBezTo>
                    <a:pt x="123" y="287"/>
                    <a:pt x="123" y="287"/>
                    <a:pt x="123" y="287"/>
                  </a:cubicBezTo>
                  <a:cubicBezTo>
                    <a:pt x="126" y="291"/>
                    <a:pt x="131" y="293"/>
                    <a:pt x="136" y="293"/>
                  </a:cubicBezTo>
                  <a:cubicBezTo>
                    <a:pt x="163" y="293"/>
                    <a:pt x="163" y="293"/>
                    <a:pt x="163" y="293"/>
                  </a:cubicBezTo>
                  <a:cubicBezTo>
                    <a:pt x="174" y="293"/>
                    <a:pt x="182" y="284"/>
                    <a:pt x="182" y="273"/>
                  </a:cubicBezTo>
                  <a:cubicBezTo>
                    <a:pt x="182" y="66"/>
                    <a:pt x="182" y="66"/>
                    <a:pt x="182" y="66"/>
                  </a:cubicBezTo>
                  <a:cubicBezTo>
                    <a:pt x="182" y="55"/>
                    <a:pt x="174" y="47"/>
                    <a:pt x="163" y="47"/>
                  </a:cubicBezTo>
                  <a:close/>
                  <a:moveTo>
                    <a:pt x="166" y="273"/>
                  </a:moveTo>
                  <a:cubicBezTo>
                    <a:pt x="166" y="275"/>
                    <a:pt x="165" y="277"/>
                    <a:pt x="163" y="277"/>
                  </a:cubicBezTo>
                  <a:cubicBezTo>
                    <a:pt x="136" y="277"/>
                    <a:pt x="136" y="277"/>
                    <a:pt x="136" y="277"/>
                  </a:cubicBezTo>
                  <a:cubicBezTo>
                    <a:pt x="135" y="277"/>
                    <a:pt x="135" y="276"/>
                    <a:pt x="134" y="276"/>
                  </a:cubicBezTo>
                  <a:cubicBezTo>
                    <a:pt x="134" y="276"/>
                    <a:pt x="134" y="276"/>
                    <a:pt x="134" y="276"/>
                  </a:cubicBezTo>
                  <a:cubicBezTo>
                    <a:pt x="75" y="217"/>
                    <a:pt x="75" y="217"/>
                    <a:pt x="75" y="217"/>
                  </a:cubicBezTo>
                  <a:cubicBezTo>
                    <a:pt x="63" y="205"/>
                    <a:pt x="46" y="204"/>
                    <a:pt x="45" y="204"/>
                  </a:cubicBezTo>
                  <a:cubicBezTo>
                    <a:pt x="45" y="204"/>
                    <a:pt x="45" y="204"/>
                    <a:pt x="45" y="204"/>
                  </a:cubicBezTo>
                  <a:cubicBezTo>
                    <a:pt x="20" y="204"/>
                    <a:pt x="20" y="204"/>
                    <a:pt x="20" y="204"/>
                  </a:cubicBezTo>
                  <a:cubicBezTo>
                    <a:pt x="18" y="204"/>
                    <a:pt x="16" y="203"/>
                    <a:pt x="16" y="201"/>
                  </a:cubicBezTo>
                  <a:cubicBezTo>
                    <a:pt x="16" y="139"/>
                    <a:pt x="16" y="139"/>
                    <a:pt x="16" y="139"/>
                  </a:cubicBezTo>
                  <a:cubicBezTo>
                    <a:pt x="16" y="137"/>
                    <a:pt x="18" y="135"/>
                    <a:pt x="20" y="135"/>
                  </a:cubicBezTo>
                  <a:cubicBezTo>
                    <a:pt x="45" y="135"/>
                    <a:pt x="45" y="135"/>
                    <a:pt x="45" y="135"/>
                  </a:cubicBezTo>
                  <a:cubicBezTo>
                    <a:pt x="45" y="135"/>
                    <a:pt x="45" y="135"/>
                    <a:pt x="45" y="135"/>
                  </a:cubicBezTo>
                  <a:cubicBezTo>
                    <a:pt x="46" y="135"/>
                    <a:pt x="63" y="135"/>
                    <a:pt x="75" y="122"/>
                  </a:cubicBezTo>
                  <a:cubicBezTo>
                    <a:pt x="75" y="122"/>
                    <a:pt x="75" y="122"/>
                    <a:pt x="75" y="122"/>
                  </a:cubicBezTo>
                  <a:cubicBezTo>
                    <a:pt x="134" y="64"/>
                    <a:pt x="134" y="64"/>
                    <a:pt x="134" y="64"/>
                  </a:cubicBezTo>
                  <a:cubicBezTo>
                    <a:pt x="135" y="63"/>
                    <a:pt x="135" y="63"/>
                    <a:pt x="136" y="63"/>
                  </a:cubicBezTo>
                  <a:cubicBezTo>
                    <a:pt x="163" y="63"/>
                    <a:pt x="163" y="63"/>
                    <a:pt x="163" y="63"/>
                  </a:cubicBezTo>
                  <a:cubicBezTo>
                    <a:pt x="165" y="63"/>
                    <a:pt x="166" y="64"/>
                    <a:pt x="166" y="66"/>
                  </a:cubicBezTo>
                  <a:lnTo>
                    <a:pt x="166" y="273"/>
                  </a:lnTo>
                  <a:close/>
                  <a:moveTo>
                    <a:pt x="381" y="72"/>
                  </a:moveTo>
                  <a:cubicBezTo>
                    <a:pt x="379" y="68"/>
                    <a:pt x="374" y="67"/>
                    <a:pt x="370" y="68"/>
                  </a:cubicBezTo>
                  <a:cubicBezTo>
                    <a:pt x="366" y="70"/>
                    <a:pt x="365" y="75"/>
                    <a:pt x="366" y="79"/>
                  </a:cubicBezTo>
                  <a:cubicBezTo>
                    <a:pt x="366" y="79"/>
                    <a:pt x="366" y="79"/>
                    <a:pt x="366" y="79"/>
                  </a:cubicBezTo>
                  <a:cubicBezTo>
                    <a:pt x="380" y="108"/>
                    <a:pt x="386" y="139"/>
                    <a:pt x="386" y="170"/>
                  </a:cubicBezTo>
                  <a:cubicBezTo>
                    <a:pt x="386" y="226"/>
                    <a:pt x="365" y="282"/>
                    <a:pt x="322" y="325"/>
                  </a:cubicBezTo>
                  <a:cubicBezTo>
                    <a:pt x="319" y="328"/>
                    <a:pt x="319" y="333"/>
                    <a:pt x="322" y="336"/>
                  </a:cubicBezTo>
                  <a:cubicBezTo>
                    <a:pt x="323" y="338"/>
                    <a:pt x="325" y="338"/>
                    <a:pt x="328" y="338"/>
                  </a:cubicBezTo>
                  <a:cubicBezTo>
                    <a:pt x="330" y="338"/>
                    <a:pt x="332" y="338"/>
                    <a:pt x="333" y="336"/>
                  </a:cubicBezTo>
                  <a:cubicBezTo>
                    <a:pt x="379" y="290"/>
                    <a:pt x="402" y="230"/>
                    <a:pt x="402" y="170"/>
                  </a:cubicBezTo>
                  <a:cubicBezTo>
                    <a:pt x="402" y="137"/>
                    <a:pt x="395" y="103"/>
                    <a:pt x="381" y="72"/>
                  </a:cubicBezTo>
                  <a:close/>
                  <a:moveTo>
                    <a:pt x="285" y="52"/>
                  </a:moveTo>
                  <a:cubicBezTo>
                    <a:pt x="282" y="48"/>
                    <a:pt x="277" y="48"/>
                    <a:pt x="274" y="52"/>
                  </a:cubicBezTo>
                  <a:cubicBezTo>
                    <a:pt x="271" y="55"/>
                    <a:pt x="271" y="60"/>
                    <a:pt x="274" y="63"/>
                  </a:cubicBezTo>
                  <a:cubicBezTo>
                    <a:pt x="303" y="92"/>
                    <a:pt x="318" y="131"/>
                    <a:pt x="318" y="170"/>
                  </a:cubicBezTo>
                  <a:cubicBezTo>
                    <a:pt x="318" y="208"/>
                    <a:pt x="303" y="247"/>
                    <a:pt x="274" y="277"/>
                  </a:cubicBezTo>
                  <a:cubicBezTo>
                    <a:pt x="271" y="280"/>
                    <a:pt x="271" y="285"/>
                    <a:pt x="274" y="288"/>
                  </a:cubicBezTo>
                  <a:cubicBezTo>
                    <a:pt x="275" y="290"/>
                    <a:pt x="277" y="290"/>
                    <a:pt x="279" y="290"/>
                  </a:cubicBezTo>
                  <a:cubicBezTo>
                    <a:pt x="281" y="290"/>
                    <a:pt x="283" y="290"/>
                    <a:pt x="285" y="288"/>
                  </a:cubicBezTo>
                  <a:cubicBezTo>
                    <a:pt x="318" y="255"/>
                    <a:pt x="334" y="213"/>
                    <a:pt x="334" y="170"/>
                  </a:cubicBezTo>
                  <a:cubicBezTo>
                    <a:pt x="334" y="127"/>
                    <a:pt x="318" y="84"/>
                    <a:pt x="285" y="52"/>
                  </a:cubicBezTo>
                  <a:close/>
                  <a:moveTo>
                    <a:pt x="226" y="100"/>
                  </a:moveTo>
                  <a:cubicBezTo>
                    <a:pt x="222" y="103"/>
                    <a:pt x="222" y="108"/>
                    <a:pt x="226" y="111"/>
                  </a:cubicBezTo>
                  <a:cubicBezTo>
                    <a:pt x="226" y="111"/>
                    <a:pt x="226" y="111"/>
                    <a:pt x="226" y="111"/>
                  </a:cubicBezTo>
                  <a:cubicBezTo>
                    <a:pt x="242" y="127"/>
                    <a:pt x="250" y="149"/>
                    <a:pt x="250" y="170"/>
                  </a:cubicBezTo>
                  <a:cubicBezTo>
                    <a:pt x="250" y="191"/>
                    <a:pt x="242" y="212"/>
                    <a:pt x="226" y="229"/>
                  </a:cubicBezTo>
                  <a:cubicBezTo>
                    <a:pt x="222" y="232"/>
                    <a:pt x="222" y="237"/>
                    <a:pt x="226" y="240"/>
                  </a:cubicBezTo>
                  <a:cubicBezTo>
                    <a:pt x="227" y="241"/>
                    <a:pt x="229" y="242"/>
                    <a:pt x="231" y="242"/>
                  </a:cubicBezTo>
                  <a:cubicBezTo>
                    <a:pt x="233" y="242"/>
                    <a:pt x="235" y="241"/>
                    <a:pt x="237" y="240"/>
                  </a:cubicBezTo>
                  <a:cubicBezTo>
                    <a:pt x="256" y="221"/>
                    <a:pt x="266" y="195"/>
                    <a:pt x="266" y="170"/>
                  </a:cubicBezTo>
                  <a:cubicBezTo>
                    <a:pt x="266" y="144"/>
                    <a:pt x="256" y="119"/>
                    <a:pt x="237" y="100"/>
                  </a:cubicBezTo>
                  <a:cubicBezTo>
                    <a:pt x="234" y="97"/>
                    <a:pt x="229" y="97"/>
                    <a:pt x="226" y="100"/>
                  </a:cubicBezTo>
                  <a:close/>
                </a:path>
              </a:pathLst>
            </a:custGeom>
            <a:solidFill>
              <a:srgbClr val="FFFFFF"/>
            </a:solidFill>
            <a:ln>
              <a:noFill/>
            </a:ln>
            <a:extLst/>
          </p:spPr>
          <p:txBody>
            <a:bodyPr/>
            <a:lstStyle/>
            <a:p>
              <a:endParaRPr lang="sv-SE"/>
            </a:p>
          </p:txBody>
        </p:sp>
      </p:grpSp>
      <p:grpSp>
        <p:nvGrpSpPr>
          <p:cNvPr id="18" name="Group 17">
            <a:extLst>
              <a:ext uri="{FF2B5EF4-FFF2-40B4-BE49-F238E27FC236}">
                <a16:creationId xmlns:a16="http://schemas.microsoft.com/office/drawing/2014/main" id="{39AF7800-C826-4470-9272-9AAE837D7FA0}"/>
              </a:ext>
            </a:extLst>
          </p:cNvPr>
          <p:cNvGrpSpPr/>
          <p:nvPr/>
        </p:nvGrpSpPr>
        <p:grpSpPr>
          <a:xfrm>
            <a:off x="6023962" y="4215011"/>
            <a:ext cx="736001" cy="720000"/>
            <a:chOff x="6037827" y="4215011"/>
            <a:chExt cx="736001" cy="720000"/>
          </a:xfrm>
        </p:grpSpPr>
        <p:sp>
          <p:nvSpPr>
            <p:cNvPr id="126" name="Oval 119">
              <a:extLst>
                <a:ext uri="{FF2B5EF4-FFF2-40B4-BE49-F238E27FC236}">
                  <a16:creationId xmlns:a16="http://schemas.microsoft.com/office/drawing/2014/main" id="{79689B2C-BAEA-4038-B8E4-4D9E6AF981B3}"/>
                </a:ext>
              </a:extLst>
            </p:cNvPr>
            <p:cNvSpPr>
              <a:spLocks noChangeArrowheads="1"/>
            </p:cNvSpPr>
            <p:nvPr/>
          </p:nvSpPr>
          <p:spPr bwMode="auto">
            <a:xfrm>
              <a:off x="6037827" y="4215011"/>
              <a:ext cx="736001" cy="720000"/>
            </a:xfrm>
            <a:prstGeom prst="ellipse">
              <a:avLst/>
            </a:prstGeom>
            <a:solidFill>
              <a:srgbClr val="7E1563"/>
            </a:solidFill>
            <a:ln w="38100">
              <a:solidFill>
                <a:schemeClr val="bg1"/>
              </a:solidFill>
              <a:round/>
              <a:headEnd/>
              <a:tailEnd/>
            </a:ln>
          </p:spPr>
          <p:txBody>
            <a:bodyPr wrap="none" lIns="72000" rIns="72000"/>
            <a:lstStyle/>
            <a:p>
              <a:endParaRPr lang="en-US" dirty="0">
                <a:cs typeface="Arial" charset="0"/>
              </a:endParaRPr>
            </a:p>
          </p:txBody>
        </p:sp>
        <p:sp>
          <p:nvSpPr>
            <p:cNvPr id="130" name="Freeform 3">
              <a:extLst>
                <a:ext uri="{FF2B5EF4-FFF2-40B4-BE49-F238E27FC236}">
                  <a16:creationId xmlns:a16="http://schemas.microsoft.com/office/drawing/2014/main" id="{5CC534C9-0037-45E3-9113-773EAC752EF4}"/>
                </a:ext>
              </a:extLst>
            </p:cNvPr>
            <p:cNvSpPr>
              <a:spLocks noChangeAspect="1" noEditPoints="1"/>
            </p:cNvSpPr>
            <p:nvPr/>
          </p:nvSpPr>
          <p:spPr bwMode="auto">
            <a:xfrm>
              <a:off x="6239863" y="4388391"/>
              <a:ext cx="376291" cy="399233"/>
            </a:xfrm>
            <a:custGeom>
              <a:avLst/>
              <a:gdLst>
                <a:gd name="T0" fmla="*/ 2147483647 w 382"/>
                <a:gd name="T1" fmla="*/ 2147483647 h 405"/>
                <a:gd name="T2" fmla="*/ 2147483647 w 382"/>
                <a:gd name="T3" fmla="*/ 2147483647 h 405"/>
                <a:gd name="T4" fmla="*/ 2147483647 w 382"/>
                <a:gd name="T5" fmla="*/ 2147483647 h 405"/>
                <a:gd name="T6" fmla="*/ 2147483647 w 382"/>
                <a:gd name="T7" fmla="*/ 2147483647 h 405"/>
                <a:gd name="T8" fmla="*/ 2147483647 w 382"/>
                <a:gd name="T9" fmla="*/ 2147483647 h 405"/>
                <a:gd name="T10" fmla="*/ 2147483647 w 382"/>
                <a:gd name="T11" fmla="*/ 2147483647 h 405"/>
                <a:gd name="T12" fmla="*/ 2147483647 w 382"/>
                <a:gd name="T13" fmla="*/ 2147483647 h 405"/>
                <a:gd name="T14" fmla="*/ 2147483647 w 382"/>
                <a:gd name="T15" fmla="*/ 2147483647 h 405"/>
                <a:gd name="T16" fmla="*/ 0 w 382"/>
                <a:gd name="T17" fmla="*/ 2147483647 h 405"/>
                <a:gd name="T18" fmla="*/ 2147483647 w 382"/>
                <a:gd name="T19" fmla="*/ 2147483647 h 405"/>
                <a:gd name="T20" fmla="*/ 2147483647 w 382"/>
                <a:gd name="T21" fmla="*/ 2147483647 h 405"/>
                <a:gd name="T22" fmla="*/ 2147483647 w 382"/>
                <a:gd name="T23" fmla="*/ 2147483647 h 405"/>
                <a:gd name="T24" fmla="*/ 2147483647 w 382"/>
                <a:gd name="T25" fmla="*/ 2147483647 h 405"/>
                <a:gd name="T26" fmla="*/ 2147483647 w 382"/>
                <a:gd name="T27" fmla="*/ 2147483647 h 405"/>
                <a:gd name="T28" fmla="*/ 2147483647 w 382"/>
                <a:gd name="T29" fmla="*/ 2147483647 h 405"/>
                <a:gd name="T30" fmla="*/ 2147483647 w 382"/>
                <a:gd name="T31" fmla="*/ 2147483647 h 405"/>
                <a:gd name="T32" fmla="*/ 2147483647 w 382"/>
                <a:gd name="T33" fmla="*/ 2147483647 h 405"/>
                <a:gd name="T34" fmla="*/ 2147483647 w 382"/>
                <a:gd name="T35" fmla="*/ 2147483647 h 405"/>
                <a:gd name="T36" fmla="*/ 2147483647 w 382"/>
                <a:gd name="T37" fmla="*/ 2147483647 h 405"/>
                <a:gd name="T38" fmla="*/ 2147483647 w 382"/>
                <a:gd name="T39" fmla="*/ 2147483647 h 405"/>
                <a:gd name="T40" fmla="*/ 2147483647 w 382"/>
                <a:gd name="T41" fmla="*/ 2147483647 h 405"/>
                <a:gd name="T42" fmla="*/ 2147483647 w 382"/>
                <a:gd name="T43" fmla="*/ 2147483647 h 405"/>
                <a:gd name="T44" fmla="*/ 2147483647 w 382"/>
                <a:gd name="T45" fmla="*/ 2147483647 h 405"/>
                <a:gd name="T46" fmla="*/ 2147483647 w 382"/>
                <a:gd name="T47" fmla="*/ 2147483647 h 405"/>
                <a:gd name="T48" fmla="*/ 2147483647 w 382"/>
                <a:gd name="T49" fmla="*/ 2147483647 h 405"/>
                <a:gd name="T50" fmla="*/ 2147483647 w 382"/>
                <a:gd name="T51" fmla="*/ 2147483647 h 405"/>
                <a:gd name="T52" fmla="*/ 2147483647 w 382"/>
                <a:gd name="T53" fmla="*/ 2147483647 h 405"/>
                <a:gd name="T54" fmla="*/ 2147483647 w 382"/>
                <a:gd name="T55" fmla="*/ 2147483647 h 405"/>
                <a:gd name="T56" fmla="*/ 2147483647 w 382"/>
                <a:gd name="T57" fmla="*/ 2147483647 h 405"/>
                <a:gd name="T58" fmla="*/ 2147483647 w 382"/>
                <a:gd name="T59" fmla="*/ 2147483647 h 405"/>
                <a:gd name="T60" fmla="*/ 2147483647 w 382"/>
                <a:gd name="T61" fmla="*/ 2147483647 h 405"/>
                <a:gd name="T62" fmla="*/ 2147483647 w 382"/>
                <a:gd name="T63" fmla="*/ 2147483647 h 405"/>
                <a:gd name="T64" fmla="*/ 2147483647 w 382"/>
                <a:gd name="T65" fmla="*/ 2147483647 h 405"/>
                <a:gd name="T66" fmla="*/ 2147483647 w 382"/>
                <a:gd name="T67" fmla="*/ 2147483647 h 405"/>
                <a:gd name="T68" fmla="*/ 2147483647 w 382"/>
                <a:gd name="T69" fmla="*/ 2147483647 h 405"/>
                <a:gd name="T70" fmla="*/ 2147483647 w 382"/>
                <a:gd name="T71" fmla="*/ 2147483647 h 405"/>
                <a:gd name="T72" fmla="*/ 2147483647 w 382"/>
                <a:gd name="T73" fmla="*/ 2147483647 h 405"/>
                <a:gd name="T74" fmla="*/ 2147483647 w 382"/>
                <a:gd name="T75" fmla="*/ 2147483647 h 405"/>
                <a:gd name="T76" fmla="*/ 2147483647 w 382"/>
                <a:gd name="T77" fmla="*/ 2147483647 h 405"/>
                <a:gd name="T78" fmla="*/ 2147483647 w 382"/>
                <a:gd name="T79" fmla="*/ 2147483647 h 405"/>
                <a:gd name="T80" fmla="*/ 2147483647 w 382"/>
                <a:gd name="T81" fmla="*/ 2147483647 h 405"/>
                <a:gd name="T82" fmla="*/ 2147483647 w 382"/>
                <a:gd name="T83" fmla="*/ 2147483647 h 405"/>
                <a:gd name="T84" fmla="*/ 2147483647 w 382"/>
                <a:gd name="T85" fmla="*/ 2147483647 h 405"/>
                <a:gd name="T86" fmla="*/ 2147483647 w 382"/>
                <a:gd name="T87" fmla="*/ 2147483647 h 405"/>
                <a:gd name="T88" fmla="*/ 2147483647 w 382"/>
                <a:gd name="T89" fmla="*/ 2147483647 h 405"/>
                <a:gd name="T90" fmla="*/ 2147483647 w 382"/>
                <a:gd name="T91" fmla="*/ 2147483647 h 405"/>
                <a:gd name="T92" fmla="*/ 2147483647 w 382"/>
                <a:gd name="T93" fmla="*/ 2147483647 h 405"/>
                <a:gd name="T94" fmla="*/ 2147483647 w 382"/>
                <a:gd name="T95" fmla="*/ 2147483647 h 405"/>
                <a:gd name="T96" fmla="*/ 2147483647 w 382"/>
                <a:gd name="T97" fmla="*/ 2147483647 h 405"/>
                <a:gd name="T98" fmla="*/ 2147483647 w 382"/>
                <a:gd name="T99" fmla="*/ 2147483647 h 405"/>
                <a:gd name="T100" fmla="*/ 2147483647 w 382"/>
                <a:gd name="T101" fmla="*/ 2147483647 h 405"/>
                <a:gd name="T102" fmla="*/ 2147483647 w 382"/>
                <a:gd name="T103" fmla="*/ 2147483647 h 405"/>
                <a:gd name="T104" fmla="*/ 2147483647 w 382"/>
                <a:gd name="T105" fmla="*/ 2147483647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rgbClr val="FFFFFF"/>
            </a:solidFill>
            <a:ln>
              <a:noFill/>
            </a:ln>
            <a:extLst/>
          </p:spPr>
          <p:txBody>
            <a:bodyPr/>
            <a:lstStyle/>
            <a:p>
              <a:endParaRPr lang="sv-SE"/>
            </a:p>
          </p:txBody>
        </p:sp>
      </p:grpSp>
      <p:grpSp>
        <p:nvGrpSpPr>
          <p:cNvPr id="20" name="Group 19">
            <a:extLst>
              <a:ext uri="{FF2B5EF4-FFF2-40B4-BE49-F238E27FC236}">
                <a16:creationId xmlns:a16="http://schemas.microsoft.com/office/drawing/2014/main" id="{06973D38-EC7B-4527-BAE5-8BC5DE276CA1}"/>
              </a:ext>
            </a:extLst>
          </p:cNvPr>
          <p:cNvGrpSpPr/>
          <p:nvPr/>
        </p:nvGrpSpPr>
        <p:grpSpPr>
          <a:xfrm>
            <a:off x="2282427" y="3114237"/>
            <a:ext cx="720003" cy="720000"/>
            <a:chOff x="2296292" y="3114237"/>
            <a:chExt cx="720003" cy="720000"/>
          </a:xfrm>
        </p:grpSpPr>
        <p:sp>
          <p:nvSpPr>
            <p:cNvPr id="131" name="Oval 27">
              <a:extLst>
                <a:ext uri="{FF2B5EF4-FFF2-40B4-BE49-F238E27FC236}">
                  <a16:creationId xmlns:a16="http://schemas.microsoft.com/office/drawing/2014/main" id="{CC02A8EA-87F9-4F61-95FF-EDAFB17D9AB4}"/>
                </a:ext>
              </a:extLst>
            </p:cNvPr>
            <p:cNvSpPr>
              <a:spLocks noChangeAspect="1" noChangeArrowheads="1"/>
            </p:cNvSpPr>
            <p:nvPr/>
          </p:nvSpPr>
          <p:spPr bwMode="auto">
            <a:xfrm>
              <a:off x="2296292" y="3114237"/>
              <a:ext cx="720003" cy="720000"/>
            </a:xfrm>
            <a:prstGeom prst="ellipse">
              <a:avLst/>
            </a:prstGeom>
            <a:solidFill>
              <a:srgbClr val="007B78"/>
            </a:solidFill>
            <a:ln w="38100">
              <a:solidFill>
                <a:srgbClr val="FFFFFF"/>
              </a:solidFill>
              <a:round/>
              <a:headEnd/>
              <a:tailEnd/>
            </a:ln>
          </p:spPr>
          <p:txBody>
            <a:bodyPr wrap="none" lIns="72000" rIns="72000" anchor="ctr"/>
            <a:lstStyle/>
            <a:p>
              <a:pPr algn="ctr">
                <a:lnSpc>
                  <a:spcPts val="1200"/>
                </a:lnSpc>
                <a:defRPr/>
              </a:pPr>
              <a:endParaRPr lang="en-US" sz="1300" dirty="0">
                <a:latin typeface="Arial"/>
                <a:ea typeface="ＭＳ Ｐゴシック" pitchFamily="34" charset="-128"/>
              </a:endParaRPr>
            </a:p>
          </p:txBody>
        </p:sp>
        <p:sp>
          <p:nvSpPr>
            <p:cNvPr id="135" name="Freeform 3">
              <a:extLst>
                <a:ext uri="{FF2B5EF4-FFF2-40B4-BE49-F238E27FC236}">
                  <a16:creationId xmlns:a16="http://schemas.microsoft.com/office/drawing/2014/main" id="{105DD323-472B-486F-A229-E0F29B6CF515}"/>
                </a:ext>
              </a:extLst>
            </p:cNvPr>
            <p:cNvSpPr>
              <a:spLocks noChangeAspect="1" noEditPoints="1"/>
            </p:cNvSpPr>
            <p:nvPr/>
          </p:nvSpPr>
          <p:spPr bwMode="auto">
            <a:xfrm>
              <a:off x="2417421" y="3301730"/>
              <a:ext cx="469895" cy="243133"/>
            </a:xfrm>
            <a:custGeom>
              <a:avLst/>
              <a:gdLst>
                <a:gd name="T0" fmla="*/ 2147483647 w 413"/>
                <a:gd name="T1" fmla="*/ 2147483647 h 214"/>
                <a:gd name="T2" fmla="*/ 2147483647 w 413"/>
                <a:gd name="T3" fmla="*/ 0 h 214"/>
                <a:gd name="T4" fmla="*/ 0 w 413"/>
                <a:gd name="T5" fmla="*/ 2147483647 h 214"/>
                <a:gd name="T6" fmla="*/ 2147483647 w 413"/>
                <a:gd name="T7" fmla="*/ 2147483647 h 214"/>
                <a:gd name="T8" fmla="*/ 2147483647 w 413"/>
                <a:gd name="T9" fmla="*/ 2147483647 h 214"/>
                <a:gd name="T10" fmla="*/ 2147483647 w 413"/>
                <a:gd name="T11" fmla="*/ 2147483647 h 214"/>
                <a:gd name="T12" fmla="*/ 2147483647 w 413"/>
                <a:gd name="T13" fmla="*/ 2147483647 h 214"/>
                <a:gd name="T14" fmla="*/ 2147483647 w 413"/>
                <a:gd name="T15" fmla="*/ 2147483647 h 214"/>
                <a:gd name="T16" fmla="*/ 2147483647 w 413"/>
                <a:gd name="T17" fmla="*/ 2147483647 h 214"/>
                <a:gd name="T18" fmla="*/ 2147483647 w 413"/>
                <a:gd name="T19" fmla="*/ 2147483647 h 214"/>
                <a:gd name="T20" fmla="*/ 2147483647 w 413"/>
                <a:gd name="T21" fmla="*/ 2147483647 h 214"/>
                <a:gd name="T22" fmla="*/ 2147483647 w 413"/>
                <a:gd name="T23" fmla="*/ 2147483647 h 214"/>
                <a:gd name="T24" fmla="*/ 2147483647 w 413"/>
                <a:gd name="T25" fmla="*/ 2147483647 h 214"/>
                <a:gd name="T26" fmla="*/ 2147483647 w 413"/>
                <a:gd name="T27" fmla="*/ 2147483647 h 214"/>
                <a:gd name="T28" fmla="*/ 2147483647 w 413"/>
                <a:gd name="T29" fmla="*/ 2147483647 h 214"/>
                <a:gd name="T30" fmla="*/ 2147483647 w 413"/>
                <a:gd name="T31" fmla="*/ 2147483647 h 214"/>
                <a:gd name="T32" fmla="*/ 2147483647 w 413"/>
                <a:gd name="T33" fmla="*/ 2147483647 h 214"/>
                <a:gd name="T34" fmla="*/ 2147483647 w 413"/>
                <a:gd name="T35" fmla="*/ 2147483647 h 214"/>
                <a:gd name="T36" fmla="*/ 2147483647 w 413"/>
                <a:gd name="T37" fmla="*/ 2147483647 h 214"/>
                <a:gd name="T38" fmla="*/ 2147483647 w 413"/>
                <a:gd name="T39" fmla="*/ 2147483647 h 214"/>
                <a:gd name="T40" fmla="*/ 2147483647 w 413"/>
                <a:gd name="T41" fmla="*/ 2147483647 h 214"/>
                <a:gd name="T42" fmla="*/ 2147483647 w 413"/>
                <a:gd name="T43" fmla="*/ 2147483647 h 214"/>
                <a:gd name="T44" fmla="*/ 2147483647 w 413"/>
                <a:gd name="T45" fmla="*/ 2147483647 h 214"/>
                <a:gd name="T46" fmla="*/ 2147483647 w 413"/>
                <a:gd name="T47" fmla="*/ 2147483647 h 214"/>
                <a:gd name="T48" fmla="*/ 2147483647 w 413"/>
                <a:gd name="T49" fmla="*/ 2147483647 h 214"/>
                <a:gd name="T50" fmla="*/ 2147483647 w 413"/>
                <a:gd name="T51" fmla="*/ 2147483647 h 214"/>
                <a:gd name="T52" fmla="*/ 2147483647 w 413"/>
                <a:gd name="T53" fmla="*/ 2147483647 h 214"/>
                <a:gd name="T54" fmla="*/ 2147483647 w 413"/>
                <a:gd name="T55" fmla="*/ 2147483647 h 214"/>
                <a:gd name="T56" fmla="*/ 2147483647 w 413"/>
                <a:gd name="T57" fmla="*/ 2147483647 h 214"/>
                <a:gd name="T58" fmla="*/ 2147483647 w 413"/>
                <a:gd name="T59" fmla="*/ 2147483647 h 214"/>
                <a:gd name="T60" fmla="*/ 2147483647 w 413"/>
                <a:gd name="T61" fmla="*/ 2147483647 h 214"/>
                <a:gd name="T62" fmla="*/ 2147483647 w 413"/>
                <a:gd name="T63" fmla="*/ 2147483647 h 214"/>
                <a:gd name="T64" fmla="*/ 2147483647 w 413"/>
                <a:gd name="T65" fmla="*/ 2147483647 h 214"/>
                <a:gd name="T66" fmla="*/ 2147483647 w 413"/>
                <a:gd name="T67" fmla="*/ 2147483647 h 214"/>
                <a:gd name="T68" fmla="*/ 2147483647 w 413"/>
                <a:gd name="T69" fmla="*/ 2147483647 h 214"/>
                <a:gd name="T70" fmla="*/ 2147483647 w 413"/>
                <a:gd name="T71" fmla="*/ 2147483647 h 214"/>
                <a:gd name="T72" fmla="*/ 2147483647 w 413"/>
                <a:gd name="T73" fmla="*/ 2147483647 h 214"/>
                <a:gd name="T74" fmla="*/ 2147483647 w 413"/>
                <a:gd name="T75" fmla="*/ 2147483647 h 214"/>
                <a:gd name="T76" fmla="*/ 2147483647 w 413"/>
                <a:gd name="T77" fmla="*/ 2147483647 h 214"/>
                <a:gd name="T78" fmla="*/ 2147483647 w 413"/>
                <a:gd name="T79" fmla="*/ 2147483647 h 214"/>
                <a:gd name="T80" fmla="*/ 2147483647 w 413"/>
                <a:gd name="T81" fmla="*/ 2147483647 h 214"/>
                <a:gd name="T82" fmla="*/ 2147483647 w 413"/>
                <a:gd name="T83" fmla="*/ 2147483647 h 214"/>
                <a:gd name="T84" fmla="*/ 2147483647 w 413"/>
                <a:gd name="T85" fmla="*/ 2147483647 h 214"/>
                <a:gd name="T86" fmla="*/ 2147483647 w 413"/>
                <a:gd name="T87" fmla="*/ 2147483647 h 214"/>
                <a:gd name="T88" fmla="*/ 2147483647 w 413"/>
                <a:gd name="T89" fmla="*/ 2147483647 h 214"/>
                <a:gd name="T90" fmla="*/ 2147483647 w 413"/>
                <a:gd name="T91" fmla="*/ 2147483647 h 214"/>
                <a:gd name="T92" fmla="*/ 2147483647 w 413"/>
                <a:gd name="T93" fmla="*/ 2147483647 h 214"/>
                <a:gd name="T94" fmla="*/ 2147483647 w 413"/>
                <a:gd name="T95" fmla="*/ 2147483647 h 214"/>
                <a:gd name="T96" fmla="*/ 2147483647 w 413"/>
                <a:gd name="T97" fmla="*/ 2147483647 h 214"/>
                <a:gd name="T98" fmla="*/ 2147483647 w 413"/>
                <a:gd name="T99" fmla="*/ 2147483647 h 214"/>
                <a:gd name="T100" fmla="*/ 2147483647 w 413"/>
                <a:gd name="T101" fmla="*/ 2147483647 h 214"/>
                <a:gd name="T102" fmla="*/ 2147483647 w 413"/>
                <a:gd name="T103" fmla="*/ 2147483647 h 214"/>
                <a:gd name="T104" fmla="*/ 2147483647 w 413"/>
                <a:gd name="T105" fmla="*/ 2147483647 h 214"/>
                <a:gd name="T106" fmla="*/ 2147483647 w 413"/>
                <a:gd name="T107" fmla="*/ 2147483647 h 214"/>
                <a:gd name="T108" fmla="*/ 2147483647 w 413"/>
                <a:gd name="T109" fmla="*/ 2147483647 h 214"/>
                <a:gd name="T110" fmla="*/ 2147483647 w 413"/>
                <a:gd name="T111" fmla="*/ 2147483647 h 2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13" h="214">
                  <a:moveTo>
                    <a:pt x="364" y="73"/>
                  </a:moveTo>
                  <a:cubicBezTo>
                    <a:pt x="325" y="26"/>
                    <a:pt x="267" y="0"/>
                    <a:pt x="206" y="0"/>
                  </a:cubicBezTo>
                  <a:cubicBezTo>
                    <a:pt x="92" y="0"/>
                    <a:pt x="0" y="92"/>
                    <a:pt x="0" y="206"/>
                  </a:cubicBezTo>
                  <a:cubicBezTo>
                    <a:pt x="0" y="210"/>
                    <a:pt x="3" y="214"/>
                    <a:pt x="8" y="214"/>
                  </a:cubicBezTo>
                  <a:cubicBezTo>
                    <a:pt x="12" y="214"/>
                    <a:pt x="16" y="210"/>
                    <a:pt x="16" y="206"/>
                  </a:cubicBezTo>
                  <a:cubicBezTo>
                    <a:pt x="16" y="194"/>
                    <a:pt x="17" y="182"/>
                    <a:pt x="19" y="171"/>
                  </a:cubicBezTo>
                  <a:cubicBezTo>
                    <a:pt x="31" y="175"/>
                    <a:pt x="31" y="175"/>
                    <a:pt x="31" y="175"/>
                  </a:cubicBezTo>
                  <a:cubicBezTo>
                    <a:pt x="34" y="176"/>
                    <a:pt x="38" y="175"/>
                    <a:pt x="39" y="171"/>
                  </a:cubicBezTo>
                  <a:cubicBezTo>
                    <a:pt x="50" y="135"/>
                    <a:pt x="50" y="135"/>
                    <a:pt x="50" y="135"/>
                  </a:cubicBezTo>
                  <a:cubicBezTo>
                    <a:pt x="51" y="132"/>
                    <a:pt x="50" y="129"/>
                    <a:pt x="47" y="128"/>
                  </a:cubicBezTo>
                  <a:cubicBezTo>
                    <a:pt x="34" y="124"/>
                    <a:pt x="34" y="124"/>
                    <a:pt x="34" y="124"/>
                  </a:cubicBezTo>
                  <a:cubicBezTo>
                    <a:pt x="44" y="103"/>
                    <a:pt x="58" y="84"/>
                    <a:pt x="75" y="68"/>
                  </a:cubicBezTo>
                  <a:cubicBezTo>
                    <a:pt x="83" y="78"/>
                    <a:pt x="83" y="78"/>
                    <a:pt x="83" y="78"/>
                  </a:cubicBezTo>
                  <a:cubicBezTo>
                    <a:pt x="85" y="81"/>
                    <a:pt x="88" y="81"/>
                    <a:pt x="91" y="80"/>
                  </a:cubicBezTo>
                  <a:cubicBezTo>
                    <a:pt x="122" y="57"/>
                    <a:pt x="122" y="57"/>
                    <a:pt x="122" y="57"/>
                  </a:cubicBezTo>
                  <a:cubicBezTo>
                    <a:pt x="124" y="55"/>
                    <a:pt x="125" y="52"/>
                    <a:pt x="123" y="49"/>
                  </a:cubicBezTo>
                  <a:cubicBezTo>
                    <a:pt x="115" y="39"/>
                    <a:pt x="115" y="39"/>
                    <a:pt x="115" y="39"/>
                  </a:cubicBezTo>
                  <a:cubicBezTo>
                    <a:pt x="135" y="28"/>
                    <a:pt x="158" y="20"/>
                    <a:pt x="181" y="17"/>
                  </a:cubicBezTo>
                  <a:cubicBezTo>
                    <a:pt x="181" y="30"/>
                    <a:pt x="181" y="30"/>
                    <a:pt x="181" y="30"/>
                  </a:cubicBezTo>
                  <a:cubicBezTo>
                    <a:pt x="181" y="33"/>
                    <a:pt x="184" y="36"/>
                    <a:pt x="187" y="36"/>
                  </a:cubicBezTo>
                  <a:cubicBezTo>
                    <a:pt x="225" y="36"/>
                    <a:pt x="225" y="36"/>
                    <a:pt x="225" y="36"/>
                  </a:cubicBezTo>
                  <a:cubicBezTo>
                    <a:pt x="228" y="36"/>
                    <a:pt x="231" y="33"/>
                    <a:pt x="231" y="30"/>
                  </a:cubicBezTo>
                  <a:cubicBezTo>
                    <a:pt x="231" y="17"/>
                    <a:pt x="231" y="17"/>
                    <a:pt x="231" y="17"/>
                  </a:cubicBezTo>
                  <a:cubicBezTo>
                    <a:pt x="254" y="20"/>
                    <a:pt x="277" y="28"/>
                    <a:pt x="297" y="39"/>
                  </a:cubicBezTo>
                  <a:cubicBezTo>
                    <a:pt x="290" y="49"/>
                    <a:pt x="290" y="49"/>
                    <a:pt x="290" y="49"/>
                  </a:cubicBezTo>
                  <a:cubicBezTo>
                    <a:pt x="288" y="52"/>
                    <a:pt x="288" y="55"/>
                    <a:pt x="291" y="57"/>
                  </a:cubicBezTo>
                  <a:cubicBezTo>
                    <a:pt x="322" y="80"/>
                    <a:pt x="322" y="80"/>
                    <a:pt x="322" y="80"/>
                  </a:cubicBezTo>
                  <a:cubicBezTo>
                    <a:pt x="324" y="81"/>
                    <a:pt x="328" y="81"/>
                    <a:pt x="330" y="78"/>
                  </a:cubicBezTo>
                  <a:cubicBezTo>
                    <a:pt x="337" y="68"/>
                    <a:pt x="337" y="68"/>
                    <a:pt x="337" y="68"/>
                  </a:cubicBezTo>
                  <a:cubicBezTo>
                    <a:pt x="342" y="73"/>
                    <a:pt x="347" y="78"/>
                    <a:pt x="352" y="83"/>
                  </a:cubicBezTo>
                  <a:cubicBezTo>
                    <a:pt x="355" y="87"/>
                    <a:pt x="360" y="87"/>
                    <a:pt x="363" y="84"/>
                  </a:cubicBezTo>
                  <a:cubicBezTo>
                    <a:pt x="366" y="81"/>
                    <a:pt x="367" y="76"/>
                    <a:pt x="364" y="73"/>
                  </a:cubicBezTo>
                  <a:close/>
                  <a:moveTo>
                    <a:pt x="383" y="100"/>
                  </a:moveTo>
                  <a:cubicBezTo>
                    <a:pt x="381" y="96"/>
                    <a:pt x="376" y="95"/>
                    <a:pt x="372" y="97"/>
                  </a:cubicBezTo>
                  <a:cubicBezTo>
                    <a:pt x="369" y="99"/>
                    <a:pt x="367" y="104"/>
                    <a:pt x="370" y="108"/>
                  </a:cubicBezTo>
                  <a:cubicBezTo>
                    <a:pt x="373" y="113"/>
                    <a:pt x="375" y="119"/>
                    <a:pt x="378" y="124"/>
                  </a:cubicBezTo>
                  <a:cubicBezTo>
                    <a:pt x="366" y="128"/>
                    <a:pt x="366" y="128"/>
                    <a:pt x="366" y="128"/>
                  </a:cubicBezTo>
                  <a:cubicBezTo>
                    <a:pt x="363" y="129"/>
                    <a:pt x="361" y="132"/>
                    <a:pt x="362" y="135"/>
                  </a:cubicBezTo>
                  <a:cubicBezTo>
                    <a:pt x="374" y="171"/>
                    <a:pt x="374" y="171"/>
                    <a:pt x="374" y="171"/>
                  </a:cubicBezTo>
                  <a:cubicBezTo>
                    <a:pt x="375" y="175"/>
                    <a:pt x="378" y="176"/>
                    <a:pt x="381" y="175"/>
                  </a:cubicBezTo>
                  <a:cubicBezTo>
                    <a:pt x="393" y="171"/>
                    <a:pt x="393" y="171"/>
                    <a:pt x="393" y="171"/>
                  </a:cubicBezTo>
                  <a:cubicBezTo>
                    <a:pt x="395" y="183"/>
                    <a:pt x="397" y="194"/>
                    <a:pt x="397" y="206"/>
                  </a:cubicBezTo>
                  <a:cubicBezTo>
                    <a:pt x="397" y="210"/>
                    <a:pt x="400" y="214"/>
                    <a:pt x="405" y="214"/>
                  </a:cubicBezTo>
                  <a:cubicBezTo>
                    <a:pt x="409" y="214"/>
                    <a:pt x="413" y="210"/>
                    <a:pt x="413" y="206"/>
                  </a:cubicBezTo>
                  <a:cubicBezTo>
                    <a:pt x="413" y="169"/>
                    <a:pt x="402" y="132"/>
                    <a:pt x="383" y="100"/>
                  </a:cubicBezTo>
                  <a:close/>
                  <a:moveTo>
                    <a:pt x="335" y="155"/>
                  </a:moveTo>
                  <a:cubicBezTo>
                    <a:pt x="244" y="173"/>
                    <a:pt x="244" y="173"/>
                    <a:pt x="244" y="173"/>
                  </a:cubicBezTo>
                  <a:cubicBezTo>
                    <a:pt x="235" y="163"/>
                    <a:pt x="223" y="156"/>
                    <a:pt x="206" y="156"/>
                  </a:cubicBezTo>
                  <a:cubicBezTo>
                    <a:pt x="179" y="156"/>
                    <a:pt x="156" y="179"/>
                    <a:pt x="156" y="206"/>
                  </a:cubicBezTo>
                  <a:cubicBezTo>
                    <a:pt x="156" y="210"/>
                    <a:pt x="160" y="214"/>
                    <a:pt x="164" y="214"/>
                  </a:cubicBezTo>
                  <a:cubicBezTo>
                    <a:pt x="248" y="214"/>
                    <a:pt x="248" y="214"/>
                    <a:pt x="248" y="214"/>
                  </a:cubicBezTo>
                  <a:cubicBezTo>
                    <a:pt x="252" y="214"/>
                    <a:pt x="256" y="210"/>
                    <a:pt x="256" y="206"/>
                  </a:cubicBezTo>
                  <a:cubicBezTo>
                    <a:pt x="256" y="204"/>
                    <a:pt x="256" y="203"/>
                    <a:pt x="256" y="201"/>
                  </a:cubicBezTo>
                  <a:cubicBezTo>
                    <a:pt x="339" y="170"/>
                    <a:pt x="339" y="170"/>
                    <a:pt x="339" y="170"/>
                  </a:cubicBezTo>
                  <a:cubicBezTo>
                    <a:pt x="344" y="169"/>
                    <a:pt x="346" y="165"/>
                    <a:pt x="345" y="160"/>
                  </a:cubicBezTo>
                  <a:cubicBezTo>
                    <a:pt x="344" y="156"/>
                    <a:pt x="339" y="154"/>
                    <a:pt x="335" y="155"/>
                  </a:cubicBezTo>
                  <a:close/>
                </a:path>
              </a:pathLst>
            </a:custGeom>
            <a:solidFill>
              <a:srgbClr val="FFFFFF"/>
            </a:solidFill>
            <a:ln>
              <a:noFill/>
            </a:ln>
            <a:extLst/>
          </p:spPr>
          <p:txBody>
            <a:bodyPr/>
            <a:lstStyle/>
            <a:p>
              <a:endParaRPr lang="en-US" dirty="0"/>
            </a:p>
          </p:txBody>
        </p:sp>
      </p:grpSp>
      <p:grpSp>
        <p:nvGrpSpPr>
          <p:cNvPr id="21" name="Group 20">
            <a:extLst>
              <a:ext uri="{FF2B5EF4-FFF2-40B4-BE49-F238E27FC236}">
                <a16:creationId xmlns:a16="http://schemas.microsoft.com/office/drawing/2014/main" id="{3BDEB40C-B54D-4346-9BED-8460A841AC9D}"/>
              </a:ext>
            </a:extLst>
          </p:cNvPr>
          <p:cNvGrpSpPr/>
          <p:nvPr/>
        </p:nvGrpSpPr>
        <p:grpSpPr>
          <a:xfrm>
            <a:off x="3492002" y="2982678"/>
            <a:ext cx="720003" cy="720000"/>
            <a:chOff x="3596149" y="3000918"/>
            <a:chExt cx="720003" cy="720000"/>
          </a:xfrm>
        </p:grpSpPr>
        <p:sp>
          <p:nvSpPr>
            <p:cNvPr id="132" name="Oval 27">
              <a:extLst>
                <a:ext uri="{FF2B5EF4-FFF2-40B4-BE49-F238E27FC236}">
                  <a16:creationId xmlns:a16="http://schemas.microsoft.com/office/drawing/2014/main" id="{EBC3EB2F-D811-4020-A04D-E4375BC86F55}"/>
                </a:ext>
              </a:extLst>
            </p:cNvPr>
            <p:cNvSpPr>
              <a:spLocks noChangeAspect="1" noChangeArrowheads="1"/>
            </p:cNvSpPr>
            <p:nvPr/>
          </p:nvSpPr>
          <p:spPr bwMode="auto">
            <a:xfrm>
              <a:off x="3596149" y="3000918"/>
              <a:ext cx="720003" cy="720000"/>
            </a:xfrm>
            <a:prstGeom prst="ellipse">
              <a:avLst/>
            </a:prstGeom>
            <a:solidFill>
              <a:srgbClr val="007B78"/>
            </a:solidFill>
            <a:ln w="38100">
              <a:solidFill>
                <a:srgbClr val="FFFFFF"/>
              </a:solidFill>
              <a:round/>
              <a:headEnd/>
              <a:tailEnd/>
            </a:ln>
          </p:spPr>
          <p:txBody>
            <a:bodyPr wrap="none" lIns="72000" rIns="72000" anchor="ctr"/>
            <a:lstStyle/>
            <a:p>
              <a:pPr algn="ctr">
                <a:lnSpc>
                  <a:spcPts val="1200"/>
                </a:lnSpc>
                <a:defRPr/>
              </a:pPr>
              <a:endParaRPr lang="en-US" sz="1300" dirty="0">
                <a:latin typeface="Arial"/>
                <a:ea typeface="ＭＳ Ｐゴシック" pitchFamily="34" charset="-128"/>
              </a:endParaRPr>
            </a:p>
          </p:txBody>
        </p:sp>
        <p:sp>
          <p:nvSpPr>
            <p:cNvPr id="136" name="Freeform 3">
              <a:extLst>
                <a:ext uri="{FF2B5EF4-FFF2-40B4-BE49-F238E27FC236}">
                  <a16:creationId xmlns:a16="http://schemas.microsoft.com/office/drawing/2014/main" id="{965824BA-611D-4879-8894-07854D9E19B0}"/>
                </a:ext>
              </a:extLst>
            </p:cNvPr>
            <p:cNvSpPr>
              <a:spLocks noChangeAspect="1" noEditPoints="1"/>
            </p:cNvSpPr>
            <p:nvPr/>
          </p:nvSpPr>
          <p:spPr bwMode="auto">
            <a:xfrm>
              <a:off x="3768005" y="3177563"/>
              <a:ext cx="376291" cy="399233"/>
            </a:xfrm>
            <a:custGeom>
              <a:avLst/>
              <a:gdLst>
                <a:gd name="T0" fmla="*/ 2147483647 w 382"/>
                <a:gd name="T1" fmla="*/ 2147483647 h 405"/>
                <a:gd name="T2" fmla="*/ 2147483647 w 382"/>
                <a:gd name="T3" fmla="*/ 2147483647 h 405"/>
                <a:gd name="T4" fmla="*/ 2147483647 w 382"/>
                <a:gd name="T5" fmla="*/ 2147483647 h 405"/>
                <a:gd name="T6" fmla="*/ 2147483647 w 382"/>
                <a:gd name="T7" fmla="*/ 2147483647 h 405"/>
                <a:gd name="T8" fmla="*/ 2147483647 w 382"/>
                <a:gd name="T9" fmla="*/ 2147483647 h 405"/>
                <a:gd name="T10" fmla="*/ 2147483647 w 382"/>
                <a:gd name="T11" fmla="*/ 2147483647 h 405"/>
                <a:gd name="T12" fmla="*/ 2147483647 w 382"/>
                <a:gd name="T13" fmla="*/ 2147483647 h 405"/>
                <a:gd name="T14" fmla="*/ 2147483647 w 382"/>
                <a:gd name="T15" fmla="*/ 2147483647 h 405"/>
                <a:gd name="T16" fmla="*/ 0 w 382"/>
                <a:gd name="T17" fmla="*/ 2147483647 h 405"/>
                <a:gd name="T18" fmla="*/ 2147483647 w 382"/>
                <a:gd name="T19" fmla="*/ 2147483647 h 405"/>
                <a:gd name="T20" fmla="*/ 2147483647 w 382"/>
                <a:gd name="T21" fmla="*/ 2147483647 h 405"/>
                <a:gd name="T22" fmla="*/ 2147483647 w 382"/>
                <a:gd name="T23" fmla="*/ 2147483647 h 405"/>
                <a:gd name="T24" fmla="*/ 2147483647 w 382"/>
                <a:gd name="T25" fmla="*/ 2147483647 h 405"/>
                <a:gd name="T26" fmla="*/ 2147483647 w 382"/>
                <a:gd name="T27" fmla="*/ 2147483647 h 405"/>
                <a:gd name="T28" fmla="*/ 2147483647 w 382"/>
                <a:gd name="T29" fmla="*/ 2147483647 h 405"/>
                <a:gd name="T30" fmla="*/ 2147483647 w 382"/>
                <a:gd name="T31" fmla="*/ 2147483647 h 405"/>
                <a:gd name="T32" fmla="*/ 2147483647 w 382"/>
                <a:gd name="T33" fmla="*/ 2147483647 h 405"/>
                <a:gd name="T34" fmla="*/ 2147483647 w 382"/>
                <a:gd name="T35" fmla="*/ 2147483647 h 405"/>
                <a:gd name="T36" fmla="*/ 2147483647 w 382"/>
                <a:gd name="T37" fmla="*/ 2147483647 h 405"/>
                <a:gd name="T38" fmla="*/ 2147483647 w 382"/>
                <a:gd name="T39" fmla="*/ 2147483647 h 405"/>
                <a:gd name="T40" fmla="*/ 2147483647 w 382"/>
                <a:gd name="T41" fmla="*/ 2147483647 h 405"/>
                <a:gd name="T42" fmla="*/ 2147483647 w 382"/>
                <a:gd name="T43" fmla="*/ 2147483647 h 405"/>
                <a:gd name="T44" fmla="*/ 2147483647 w 382"/>
                <a:gd name="T45" fmla="*/ 2147483647 h 405"/>
                <a:gd name="T46" fmla="*/ 2147483647 w 382"/>
                <a:gd name="T47" fmla="*/ 2147483647 h 405"/>
                <a:gd name="T48" fmla="*/ 2147483647 w 382"/>
                <a:gd name="T49" fmla="*/ 2147483647 h 405"/>
                <a:gd name="T50" fmla="*/ 2147483647 w 382"/>
                <a:gd name="T51" fmla="*/ 2147483647 h 405"/>
                <a:gd name="T52" fmla="*/ 2147483647 w 382"/>
                <a:gd name="T53" fmla="*/ 2147483647 h 405"/>
                <a:gd name="T54" fmla="*/ 2147483647 w 382"/>
                <a:gd name="T55" fmla="*/ 2147483647 h 405"/>
                <a:gd name="T56" fmla="*/ 2147483647 w 382"/>
                <a:gd name="T57" fmla="*/ 2147483647 h 405"/>
                <a:gd name="T58" fmla="*/ 2147483647 w 382"/>
                <a:gd name="T59" fmla="*/ 2147483647 h 405"/>
                <a:gd name="T60" fmla="*/ 2147483647 w 382"/>
                <a:gd name="T61" fmla="*/ 2147483647 h 405"/>
                <a:gd name="T62" fmla="*/ 2147483647 w 382"/>
                <a:gd name="T63" fmla="*/ 2147483647 h 405"/>
                <a:gd name="T64" fmla="*/ 2147483647 w 382"/>
                <a:gd name="T65" fmla="*/ 2147483647 h 405"/>
                <a:gd name="T66" fmla="*/ 2147483647 w 382"/>
                <a:gd name="T67" fmla="*/ 2147483647 h 405"/>
                <a:gd name="T68" fmla="*/ 2147483647 w 382"/>
                <a:gd name="T69" fmla="*/ 2147483647 h 405"/>
                <a:gd name="T70" fmla="*/ 2147483647 w 382"/>
                <a:gd name="T71" fmla="*/ 2147483647 h 405"/>
                <a:gd name="T72" fmla="*/ 2147483647 w 382"/>
                <a:gd name="T73" fmla="*/ 2147483647 h 405"/>
                <a:gd name="T74" fmla="*/ 2147483647 w 382"/>
                <a:gd name="T75" fmla="*/ 2147483647 h 405"/>
                <a:gd name="T76" fmla="*/ 2147483647 w 382"/>
                <a:gd name="T77" fmla="*/ 2147483647 h 405"/>
                <a:gd name="T78" fmla="*/ 2147483647 w 382"/>
                <a:gd name="T79" fmla="*/ 2147483647 h 405"/>
                <a:gd name="T80" fmla="*/ 2147483647 w 382"/>
                <a:gd name="T81" fmla="*/ 2147483647 h 405"/>
                <a:gd name="T82" fmla="*/ 2147483647 w 382"/>
                <a:gd name="T83" fmla="*/ 2147483647 h 405"/>
                <a:gd name="T84" fmla="*/ 2147483647 w 382"/>
                <a:gd name="T85" fmla="*/ 2147483647 h 405"/>
                <a:gd name="T86" fmla="*/ 2147483647 w 382"/>
                <a:gd name="T87" fmla="*/ 2147483647 h 405"/>
                <a:gd name="T88" fmla="*/ 2147483647 w 382"/>
                <a:gd name="T89" fmla="*/ 2147483647 h 405"/>
                <a:gd name="T90" fmla="*/ 2147483647 w 382"/>
                <a:gd name="T91" fmla="*/ 2147483647 h 405"/>
                <a:gd name="T92" fmla="*/ 2147483647 w 382"/>
                <a:gd name="T93" fmla="*/ 2147483647 h 405"/>
                <a:gd name="T94" fmla="*/ 2147483647 w 382"/>
                <a:gd name="T95" fmla="*/ 2147483647 h 405"/>
                <a:gd name="T96" fmla="*/ 2147483647 w 382"/>
                <a:gd name="T97" fmla="*/ 2147483647 h 405"/>
                <a:gd name="T98" fmla="*/ 2147483647 w 382"/>
                <a:gd name="T99" fmla="*/ 2147483647 h 405"/>
                <a:gd name="T100" fmla="*/ 2147483647 w 382"/>
                <a:gd name="T101" fmla="*/ 2147483647 h 405"/>
                <a:gd name="T102" fmla="*/ 2147483647 w 382"/>
                <a:gd name="T103" fmla="*/ 2147483647 h 405"/>
                <a:gd name="T104" fmla="*/ 2147483647 w 382"/>
                <a:gd name="T105" fmla="*/ 2147483647 h 4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2" h="405">
                  <a:moveTo>
                    <a:pt x="347" y="257"/>
                  </a:moveTo>
                  <a:cubicBezTo>
                    <a:pt x="348" y="202"/>
                    <a:pt x="348" y="202"/>
                    <a:pt x="348" y="202"/>
                  </a:cubicBezTo>
                  <a:cubicBezTo>
                    <a:pt x="349" y="198"/>
                    <a:pt x="345" y="194"/>
                    <a:pt x="341" y="194"/>
                  </a:cubicBezTo>
                  <a:cubicBezTo>
                    <a:pt x="336" y="194"/>
                    <a:pt x="333" y="197"/>
                    <a:pt x="332" y="202"/>
                  </a:cubicBezTo>
                  <a:cubicBezTo>
                    <a:pt x="331" y="257"/>
                    <a:pt x="331" y="257"/>
                    <a:pt x="331" y="257"/>
                  </a:cubicBezTo>
                  <a:cubicBezTo>
                    <a:pt x="325" y="258"/>
                    <a:pt x="319" y="260"/>
                    <a:pt x="314" y="264"/>
                  </a:cubicBezTo>
                  <a:cubicBezTo>
                    <a:pt x="276" y="231"/>
                    <a:pt x="276" y="231"/>
                    <a:pt x="276" y="231"/>
                  </a:cubicBezTo>
                  <a:cubicBezTo>
                    <a:pt x="279" y="225"/>
                    <a:pt x="281" y="219"/>
                    <a:pt x="281" y="212"/>
                  </a:cubicBezTo>
                  <a:cubicBezTo>
                    <a:pt x="281" y="204"/>
                    <a:pt x="279" y="197"/>
                    <a:pt x="275" y="191"/>
                  </a:cubicBezTo>
                  <a:cubicBezTo>
                    <a:pt x="320" y="150"/>
                    <a:pt x="320" y="150"/>
                    <a:pt x="320" y="150"/>
                  </a:cubicBezTo>
                  <a:cubicBezTo>
                    <a:pt x="324" y="153"/>
                    <a:pt x="329" y="155"/>
                    <a:pt x="334" y="156"/>
                  </a:cubicBezTo>
                  <a:cubicBezTo>
                    <a:pt x="333" y="170"/>
                    <a:pt x="333" y="170"/>
                    <a:pt x="333" y="170"/>
                  </a:cubicBezTo>
                  <a:cubicBezTo>
                    <a:pt x="333" y="175"/>
                    <a:pt x="337" y="178"/>
                    <a:pt x="341" y="178"/>
                  </a:cubicBezTo>
                  <a:cubicBezTo>
                    <a:pt x="341" y="178"/>
                    <a:pt x="341" y="178"/>
                    <a:pt x="341" y="178"/>
                  </a:cubicBezTo>
                  <a:cubicBezTo>
                    <a:pt x="346" y="178"/>
                    <a:pt x="349" y="175"/>
                    <a:pt x="349" y="171"/>
                  </a:cubicBezTo>
                  <a:cubicBezTo>
                    <a:pt x="350" y="157"/>
                    <a:pt x="350" y="157"/>
                    <a:pt x="350" y="157"/>
                  </a:cubicBezTo>
                  <a:cubicBezTo>
                    <a:pt x="368" y="153"/>
                    <a:pt x="382" y="137"/>
                    <a:pt x="382" y="118"/>
                  </a:cubicBezTo>
                  <a:cubicBezTo>
                    <a:pt x="382" y="96"/>
                    <a:pt x="365" y="78"/>
                    <a:pt x="343" y="78"/>
                  </a:cubicBezTo>
                  <a:cubicBezTo>
                    <a:pt x="332" y="78"/>
                    <a:pt x="322" y="83"/>
                    <a:pt x="314" y="91"/>
                  </a:cubicBezTo>
                  <a:cubicBezTo>
                    <a:pt x="254" y="53"/>
                    <a:pt x="254" y="53"/>
                    <a:pt x="254" y="53"/>
                  </a:cubicBezTo>
                  <a:cubicBezTo>
                    <a:pt x="255" y="49"/>
                    <a:pt x="256" y="44"/>
                    <a:pt x="256" y="39"/>
                  </a:cubicBezTo>
                  <a:cubicBezTo>
                    <a:pt x="256" y="18"/>
                    <a:pt x="238" y="0"/>
                    <a:pt x="217" y="0"/>
                  </a:cubicBezTo>
                  <a:cubicBezTo>
                    <a:pt x="195" y="0"/>
                    <a:pt x="177" y="18"/>
                    <a:pt x="177" y="39"/>
                  </a:cubicBezTo>
                  <a:cubicBezTo>
                    <a:pt x="177" y="40"/>
                    <a:pt x="177" y="41"/>
                    <a:pt x="177" y="42"/>
                  </a:cubicBezTo>
                  <a:cubicBezTo>
                    <a:pt x="74" y="72"/>
                    <a:pt x="74" y="72"/>
                    <a:pt x="74" y="72"/>
                  </a:cubicBezTo>
                  <a:cubicBezTo>
                    <a:pt x="68" y="60"/>
                    <a:pt x="55" y="51"/>
                    <a:pt x="40" y="51"/>
                  </a:cubicBezTo>
                  <a:cubicBezTo>
                    <a:pt x="18" y="51"/>
                    <a:pt x="0" y="69"/>
                    <a:pt x="0" y="91"/>
                  </a:cubicBezTo>
                  <a:cubicBezTo>
                    <a:pt x="0" y="111"/>
                    <a:pt x="16" y="128"/>
                    <a:pt x="35" y="130"/>
                  </a:cubicBezTo>
                  <a:cubicBezTo>
                    <a:pt x="46" y="237"/>
                    <a:pt x="46" y="237"/>
                    <a:pt x="46" y="237"/>
                  </a:cubicBezTo>
                  <a:cubicBezTo>
                    <a:pt x="30" y="242"/>
                    <a:pt x="19" y="257"/>
                    <a:pt x="19" y="275"/>
                  </a:cubicBezTo>
                  <a:cubicBezTo>
                    <a:pt x="19" y="297"/>
                    <a:pt x="36" y="314"/>
                    <a:pt x="58" y="314"/>
                  </a:cubicBezTo>
                  <a:cubicBezTo>
                    <a:pt x="65" y="314"/>
                    <a:pt x="72" y="312"/>
                    <a:pt x="78" y="309"/>
                  </a:cubicBezTo>
                  <a:cubicBezTo>
                    <a:pt x="109" y="343"/>
                    <a:pt x="109" y="343"/>
                    <a:pt x="109" y="343"/>
                  </a:cubicBezTo>
                  <a:cubicBezTo>
                    <a:pt x="105" y="349"/>
                    <a:pt x="102" y="357"/>
                    <a:pt x="102" y="366"/>
                  </a:cubicBezTo>
                  <a:cubicBezTo>
                    <a:pt x="102" y="387"/>
                    <a:pt x="119" y="405"/>
                    <a:pt x="141" y="405"/>
                  </a:cubicBezTo>
                  <a:cubicBezTo>
                    <a:pt x="163" y="405"/>
                    <a:pt x="181" y="387"/>
                    <a:pt x="181" y="366"/>
                  </a:cubicBezTo>
                  <a:cubicBezTo>
                    <a:pt x="181" y="364"/>
                    <a:pt x="180" y="362"/>
                    <a:pt x="180" y="360"/>
                  </a:cubicBezTo>
                  <a:cubicBezTo>
                    <a:pt x="304" y="316"/>
                    <a:pt x="304" y="316"/>
                    <a:pt x="304" y="316"/>
                  </a:cubicBezTo>
                  <a:cubicBezTo>
                    <a:pt x="311" y="327"/>
                    <a:pt x="323" y="335"/>
                    <a:pt x="337" y="335"/>
                  </a:cubicBezTo>
                  <a:cubicBezTo>
                    <a:pt x="359" y="335"/>
                    <a:pt x="377" y="317"/>
                    <a:pt x="377" y="295"/>
                  </a:cubicBezTo>
                  <a:cubicBezTo>
                    <a:pt x="377" y="277"/>
                    <a:pt x="364" y="261"/>
                    <a:pt x="347" y="257"/>
                  </a:cubicBezTo>
                  <a:close/>
                  <a:moveTo>
                    <a:pt x="343" y="94"/>
                  </a:moveTo>
                  <a:cubicBezTo>
                    <a:pt x="356" y="94"/>
                    <a:pt x="366" y="105"/>
                    <a:pt x="366" y="118"/>
                  </a:cubicBezTo>
                  <a:cubicBezTo>
                    <a:pt x="366" y="131"/>
                    <a:pt x="356" y="141"/>
                    <a:pt x="343" y="141"/>
                  </a:cubicBezTo>
                  <a:cubicBezTo>
                    <a:pt x="330" y="141"/>
                    <a:pt x="320" y="131"/>
                    <a:pt x="320" y="118"/>
                  </a:cubicBezTo>
                  <a:cubicBezTo>
                    <a:pt x="320" y="105"/>
                    <a:pt x="330" y="94"/>
                    <a:pt x="343" y="94"/>
                  </a:cubicBezTo>
                  <a:close/>
                  <a:moveTo>
                    <a:pt x="309" y="138"/>
                  </a:moveTo>
                  <a:cubicBezTo>
                    <a:pt x="265" y="180"/>
                    <a:pt x="265" y="180"/>
                    <a:pt x="265" y="180"/>
                  </a:cubicBezTo>
                  <a:cubicBezTo>
                    <a:pt x="258" y="175"/>
                    <a:pt x="250" y="173"/>
                    <a:pt x="242" y="173"/>
                  </a:cubicBezTo>
                  <a:cubicBezTo>
                    <a:pt x="227" y="173"/>
                    <a:pt x="213" y="181"/>
                    <a:pt x="207" y="194"/>
                  </a:cubicBezTo>
                  <a:cubicBezTo>
                    <a:pt x="167" y="183"/>
                    <a:pt x="167" y="183"/>
                    <a:pt x="167" y="183"/>
                  </a:cubicBezTo>
                  <a:cubicBezTo>
                    <a:pt x="167" y="182"/>
                    <a:pt x="167" y="181"/>
                    <a:pt x="167" y="180"/>
                  </a:cubicBezTo>
                  <a:cubicBezTo>
                    <a:pt x="167" y="179"/>
                    <a:pt x="167" y="178"/>
                    <a:pt x="167" y="177"/>
                  </a:cubicBezTo>
                  <a:cubicBezTo>
                    <a:pt x="308" y="136"/>
                    <a:pt x="308" y="136"/>
                    <a:pt x="308" y="136"/>
                  </a:cubicBezTo>
                  <a:cubicBezTo>
                    <a:pt x="308" y="137"/>
                    <a:pt x="309" y="138"/>
                    <a:pt x="309" y="138"/>
                  </a:cubicBezTo>
                  <a:close/>
                  <a:moveTo>
                    <a:pt x="265" y="212"/>
                  </a:moveTo>
                  <a:cubicBezTo>
                    <a:pt x="265" y="225"/>
                    <a:pt x="255" y="235"/>
                    <a:pt x="242" y="235"/>
                  </a:cubicBezTo>
                  <a:cubicBezTo>
                    <a:pt x="229" y="235"/>
                    <a:pt x="218" y="225"/>
                    <a:pt x="218" y="212"/>
                  </a:cubicBezTo>
                  <a:cubicBezTo>
                    <a:pt x="218" y="199"/>
                    <a:pt x="229" y="189"/>
                    <a:pt x="242" y="189"/>
                  </a:cubicBezTo>
                  <a:cubicBezTo>
                    <a:pt x="255" y="189"/>
                    <a:pt x="265" y="199"/>
                    <a:pt x="265" y="212"/>
                  </a:cubicBezTo>
                  <a:close/>
                  <a:moveTo>
                    <a:pt x="143" y="273"/>
                  </a:moveTo>
                  <a:cubicBezTo>
                    <a:pt x="139" y="218"/>
                    <a:pt x="139" y="218"/>
                    <a:pt x="139" y="218"/>
                  </a:cubicBezTo>
                  <a:cubicBezTo>
                    <a:pt x="149" y="215"/>
                    <a:pt x="158" y="208"/>
                    <a:pt x="163" y="198"/>
                  </a:cubicBezTo>
                  <a:cubicBezTo>
                    <a:pt x="203" y="209"/>
                    <a:pt x="203" y="209"/>
                    <a:pt x="203" y="209"/>
                  </a:cubicBezTo>
                  <a:cubicBezTo>
                    <a:pt x="203" y="210"/>
                    <a:pt x="202" y="211"/>
                    <a:pt x="202" y="212"/>
                  </a:cubicBezTo>
                  <a:cubicBezTo>
                    <a:pt x="202" y="223"/>
                    <a:pt x="207" y="233"/>
                    <a:pt x="214" y="240"/>
                  </a:cubicBezTo>
                  <a:cubicBezTo>
                    <a:pt x="190" y="277"/>
                    <a:pt x="190" y="277"/>
                    <a:pt x="190" y="277"/>
                  </a:cubicBezTo>
                  <a:lnTo>
                    <a:pt x="143" y="273"/>
                  </a:lnTo>
                  <a:close/>
                  <a:moveTo>
                    <a:pt x="180" y="292"/>
                  </a:moveTo>
                  <a:cubicBezTo>
                    <a:pt x="156" y="329"/>
                    <a:pt x="156" y="329"/>
                    <a:pt x="156" y="329"/>
                  </a:cubicBezTo>
                  <a:cubicBezTo>
                    <a:pt x="153" y="328"/>
                    <a:pt x="150" y="327"/>
                    <a:pt x="146" y="327"/>
                  </a:cubicBezTo>
                  <a:cubicBezTo>
                    <a:pt x="144" y="289"/>
                    <a:pt x="144" y="289"/>
                    <a:pt x="144" y="289"/>
                  </a:cubicBezTo>
                  <a:lnTo>
                    <a:pt x="180" y="292"/>
                  </a:lnTo>
                  <a:close/>
                  <a:moveTo>
                    <a:pt x="128" y="204"/>
                  </a:moveTo>
                  <a:cubicBezTo>
                    <a:pt x="115" y="204"/>
                    <a:pt x="105" y="193"/>
                    <a:pt x="105" y="180"/>
                  </a:cubicBezTo>
                  <a:cubicBezTo>
                    <a:pt x="105" y="168"/>
                    <a:pt x="115" y="157"/>
                    <a:pt x="128" y="157"/>
                  </a:cubicBezTo>
                  <a:cubicBezTo>
                    <a:pt x="141" y="157"/>
                    <a:pt x="151" y="168"/>
                    <a:pt x="151" y="180"/>
                  </a:cubicBezTo>
                  <a:cubicBezTo>
                    <a:pt x="151" y="193"/>
                    <a:pt x="141" y="204"/>
                    <a:pt x="128" y="204"/>
                  </a:cubicBezTo>
                  <a:close/>
                  <a:moveTo>
                    <a:pt x="217" y="16"/>
                  </a:moveTo>
                  <a:cubicBezTo>
                    <a:pt x="230" y="16"/>
                    <a:pt x="240" y="27"/>
                    <a:pt x="240" y="39"/>
                  </a:cubicBezTo>
                  <a:cubicBezTo>
                    <a:pt x="240" y="52"/>
                    <a:pt x="230" y="63"/>
                    <a:pt x="217" y="63"/>
                  </a:cubicBezTo>
                  <a:cubicBezTo>
                    <a:pt x="204" y="63"/>
                    <a:pt x="193" y="52"/>
                    <a:pt x="193" y="39"/>
                  </a:cubicBezTo>
                  <a:cubicBezTo>
                    <a:pt x="193" y="27"/>
                    <a:pt x="204" y="16"/>
                    <a:pt x="217" y="16"/>
                  </a:cubicBezTo>
                  <a:close/>
                  <a:moveTo>
                    <a:pt x="202" y="76"/>
                  </a:moveTo>
                  <a:cubicBezTo>
                    <a:pt x="207" y="78"/>
                    <a:pt x="211" y="79"/>
                    <a:pt x="217" y="79"/>
                  </a:cubicBezTo>
                  <a:cubicBezTo>
                    <a:pt x="228" y="79"/>
                    <a:pt x="238" y="74"/>
                    <a:pt x="245" y="67"/>
                  </a:cubicBezTo>
                  <a:cubicBezTo>
                    <a:pt x="306" y="104"/>
                    <a:pt x="306" y="104"/>
                    <a:pt x="306" y="104"/>
                  </a:cubicBezTo>
                  <a:cubicBezTo>
                    <a:pt x="306" y="105"/>
                    <a:pt x="305" y="106"/>
                    <a:pt x="305" y="106"/>
                  </a:cubicBezTo>
                  <a:cubicBezTo>
                    <a:pt x="190" y="96"/>
                    <a:pt x="190" y="96"/>
                    <a:pt x="190" y="96"/>
                  </a:cubicBezTo>
                  <a:lnTo>
                    <a:pt x="202" y="76"/>
                  </a:lnTo>
                  <a:close/>
                  <a:moveTo>
                    <a:pt x="300" y="122"/>
                  </a:moveTo>
                  <a:cubicBezTo>
                    <a:pt x="163" y="162"/>
                    <a:pt x="163" y="162"/>
                    <a:pt x="163" y="162"/>
                  </a:cubicBezTo>
                  <a:cubicBezTo>
                    <a:pt x="161" y="158"/>
                    <a:pt x="158" y="155"/>
                    <a:pt x="155" y="152"/>
                  </a:cubicBezTo>
                  <a:cubicBezTo>
                    <a:pt x="180" y="111"/>
                    <a:pt x="180" y="111"/>
                    <a:pt x="180" y="111"/>
                  </a:cubicBezTo>
                  <a:lnTo>
                    <a:pt x="300" y="122"/>
                  </a:lnTo>
                  <a:close/>
                  <a:moveTo>
                    <a:pt x="182" y="58"/>
                  </a:moveTo>
                  <a:cubicBezTo>
                    <a:pt x="184" y="61"/>
                    <a:pt x="186" y="64"/>
                    <a:pt x="189" y="67"/>
                  </a:cubicBezTo>
                  <a:cubicBezTo>
                    <a:pt x="172" y="95"/>
                    <a:pt x="172" y="95"/>
                    <a:pt x="172" y="95"/>
                  </a:cubicBezTo>
                  <a:cubicBezTo>
                    <a:pt x="83" y="87"/>
                    <a:pt x="83" y="87"/>
                    <a:pt x="83" y="87"/>
                  </a:cubicBezTo>
                  <a:lnTo>
                    <a:pt x="182" y="58"/>
                  </a:lnTo>
                  <a:close/>
                  <a:moveTo>
                    <a:pt x="77" y="102"/>
                  </a:moveTo>
                  <a:cubicBezTo>
                    <a:pt x="162" y="110"/>
                    <a:pt x="162" y="110"/>
                    <a:pt x="162" y="110"/>
                  </a:cubicBezTo>
                  <a:cubicBezTo>
                    <a:pt x="141" y="144"/>
                    <a:pt x="141" y="144"/>
                    <a:pt x="141" y="144"/>
                  </a:cubicBezTo>
                  <a:cubicBezTo>
                    <a:pt x="137" y="142"/>
                    <a:pt x="133" y="141"/>
                    <a:pt x="128" y="141"/>
                  </a:cubicBezTo>
                  <a:cubicBezTo>
                    <a:pt x="120" y="141"/>
                    <a:pt x="113" y="143"/>
                    <a:pt x="107" y="147"/>
                  </a:cubicBezTo>
                  <a:cubicBezTo>
                    <a:pt x="72" y="113"/>
                    <a:pt x="72" y="113"/>
                    <a:pt x="72" y="113"/>
                  </a:cubicBezTo>
                  <a:cubicBezTo>
                    <a:pt x="74" y="109"/>
                    <a:pt x="76" y="106"/>
                    <a:pt x="77" y="102"/>
                  </a:cubicBezTo>
                  <a:close/>
                  <a:moveTo>
                    <a:pt x="95" y="159"/>
                  </a:moveTo>
                  <a:cubicBezTo>
                    <a:pt x="91" y="165"/>
                    <a:pt x="89" y="172"/>
                    <a:pt x="89" y="180"/>
                  </a:cubicBezTo>
                  <a:cubicBezTo>
                    <a:pt x="89" y="191"/>
                    <a:pt x="92" y="200"/>
                    <a:pt x="99" y="207"/>
                  </a:cubicBezTo>
                  <a:cubicBezTo>
                    <a:pt x="75" y="239"/>
                    <a:pt x="75" y="239"/>
                    <a:pt x="75" y="239"/>
                  </a:cubicBezTo>
                  <a:cubicBezTo>
                    <a:pt x="71" y="237"/>
                    <a:pt x="67" y="236"/>
                    <a:pt x="62" y="236"/>
                  </a:cubicBezTo>
                  <a:cubicBezTo>
                    <a:pt x="51" y="128"/>
                    <a:pt x="51" y="128"/>
                    <a:pt x="51" y="128"/>
                  </a:cubicBezTo>
                  <a:cubicBezTo>
                    <a:pt x="55" y="127"/>
                    <a:pt x="58" y="126"/>
                    <a:pt x="61" y="124"/>
                  </a:cubicBezTo>
                  <a:lnTo>
                    <a:pt x="95" y="159"/>
                  </a:lnTo>
                  <a:close/>
                  <a:moveTo>
                    <a:pt x="40" y="114"/>
                  </a:moveTo>
                  <a:cubicBezTo>
                    <a:pt x="27" y="114"/>
                    <a:pt x="16" y="104"/>
                    <a:pt x="16" y="91"/>
                  </a:cubicBezTo>
                  <a:cubicBezTo>
                    <a:pt x="16" y="78"/>
                    <a:pt x="27" y="67"/>
                    <a:pt x="40" y="67"/>
                  </a:cubicBezTo>
                  <a:cubicBezTo>
                    <a:pt x="52" y="67"/>
                    <a:pt x="63" y="78"/>
                    <a:pt x="63" y="91"/>
                  </a:cubicBezTo>
                  <a:cubicBezTo>
                    <a:pt x="63" y="104"/>
                    <a:pt x="52" y="114"/>
                    <a:pt x="40" y="114"/>
                  </a:cubicBezTo>
                  <a:close/>
                  <a:moveTo>
                    <a:pt x="58" y="298"/>
                  </a:moveTo>
                  <a:cubicBezTo>
                    <a:pt x="45" y="298"/>
                    <a:pt x="35" y="288"/>
                    <a:pt x="35" y="275"/>
                  </a:cubicBezTo>
                  <a:cubicBezTo>
                    <a:pt x="35" y="262"/>
                    <a:pt x="45" y="252"/>
                    <a:pt x="58" y="252"/>
                  </a:cubicBezTo>
                  <a:cubicBezTo>
                    <a:pt x="71" y="252"/>
                    <a:pt x="81" y="262"/>
                    <a:pt x="81" y="275"/>
                  </a:cubicBezTo>
                  <a:cubicBezTo>
                    <a:pt x="81" y="288"/>
                    <a:pt x="71" y="298"/>
                    <a:pt x="58" y="298"/>
                  </a:cubicBezTo>
                  <a:close/>
                  <a:moveTo>
                    <a:pt x="112" y="216"/>
                  </a:moveTo>
                  <a:cubicBezTo>
                    <a:pt x="115" y="218"/>
                    <a:pt x="119" y="219"/>
                    <a:pt x="123" y="219"/>
                  </a:cubicBezTo>
                  <a:cubicBezTo>
                    <a:pt x="126" y="272"/>
                    <a:pt x="126" y="272"/>
                    <a:pt x="126" y="272"/>
                  </a:cubicBezTo>
                  <a:cubicBezTo>
                    <a:pt x="97" y="270"/>
                    <a:pt x="97" y="270"/>
                    <a:pt x="97" y="270"/>
                  </a:cubicBezTo>
                  <a:cubicBezTo>
                    <a:pt x="96" y="262"/>
                    <a:pt x="93" y="255"/>
                    <a:pt x="87" y="249"/>
                  </a:cubicBezTo>
                  <a:lnTo>
                    <a:pt x="112" y="216"/>
                  </a:lnTo>
                  <a:close/>
                  <a:moveTo>
                    <a:pt x="90" y="298"/>
                  </a:moveTo>
                  <a:cubicBezTo>
                    <a:pt x="93" y="294"/>
                    <a:pt x="95" y="290"/>
                    <a:pt x="96" y="286"/>
                  </a:cubicBezTo>
                  <a:cubicBezTo>
                    <a:pt x="128" y="288"/>
                    <a:pt x="128" y="288"/>
                    <a:pt x="128" y="288"/>
                  </a:cubicBezTo>
                  <a:cubicBezTo>
                    <a:pt x="130" y="328"/>
                    <a:pt x="130" y="328"/>
                    <a:pt x="130" y="328"/>
                  </a:cubicBezTo>
                  <a:cubicBezTo>
                    <a:pt x="127" y="329"/>
                    <a:pt x="124" y="330"/>
                    <a:pt x="121" y="332"/>
                  </a:cubicBezTo>
                  <a:lnTo>
                    <a:pt x="90" y="298"/>
                  </a:lnTo>
                  <a:close/>
                  <a:moveTo>
                    <a:pt x="141" y="389"/>
                  </a:moveTo>
                  <a:cubicBezTo>
                    <a:pt x="128" y="389"/>
                    <a:pt x="118" y="379"/>
                    <a:pt x="118" y="366"/>
                  </a:cubicBezTo>
                  <a:cubicBezTo>
                    <a:pt x="118" y="353"/>
                    <a:pt x="128" y="342"/>
                    <a:pt x="141" y="342"/>
                  </a:cubicBezTo>
                  <a:cubicBezTo>
                    <a:pt x="154" y="342"/>
                    <a:pt x="165" y="353"/>
                    <a:pt x="165" y="366"/>
                  </a:cubicBezTo>
                  <a:cubicBezTo>
                    <a:pt x="165" y="379"/>
                    <a:pt x="154" y="389"/>
                    <a:pt x="141" y="389"/>
                  </a:cubicBezTo>
                  <a:close/>
                  <a:moveTo>
                    <a:pt x="175" y="345"/>
                  </a:moveTo>
                  <a:cubicBezTo>
                    <a:pt x="173" y="343"/>
                    <a:pt x="171" y="340"/>
                    <a:pt x="169" y="338"/>
                  </a:cubicBezTo>
                  <a:cubicBezTo>
                    <a:pt x="198" y="293"/>
                    <a:pt x="198" y="293"/>
                    <a:pt x="198" y="293"/>
                  </a:cubicBezTo>
                  <a:cubicBezTo>
                    <a:pt x="299" y="301"/>
                    <a:pt x="299" y="301"/>
                    <a:pt x="299" y="301"/>
                  </a:cubicBezTo>
                  <a:cubicBezTo>
                    <a:pt x="299" y="301"/>
                    <a:pt x="299" y="301"/>
                    <a:pt x="299" y="301"/>
                  </a:cubicBezTo>
                  <a:lnTo>
                    <a:pt x="175" y="345"/>
                  </a:lnTo>
                  <a:close/>
                  <a:moveTo>
                    <a:pt x="300" y="285"/>
                  </a:moveTo>
                  <a:cubicBezTo>
                    <a:pt x="208" y="278"/>
                    <a:pt x="208" y="278"/>
                    <a:pt x="208" y="278"/>
                  </a:cubicBezTo>
                  <a:cubicBezTo>
                    <a:pt x="227" y="248"/>
                    <a:pt x="227" y="248"/>
                    <a:pt x="227" y="248"/>
                  </a:cubicBezTo>
                  <a:cubicBezTo>
                    <a:pt x="232" y="250"/>
                    <a:pt x="237" y="251"/>
                    <a:pt x="242" y="251"/>
                  </a:cubicBezTo>
                  <a:cubicBezTo>
                    <a:pt x="251" y="251"/>
                    <a:pt x="259" y="248"/>
                    <a:pt x="266" y="243"/>
                  </a:cubicBezTo>
                  <a:cubicBezTo>
                    <a:pt x="303" y="276"/>
                    <a:pt x="303" y="276"/>
                    <a:pt x="303" y="276"/>
                  </a:cubicBezTo>
                  <a:cubicBezTo>
                    <a:pt x="302" y="279"/>
                    <a:pt x="301" y="282"/>
                    <a:pt x="300" y="285"/>
                  </a:cubicBezTo>
                  <a:close/>
                  <a:moveTo>
                    <a:pt x="337" y="319"/>
                  </a:moveTo>
                  <a:cubicBezTo>
                    <a:pt x="325" y="319"/>
                    <a:pt x="314" y="308"/>
                    <a:pt x="314" y="295"/>
                  </a:cubicBezTo>
                  <a:cubicBezTo>
                    <a:pt x="314" y="282"/>
                    <a:pt x="325" y="272"/>
                    <a:pt x="337" y="272"/>
                  </a:cubicBezTo>
                  <a:cubicBezTo>
                    <a:pt x="350" y="272"/>
                    <a:pt x="361" y="282"/>
                    <a:pt x="361" y="295"/>
                  </a:cubicBezTo>
                  <a:cubicBezTo>
                    <a:pt x="361" y="308"/>
                    <a:pt x="350" y="319"/>
                    <a:pt x="337" y="319"/>
                  </a:cubicBezTo>
                  <a:close/>
                </a:path>
              </a:pathLst>
            </a:custGeom>
            <a:solidFill>
              <a:srgbClr val="FFFFFF"/>
            </a:solidFill>
            <a:ln>
              <a:noFill/>
            </a:ln>
            <a:extLst/>
          </p:spPr>
          <p:txBody>
            <a:bodyPr/>
            <a:lstStyle/>
            <a:p>
              <a:endParaRPr lang="sv-SE"/>
            </a:p>
          </p:txBody>
        </p:sp>
      </p:grpSp>
      <p:grpSp>
        <p:nvGrpSpPr>
          <p:cNvPr id="22" name="Group 21">
            <a:extLst>
              <a:ext uri="{FF2B5EF4-FFF2-40B4-BE49-F238E27FC236}">
                <a16:creationId xmlns:a16="http://schemas.microsoft.com/office/drawing/2014/main" id="{3E88250C-E66E-4AC5-A52B-A631F14BE090}"/>
              </a:ext>
            </a:extLst>
          </p:cNvPr>
          <p:cNvGrpSpPr/>
          <p:nvPr/>
        </p:nvGrpSpPr>
        <p:grpSpPr>
          <a:xfrm>
            <a:off x="4701577" y="2851120"/>
            <a:ext cx="720003" cy="720000"/>
            <a:chOff x="4842905" y="2889930"/>
            <a:chExt cx="720003" cy="720000"/>
          </a:xfrm>
        </p:grpSpPr>
        <p:sp>
          <p:nvSpPr>
            <p:cNvPr id="137" name="Oval 27">
              <a:extLst>
                <a:ext uri="{FF2B5EF4-FFF2-40B4-BE49-F238E27FC236}">
                  <a16:creationId xmlns:a16="http://schemas.microsoft.com/office/drawing/2014/main" id="{23CFED7C-E3A1-4AC0-B8F1-D742C389E637}"/>
                </a:ext>
              </a:extLst>
            </p:cNvPr>
            <p:cNvSpPr>
              <a:spLocks noChangeAspect="1" noChangeArrowheads="1"/>
            </p:cNvSpPr>
            <p:nvPr/>
          </p:nvSpPr>
          <p:spPr bwMode="auto">
            <a:xfrm>
              <a:off x="4842905" y="2889930"/>
              <a:ext cx="720003" cy="720000"/>
            </a:xfrm>
            <a:prstGeom prst="ellipse">
              <a:avLst/>
            </a:prstGeom>
            <a:solidFill>
              <a:srgbClr val="007B78"/>
            </a:solidFill>
            <a:ln w="38100">
              <a:solidFill>
                <a:srgbClr val="FFFFFF"/>
              </a:solidFill>
              <a:round/>
              <a:headEnd/>
              <a:tailEnd/>
            </a:ln>
          </p:spPr>
          <p:txBody>
            <a:bodyPr wrap="none" lIns="72000" rIns="72000" anchor="ctr"/>
            <a:lstStyle/>
            <a:p>
              <a:pPr algn="ctr">
                <a:lnSpc>
                  <a:spcPts val="1200"/>
                </a:lnSpc>
                <a:defRPr/>
              </a:pPr>
              <a:endParaRPr lang="en-US" sz="1300" dirty="0">
                <a:latin typeface="Arial"/>
                <a:ea typeface="ＭＳ Ｐゴシック" pitchFamily="34" charset="-128"/>
              </a:endParaRPr>
            </a:p>
          </p:txBody>
        </p:sp>
        <p:sp>
          <p:nvSpPr>
            <p:cNvPr id="141" name="Freeform 2">
              <a:extLst>
                <a:ext uri="{FF2B5EF4-FFF2-40B4-BE49-F238E27FC236}">
                  <a16:creationId xmlns:a16="http://schemas.microsoft.com/office/drawing/2014/main" id="{C43A045A-685B-45F2-95E6-D2CE84AEDF56}"/>
                </a:ext>
              </a:extLst>
            </p:cNvPr>
            <p:cNvSpPr>
              <a:spLocks noChangeAspect="1" noEditPoints="1"/>
            </p:cNvSpPr>
            <p:nvPr/>
          </p:nvSpPr>
          <p:spPr bwMode="auto">
            <a:xfrm>
              <a:off x="5011874" y="3044082"/>
              <a:ext cx="366806" cy="411696"/>
            </a:xfrm>
            <a:custGeom>
              <a:avLst/>
              <a:gdLst>
                <a:gd name="T0" fmla="*/ 278 w 384"/>
                <a:gd name="T1" fmla="*/ 176 h 431"/>
                <a:gd name="T2" fmla="*/ 345 w 384"/>
                <a:gd name="T3" fmla="*/ 167 h 431"/>
                <a:gd name="T4" fmla="*/ 345 w 384"/>
                <a:gd name="T5" fmla="*/ 88 h 431"/>
                <a:gd name="T6" fmla="*/ 307 w 384"/>
                <a:gd name="T7" fmla="*/ 141 h 431"/>
                <a:gd name="T8" fmla="*/ 267 w 384"/>
                <a:gd name="T9" fmla="*/ 173 h 431"/>
                <a:gd name="T10" fmla="*/ 345 w 384"/>
                <a:gd name="T11" fmla="*/ 104 h 431"/>
                <a:gd name="T12" fmla="*/ 345 w 384"/>
                <a:gd name="T13" fmla="*/ 151 h 431"/>
                <a:gd name="T14" fmla="*/ 345 w 384"/>
                <a:gd name="T15" fmla="*/ 104 h 431"/>
                <a:gd name="T16" fmla="*/ 315 w 384"/>
                <a:gd name="T17" fmla="*/ 277 h 431"/>
                <a:gd name="T18" fmla="*/ 270 w 384"/>
                <a:gd name="T19" fmla="*/ 218 h 431"/>
                <a:gd name="T20" fmla="*/ 257 w 384"/>
                <a:gd name="T21" fmla="*/ 188 h 431"/>
                <a:gd name="T22" fmla="*/ 254 w 384"/>
                <a:gd name="T23" fmla="*/ 217 h 431"/>
                <a:gd name="T24" fmla="*/ 246 w 384"/>
                <a:gd name="T25" fmla="*/ 247 h 431"/>
                <a:gd name="T26" fmla="*/ 235 w 384"/>
                <a:gd name="T27" fmla="*/ 261 h 431"/>
                <a:gd name="T28" fmla="*/ 130 w 384"/>
                <a:gd name="T29" fmla="*/ 214 h 431"/>
                <a:gd name="T30" fmla="*/ 138 w 384"/>
                <a:gd name="T31" fmla="*/ 185 h 431"/>
                <a:gd name="T32" fmla="*/ 149 w 384"/>
                <a:gd name="T33" fmla="*/ 171 h 431"/>
                <a:gd name="T34" fmla="*/ 238 w 384"/>
                <a:gd name="T35" fmla="*/ 174 h 431"/>
                <a:gd name="T36" fmla="*/ 250 w 384"/>
                <a:gd name="T37" fmla="*/ 163 h 431"/>
                <a:gd name="T38" fmla="*/ 200 w 384"/>
                <a:gd name="T39" fmla="*/ 79 h 431"/>
                <a:gd name="T40" fmla="*/ 192 w 384"/>
                <a:gd name="T41" fmla="*/ 0 h 431"/>
                <a:gd name="T42" fmla="*/ 184 w 384"/>
                <a:gd name="T43" fmla="*/ 79 h 431"/>
                <a:gd name="T44" fmla="*/ 138 w 384"/>
                <a:gd name="T45" fmla="*/ 159 h 431"/>
                <a:gd name="T46" fmla="*/ 77 w 384"/>
                <a:gd name="T47" fmla="*/ 141 h 431"/>
                <a:gd name="T48" fmla="*/ 40 w 384"/>
                <a:gd name="T49" fmla="*/ 88 h 431"/>
                <a:gd name="T50" fmla="*/ 40 w 384"/>
                <a:gd name="T51" fmla="*/ 167 h 431"/>
                <a:gd name="T52" fmla="*/ 121 w 384"/>
                <a:gd name="T53" fmla="*/ 184 h 431"/>
                <a:gd name="T54" fmla="*/ 121 w 384"/>
                <a:gd name="T55" fmla="*/ 248 h 431"/>
                <a:gd name="T56" fmla="*/ 40 w 384"/>
                <a:gd name="T57" fmla="*/ 264 h 431"/>
                <a:gd name="T58" fmla="*/ 40 w 384"/>
                <a:gd name="T59" fmla="*/ 343 h 431"/>
                <a:gd name="T60" fmla="*/ 77 w 384"/>
                <a:gd name="T61" fmla="*/ 291 h 431"/>
                <a:gd name="T62" fmla="*/ 184 w 384"/>
                <a:gd name="T63" fmla="*/ 293 h 431"/>
                <a:gd name="T64" fmla="*/ 153 w 384"/>
                <a:gd name="T65" fmla="*/ 392 h 431"/>
                <a:gd name="T66" fmla="*/ 232 w 384"/>
                <a:gd name="T67" fmla="*/ 392 h 431"/>
                <a:gd name="T68" fmla="*/ 200 w 384"/>
                <a:gd name="T69" fmla="*/ 294 h 431"/>
                <a:gd name="T70" fmla="*/ 256 w 384"/>
                <a:gd name="T71" fmla="*/ 262 h 431"/>
                <a:gd name="T72" fmla="*/ 305 w 384"/>
                <a:gd name="T73" fmla="*/ 304 h 431"/>
                <a:gd name="T74" fmla="*/ 384 w 384"/>
                <a:gd name="T75" fmla="*/ 304 h 431"/>
                <a:gd name="T76" fmla="*/ 169 w 384"/>
                <a:gd name="T77" fmla="*/ 40 h 431"/>
                <a:gd name="T78" fmla="*/ 216 w 384"/>
                <a:gd name="T79" fmla="*/ 40 h 431"/>
                <a:gd name="T80" fmla="*/ 169 w 384"/>
                <a:gd name="T81" fmla="*/ 40 h 431"/>
                <a:gd name="T82" fmla="*/ 16 w 384"/>
                <a:gd name="T83" fmla="*/ 128 h 431"/>
                <a:gd name="T84" fmla="*/ 63 w 384"/>
                <a:gd name="T85" fmla="*/ 128 h 431"/>
                <a:gd name="T86" fmla="*/ 40 w 384"/>
                <a:gd name="T87" fmla="*/ 327 h 431"/>
                <a:gd name="T88" fmla="*/ 40 w 384"/>
                <a:gd name="T89" fmla="*/ 280 h 431"/>
                <a:gd name="T90" fmla="*/ 40 w 384"/>
                <a:gd name="T91" fmla="*/ 327 h 431"/>
                <a:gd name="T92" fmla="*/ 192 w 384"/>
                <a:gd name="T93" fmla="*/ 415 h 431"/>
                <a:gd name="T94" fmla="*/ 192 w 384"/>
                <a:gd name="T95" fmla="*/ 368 h 431"/>
                <a:gd name="T96" fmla="*/ 345 w 384"/>
                <a:gd name="T97" fmla="*/ 327 h 431"/>
                <a:gd name="T98" fmla="*/ 345 w 384"/>
                <a:gd name="T99" fmla="*/ 280 h 431"/>
                <a:gd name="T100" fmla="*/ 345 w 384"/>
                <a:gd name="T101" fmla="*/ 327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4" h="431">
                  <a:moveTo>
                    <a:pt x="274" y="177"/>
                  </a:moveTo>
                  <a:cubicBezTo>
                    <a:pt x="275" y="177"/>
                    <a:pt x="276" y="177"/>
                    <a:pt x="278" y="176"/>
                  </a:cubicBezTo>
                  <a:cubicBezTo>
                    <a:pt x="315" y="154"/>
                    <a:pt x="315" y="154"/>
                    <a:pt x="315" y="154"/>
                  </a:cubicBezTo>
                  <a:cubicBezTo>
                    <a:pt x="322" y="162"/>
                    <a:pt x="333" y="167"/>
                    <a:pt x="345" y="167"/>
                  </a:cubicBezTo>
                  <a:cubicBezTo>
                    <a:pt x="366" y="167"/>
                    <a:pt x="384" y="150"/>
                    <a:pt x="384" y="128"/>
                  </a:cubicBezTo>
                  <a:cubicBezTo>
                    <a:pt x="384" y="106"/>
                    <a:pt x="366" y="88"/>
                    <a:pt x="345" y="88"/>
                  </a:cubicBezTo>
                  <a:cubicBezTo>
                    <a:pt x="323" y="88"/>
                    <a:pt x="305" y="106"/>
                    <a:pt x="305" y="128"/>
                  </a:cubicBezTo>
                  <a:cubicBezTo>
                    <a:pt x="305" y="132"/>
                    <a:pt x="306" y="137"/>
                    <a:pt x="307" y="141"/>
                  </a:cubicBezTo>
                  <a:cubicBezTo>
                    <a:pt x="270" y="162"/>
                    <a:pt x="270" y="162"/>
                    <a:pt x="270" y="162"/>
                  </a:cubicBezTo>
                  <a:cubicBezTo>
                    <a:pt x="266" y="164"/>
                    <a:pt x="265" y="169"/>
                    <a:pt x="267" y="173"/>
                  </a:cubicBezTo>
                  <a:cubicBezTo>
                    <a:pt x="268" y="176"/>
                    <a:pt x="271" y="177"/>
                    <a:pt x="274" y="177"/>
                  </a:cubicBezTo>
                  <a:close/>
                  <a:moveTo>
                    <a:pt x="345" y="104"/>
                  </a:moveTo>
                  <a:cubicBezTo>
                    <a:pt x="358" y="104"/>
                    <a:pt x="368" y="115"/>
                    <a:pt x="368" y="128"/>
                  </a:cubicBezTo>
                  <a:cubicBezTo>
                    <a:pt x="368" y="141"/>
                    <a:pt x="358" y="151"/>
                    <a:pt x="345" y="151"/>
                  </a:cubicBezTo>
                  <a:cubicBezTo>
                    <a:pt x="332" y="151"/>
                    <a:pt x="321" y="141"/>
                    <a:pt x="321" y="128"/>
                  </a:cubicBezTo>
                  <a:cubicBezTo>
                    <a:pt x="321" y="115"/>
                    <a:pt x="332" y="104"/>
                    <a:pt x="345" y="104"/>
                  </a:cubicBezTo>
                  <a:close/>
                  <a:moveTo>
                    <a:pt x="345" y="264"/>
                  </a:moveTo>
                  <a:cubicBezTo>
                    <a:pt x="333" y="264"/>
                    <a:pt x="322" y="269"/>
                    <a:pt x="315" y="277"/>
                  </a:cubicBezTo>
                  <a:cubicBezTo>
                    <a:pt x="264" y="248"/>
                    <a:pt x="264" y="248"/>
                    <a:pt x="264" y="248"/>
                  </a:cubicBezTo>
                  <a:cubicBezTo>
                    <a:pt x="268" y="238"/>
                    <a:pt x="270" y="228"/>
                    <a:pt x="270" y="218"/>
                  </a:cubicBezTo>
                  <a:cubicBezTo>
                    <a:pt x="271" y="210"/>
                    <a:pt x="269" y="202"/>
                    <a:pt x="267" y="194"/>
                  </a:cubicBezTo>
                  <a:cubicBezTo>
                    <a:pt x="266" y="189"/>
                    <a:pt x="261" y="187"/>
                    <a:pt x="257" y="188"/>
                  </a:cubicBezTo>
                  <a:cubicBezTo>
                    <a:pt x="253" y="189"/>
                    <a:pt x="251" y="194"/>
                    <a:pt x="252" y="198"/>
                  </a:cubicBezTo>
                  <a:cubicBezTo>
                    <a:pt x="254" y="204"/>
                    <a:pt x="255" y="211"/>
                    <a:pt x="254" y="217"/>
                  </a:cubicBezTo>
                  <a:cubicBezTo>
                    <a:pt x="254" y="228"/>
                    <a:pt x="251" y="238"/>
                    <a:pt x="246" y="247"/>
                  </a:cubicBezTo>
                  <a:cubicBezTo>
                    <a:pt x="246" y="247"/>
                    <a:pt x="246" y="247"/>
                    <a:pt x="246" y="247"/>
                  </a:cubicBezTo>
                  <a:cubicBezTo>
                    <a:pt x="246" y="247"/>
                    <a:pt x="246" y="247"/>
                    <a:pt x="246" y="247"/>
                  </a:cubicBezTo>
                  <a:cubicBezTo>
                    <a:pt x="243" y="252"/>
                    <a:pt x="239" y="257"/>
                    <a:pt x="235" y="261"/>
                  </a:cubicBezTo>
                  <a:cubicBezTo>
                    <a:pt x="223" y="272"/>
                    <a:pt x="207" y="278"/>
                    <a:pt x="191" y="278"/>
                  </a:cubicBezTo>
                  <a:cubicBezTo>
                    <a:pt x="156" y="277"/>
                    <a:pt x="129" y="248"/>
                    <a:pt x="130" y="214"/>
                  </a:cubicBezTo>
                  <a:cubicBezTo>
                    <a:pt x="130" y="204"/>
                    <a:pt x="133" y="194"/>
                    <a:pt x="138" y="185"/>
                  </a:cubicBezTo>
                  <a:cubicBezTo>
                    <a:pt x="138" y="185"/>
                    <a:pt x="138" y="185"/>
                    <a:pt x="138" y="185"/>
                  </a:cubicBezTo>
                  <a:cubicBezTo>
                    <a:pt x="138" y="185"/>
                    <a:pt x="138" y="185"/>
                    <a:pt x="138" y="185"/>
                  </a:cubicBezTo>
                  <a:cubicBezTo>
                    <a:pt x="141" y="180"/>
                    <a:pt x="145" y="175"/>
                    <a:pt x="149" y="171"/>
                  </a:cubicBezTo>
                  <a:cubicBezTo>
                    <a:pt x="162" y="159"/>
                    <a:pt x="177" y="153"/>
                    <a:pt x="194" y="154"/>
                  </a:cubicBezTo>
                  <a:cubicBezTo>
                    <a:pt x="211" y="154"/>
                    <a:pt x="226" y="161"/>
                    <a:pt x="238" y="174"/>
                  </a:cubicBezTo>
                  <a:cubicBezTo>
                    <a:pt x="241" y="177"/>
                    <a:pt x="246" y="177"/>
                    <a:pt x="249" y="174"/>
                  </a:cubicBezTo>
                  <a:cubicBezTo>
                    <a:pt x="252" y="171"/>
                    <a:pt x="253" y="166"/>
                    <a:pt x="250" y="163"/>
                  </a:cubicBezTo>
                  <a:cubicBezTo>
                    <a:pt x="237" y="149"/>
                    <a:pt x="219" y="140"/>
                    <a:pt x="200" y="138"/>
                  </a:cubicBezTo>
                  <a:cubicBezTo>
                    <a:pt x="200" y="79"/>
                    <a:pt x="200" y="79"/>
                    <a:pt x="200" y="79"/>
                  </a:cubicBezTo>
                  <a:cubicBezTo>
                    <a:pt x="218" y="75"/>
                    <a:pt x="232" y="59"/>
                    <a:pt x="232" y="40"/>
                  </a:cubicBezTo>
                  <a:cubicBezTo>
                    <a:pt x="232" y="18"/>
                    <a:pt x="214" y="0"/>
                    <a:pt x="192" y="0"/>
                  </a:cubicBezTo>
                  <a:cubicBezTo>
                    <a:pt x="170" y="0"/>
                    <a:pt x="153" y="18"/>
                    <a:pt x="153" y="40"/>
                  </a:cubicBezTo>
                  <a:cubicBezTo>
                    <a:pt x="153" y="59"/>
                    <a:pt x="166" y="75"/>
                    <a:pt x="184" y="79"/>
                  </a:cubicBezTo>
                  <a:cubicBezTo>
                    <a:pt x="184" y="138"/>
                    <a:pt x="184" y="138"/>
                    <a:pt x="184" y="138"/>
                  </a:cubicBezTo>
                  <a:cubicBezTo>
                    <a:pt x="167" y="140"/>
                    <a:pt x="151" y="147"/>
                    <a:pt x="138" y="159"/>
                  </a:cubicBezTo>
                  <a:cubicBezTo>
                    <a:pt x="135" y="162"/>
                    <a:pt x="132" y="166"/>
                    <a:pt x="129" y="170"/>
                  </a:cubicBezTo>
                  <a:cubicBezTo>
                    <a:pt x="77" y="141"/>
                    <a:pt x="77" y="141"/>
                    <a:pt x="77" y="141"/>
                  </a:cubicBezTo>
                  <a:cubicBezTo>
                    <a:pt x="79" y="137"/>
                    <a:pt x="79" y="132"/>
                    <a:pt x="79" y="128"/>
                  </a:cubicBezTo>
                  <a:cubicBezTo>
                    <a:pt x="79" y="106"/>
                    <a:pt x="62" y="88"/>
                    <a:pt x="40" y="88"/>
                  </a:cubicBezTo>
                  <a:cubicBezTo>
                    <a:pt x="18" y="88"/>
                    <a:pt x="0" y="106"/>
                    <a:pt x="0" y="128"/>
                  </a:cubicBezTo>
                  <a:cubicBezTo>
                    <a:pt x="0" y="150"/>
                    <a:pt x="18" y="167"/>
                    <a:pt x="40" y="167"/>
                  </a:cubicBezTo>
                  <a:cubicBezTo>
                    <a:pt x="51" y="167"/>
                    <a:pt x="62" y="162"/>
                    <a:pt x="69" y="154"/>
                  </a:cubicBezTo>
                  <a:cubicBezTo>
                    <a:pt x="121" y="184"/>
                    <a:pt x="121" y="184"/>
                    <a:pt x="121" y="184"/>
                  </a:cubicBezTo>
                  <a:cubicBezTo>
                    <a:pt x="117" y="193"/>
                    <a:pt x="114" y="203"/>
                    <a:pt x="114" y="214"/>
                  </a:cubicBezTo>
                  <a:cubicBezTo>
                    <a:pt x="114" y="226"/>
                    <a:pt x="116" y="237"/>
                    <a:pt x="121" y="248"/>
                  </a:cubicBezTo>
                  <a:cubicBezTo>
                    <a:pt x="69" y="277"/>
                    <a:pt x="69" y="277"/>
                    <a:pt x="69" y="277"/>
                  </a:cubicBezTo>
                  <a:cubicBezTo>
                    <a:pt x="62" y="269"/>
                    <a:pt x="51" y="264"/>
                    <a:pt x="40" y="264"/>
                  </a:cubicBezTo>
                  <a:cubicBezTo>
                    <a:pt x="18" y="264"/>
                    <a:pt x="0" y="282"/>
                    <a:pt x="0" y="304"/>
                  </a:cubicBezTo>
                  <a:cubicBezTo>
                    <a:pt x="0" y="326"/>
                    <a:pt x="18" y="343"/>
                    <a:pt x="40" y="343"/>
                  </a:cubicBezTo>
                  <a:cubicBezTo>
                    <a:pt x="62" y="343"/>
                    <a:pt x="79" y="326"/>
                    <a:pt x="79" y="304"/>
                  </a:cubicBezTo>
                  <a:cubicBezTo>
                    <a:pt x="79" y="299"/>
                    <a:pt x="79" y="295"/>
                    <a:pt x="77" y="291"/>
                  </a:cubicBezTo>
                  <a:cubicBezTo>
                    <a:pt x="129" y="262"/>
                    <a:pt x="129" y="262"/>
                    <a:pt x="129" y="262"/>
                  </a:cubicBezTo>
                  <a:cubicBezTo>
                    <a:pt x="142" y="279"/>
                    <a:pt x="161" y="291"/>
                    <a:pt x="184" y="293"/>
                  </a:cubicBezTo>
                  <a:cubicBezTo>
                    <a:pt x="184" y="353"/>
                    <a:pt x="184" y="353"/>
                    <a:pt x="184" y="353"/>
                  </a:cubicBezTo>
                  <a:cubicBezTo>
                    <a:pt x="166" y="357"/>
                    <a:pt x="153" y="373"/>
                    <a:pt x="153" y="392"/>
                  </a:cubicBezTo>
                  <a:cubicBezTo>
                    <a:pt x="153" y="414"/>
                    <a:pt x="170" y="431"/>
                    <a:pt x="192" y="431"/>
                  </a:cubicBezTo>
                  <a:cubicBezTo>
                    <a:pt x="214" y="431"/>
                    <a:pt x="232" y="414"/>
                    <a:pt x="232" y="392"/>
                  </a:cubicBezTo>
                  <a:cubicBezTo>
                    <a:pt x="232" y="373"/>
                    <a:pt x="218" y="357"/>
                    <a:pt x="200" y="353"/>
                  </a:cubicBezTo>
                  <a:cubicBezTo>
                    <a:pt x="200" y="294"/>
                    <a:pt x="200" y="294"/>
                    <a:pt x="200" y="294"/>
                  </a:cubicBezTo>
                  <a:cubicBezTo>
                    <a:pt x="217" y="292"/>
                    <a:pt x="233" y="285"/>
                    <a:pt x="246" y="273"/>
                  </a:cubicBezTo>
                  <a:cubicBezTo>
                    <a:pt x="250" y="269"/>
                    <a:pt x="253" y="265"/>
                    <a:pt x="256" y="262"/>
                  </a:cubicBezTo>
                  <a:cubicBezTo>
                    <a:pt x="307" y="291"/>
                    <a:pt x="307" y="291"/>
                    <a:pt x="307" y="291"/>
                  </a:cubicBezTo>
                  <a:cubicBezTo>
                    <a:pt x="306" y="295"/>
                    <a:pt x="305" y="299"/>
                    <a:pt x="305" y="304"/>
                  </a:cubicBezTo>
                  <a:cubicBezTo>
                    <a:pt x="305" y="326"/>
                    <a:pt x="323" y="343"/>
                    <a:pt x="345" y="343"/>
                  </a:cubicBezTo>
                  <a:cubicBezTo>
                    <a:pt x="366" y="343"/>
                    <a:pt x="384" y="326"/>
                    <a:pt x="384" y="304"/>
                  </a:cubicBezTo>
                  <a:cubicBezTo>
                    <a:pt x="384" y="282"/>
                    <a:pt x="366" y="264"/>
                    <a:pt x="345" y="264"/>
                  </a:cubicBezTo>
                  <a:close/>
                  <a:moveTo>
                    <a:pt x="169" y="40"/>
                  </a:moveTo>
                  <a:cubicBezTo>
                    <a:pt x="169" y="27"/>
                    <a:pt x="179" y="16"/>
                    <a:pt x="192" y="16"/>
                  </a:cubicBezTo>
                  <a:cubicBezTo>
                    <a:pt x="205" y="16"/>
                    <a:pt x="216" y="27"/>
                    <a:pt x="216" y="40"/>
                  </a:cubicBezTo>
                  <a:cubicBezTo>
                    <a:pt x="216" y="53"/>
                    <a:pt x="205" y="64"/>
                    <a:pt x="192" y="64"/>
                  </a:cubicBezTo>
                  <a:cubicBezTo>
                    <a:pt x="179" y="64"/>
                    <a:pt x="169" y="53"/>
                    <a:pt x="169" y="40"/>
                  </a:cubicBezTo>
                  <a:close/>
                  <a:moveTo>
                    <a:pt x="40" y="151"/>
                  </a:moveTo>
                  <a:cubicBezTo>
                    <a:pt x="27" y="151"/>
                    <a:pt x="16" y="141"/>
                    <a:pt x="16" y="128"/>
                  </a:cubicBezTo>
                  <a:cubicBezTo>
                    <a:pt x="16" y="115"/>
                    <a:pt x="27" y="104"/>
                    <a:pt x="40" y="104"/>
                  </a:cubicBezTo>
                  <a:cubicBezTo>
                    <a:pt x="53" y="104"/>
                    <a:pt x="63" y="115"/>
                    <a:pt x="63" y="128"/>
                  </a:cubicBezTo>
                  <a:cubicBezTo>
                    <a:pt x="63" y="141"/>
                    <a:pt x="53" y="151"/>
                    <a:pt x="40" y="151"/>
                  </a:cubicBezTo>
                  <a:close/>
                  <a:moveTo>
                    <a:pt x="40" y="327"/>
                  </a:moveTo>
                  <a:cubicBezTo>
                    <a:pt x="27" y="327"/>
                    <a:pt x="16" y="317"/>
                    <a:pt x="16" y="304"/>
                  </a:cubicBezTo>
                  <a:cubicBezTo>
                    <a:pt x="16" y="291"/>
                    <a:pt x="27" y="280"/>
                    <a:pt x="40" y="280"/>
                  </a:cubicBezTo>
                  <a:cubicBezTo>
                    <a:pt x="53" y="280"/>
                    <a:pt x="63" y="291"/>
                    <a:pt x="63" y="304"/>
                  </a:cubicBezTo>
                  <a:cubicBezTo>
                    <a:pt x="63" y="317"/>
                    <a:pt x="53" y="327"/>
                    <a:pt x="40" y="327"/>
                  </a:cubicBezTo>
                  <a:close/>
                  <a:moveTo>
                    <a:pt x="216" y="392"/>
                  </a:moveTo>
                  <a:cubicBezTo>
                    <a:pt x="216" y="405"/>
                    <a:pt x="205" y="415"/>
                    <a:pt x="192" y="415"/>
                  </a:cubicBezTo>
                  <a:cubicBezTo>
                    <a:pt x="179" y="415"/>
                    <a:pt x="169" y="405"/>
                    <a:pt x="169" y="392"/>
                  </a:cubicBezTo>
                  <a:cubicBezTo>
                    <a:pt x="169" y="379"/>
                    <a:pt x="179" y="368"/>
                    <a:pt x="192" y="368"/>
                  </a:cubicBezTo>
                  <a:cubicBezTo>
                    <a:pt x="205" y="368"/>
                    <a:pt x="216" y="379"/>
                    <a:pt x="216" y="392"/>
                  </a:cubicBezTo>
                  <a:close/>
                  <a:moveTo>
                    <a:pt x="345" y="327"/>
                  </a:moveTo>
                  <a:cubicBezTo>
                    <a:pt x="332" y="327"/>
                    <a:pt x="321" y="317"/>
                    <a:pt x="321" y="304"/>
                  </a:cubicBezTo>
                  <a:cubicBezTo>
                    <a:pt x="321" y="291"/>
                    <a:pt x="332" y="280"/>
                    <a:pt x="345" y="280"/>
                  </a:cubicBezTo>
                  <a:cubicBezTo>
                    <a:pt x="358" y="280"/>
                    <a:pt x="368" y="291"/>
                    <a:pt x="368" y="304"/>
                  </a:cubicBezTo>
                  <a:cubicBezTo>
                    <a:pt x="368" y="317"/>
                    <a:pt x="358" y="327"/>
                    <a:pt x="345" y="3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endParaRPr>
            </a:p>
          </p:txBody>
        </p:sp>
      </p:grpSp>
      <p:grpSp>
        <p:nvGrpSpPr>
          <p:cNvPr id="23" name="Group 22">
            <a:extLst>
              <a:ext uri="{FF2B5EF4-FFF2-40B4-BE49-F238E27FC236}">
                <a16:creationId xmlns:a16="http://schemas.microsoft.com/office/drawing/2014/main" id="{AFCEC064-65A3-4E1C-A26E-C36625197787}"/>
              </a:ext>
            </a:extLst>
          </p:cNvPr>
          <p:cNvGrpSpPr/>
          <p:nvPr/>
        </p:nvGrpSpPr>
        <p:grpSpPr>
          <a:xfrm>
            <a:off x="5911152" y="2719562"/>
            <a:ext cx="720003" cy="720000"/>
            <a:chOff x="6107901" y="2719562"/>
            <a:chExt cx="720003" cy="720000"/>
          </a:xfrm>
        </p:grpSpPr>
        <p:sp>
          <p:nvSpPr>
            <p:cNvPr id="142" name="Oval 27">
              <a:extLst>
                <a:ext uri="{FF2B5EF4-FFF2-40B4-BE49-F238E27FC236}">
                  <a16:creationId xmlns:a16="http://schemas.microsoft.com/office/drawing/2014/main" id="{495252A6-7D48-43A7-9FCA-B7970133155B}"/>
                </a:ext>
              </a:extLst>
            </p:cNvPr>
            <p:cNvSpPr>
              <a:spLocks noChangeAspect="1" noChangeArrowheads="1"/>
            </p:cNvSpPr>
            <p:nvPr/>
          </p:nvSpPr>
          <p:spPr bwMode="auto">
            <a:xfrm>
              <a:off x="6107901" y="2719562"/>
              <a:ext cx="720003" cy="720000"/>
            </a:xfrm>
            <a:prstGeom prst="ellipse">
              <a:avLst/>
            </a:prstGeom>
            <a:solidFill>
              <a:srgbClr val="007B78"/>
            </a:solidFill>
            <a:ln w="38100">
              <a:solidFill>
                <a:srgbClr val="FFFFFF"/>
              </a:solidFill>
              <a:round/>
              <a:headEnd/>
              <a:tailEnd/>
            </a:ln>
          </p:spPr>
          <p:txBody>
            <a:bodyPr wrap="none" lIns="72000" rIns="72000" anchor="ctr"/>
            <a:lstStyle/>
            <a:p>
              <a:pPr algn="ctr">
                <a:lnSpc>
                  <a:spcPts val="1200"/>
                </a:lnSpc>
                <a:defRPr/>
              </a:pPr>
              <a:endParaRPr lang="en-US" sz="1300" dirty="0">
                <a:latin typeface="Arial"/>
                <a:ea typeface="ＭＳ Ｐゴシック" pitchFamily="34" charset="-128"/>
              </a:endParaRPr>
            </a:p>
          </p:txBody>
        </p:sp>
        <p:sp>
          <p:nvSpPr>
            <p:cNvPr id="149" name="Freeform 62">
              <a:extLst>
                <a:ext uri="{FF2B5EF4-FFF2-40B4-BE49-F238E27FC236}">
                  <a16:creationId xmlns:a16="http://schemas.microsoft.com/office/drawing/2014/main" id="{2ED05BC8-CB57-4294-AE3B-780C96C45CFC}"/>
                </a:ext>
              </a:extLst>
            </p:cNvPr>
            <p:cNvSpPr>
              <a:spLocks noChangeAspect="1" noEditPoints="1"/>
            </p:cNvSpPr>
            <p:nvPr/>
          </p:nvSpPr>
          <p:spPr bwMode="auto">
            <a:xfrm>
              <a:off x="6252474" y="2882037"/>
              <a:ext cx="458861" cy="346923"/>
            </a:xfrm>
            <a:custGeom>
              <a:avLst/>
              <a:gdLst>
                <a:gd name="T0" fmla="*/ 2147483647 w 421"/>
                <a:gd name="T1" fmla="*/ 2147483647 h 318"/>
                <a:gd name="T2" fmla="*/ 2147483647 w 421"/>
                <a:gd name="T3" fmla="*/ 2147483647 h 318"/>
                <a:gd name="T4" fmla="*/ 2147483647 w 421"/>
                <a:gd name="T5" fmla="*/ 2147483647 h 318"/>
                <a:gd name="T6" fmla="*/ 2147483647 w 421"/>
                <a:gd name="T7" fmla="*/ 2147483647 h 318"/>
                <a:gd name="T8" fmla="*/ 2147483647 w 421"/>
                <a:gd name="T9" fmla="*/ 2147483647 h 318"/>
                <a:gd name="T10" fmla="*/ 2147483647 w 421"/>
                <a:gd name="T11" fmla="*/ 2147483647 h 318"/>
                <a:gd name="T12" fmla="*/ 2147483647 w 421"/>
                <a:gd name="T13" fmla="*/ 2147483647 h 318"/>
                <a:gd name="T14" fmla="*/ 2147483647 w 421"/>
                <a:gd name="T15" fmla="*/ 2147483647 h 318"/>
                <a:gd name="T16" fmla="*/ 2147483647 w 421"/>
                <a:gd name="T17" fmla="*/ 2147483647 h 318"/>
                <a:gd name="T18" fmla="*/ 2147483647 w 421"/>
                <a:gd name="T19" fmla="*/ 2147483647 h 318"/>
                <a:gd name="T20" fmla="*/ 2147483647 w 421"/>
                <a:gd name="T21" fmla="*/ 2147483647 h 318"/>
                <a:gd name="T22" fmla="*/ 2147483647 w 421"/>
                <a:gd name="T23" fmla="*/ 2147483647 h 318"/>
                <a:gd name="T24" fmla="*/ 2147483647 w 421"/>
                <a:gd name="T25" fmla="*/ 2147483647 h 318"/>
                <a:gd name="T26" fmla="*/ 2147483647 w 421"/>
                <a:gd name="T27" fmla="*/ 2147483647 h 318"/>
                <a:gd name="T28" fmla="*/ 2147483647 w 421"/>
                <a:gd name="T29" fmla="*/ 2147483647 h 318"/>
                <a:gd name="T30" fmla="*/ 2147483647 w 421"/>
                <a:gd name="T31" fmla="*/ 2147483647 h 318"/>
                <a:gd name="T32" fmla="*/ 2147483647 w 421"/>
                <a:gd name="T33" fmla="*/ 2147483647 h 318"/>
                <a:gd name="T34" fmla="*/ 2147483647 w 421"/>
                <a:gd name="T35" fmla="*/ 2147483647 h 318"/>
                <a:gd name="T36" fmla="*/ 2147483647 w 421"/>
                <a:gd name="T37" fmla="*/ 2147483647 h 318"/>
                <a:gd name="T38" fmla="*/ 2147483647 w 421"/>
                <a:gd name="T39" fmla="*/ 2147483647 h 318"/>
                <a:gd name="T40" fmla="*/ 2147483647 w 421"/>
                <a:gd name="T41" fmla="*/ 2147483647 h 318"/>
                <a:gd name="T42" fmla="*/ 2147483647 w 421"/>
                <a:gd name="T43" fmla="*/ 2147483647 h 318"/>
                <a:gd name="T44" fmla="*/ 2147483647 w 421"/>
                <a:gd name="T45" fmla="*/ 2147483647 h 318"/>
                <a:gd name="T46" fmla="*/ 2147483647 w 421"/>
                <a:gd name="T47" fmla="*/ 2147483647 h 318"/>
                <a:gd name="T48" fmla="*/ 2147483647 w 421"/>
                <a:gd name="T49" fmla="*/ 2147483647 h 318"/>
                <a:gd name="T50" fmla="*/ 2147483647 w 421"/>
                <a:gd name="T51" fmla="*/ 2147483647 h 318"/>
                <a:gd name="T52" fmla="*/ 2147483647 w 421"/>
                <a:gd name="T53" fmla="*/ 2147483647 h 318"/>
                <a:gd name="T54" fmla="*/ 2147483647 w 421"/>
                <a:gd name="T55" fmla="*/ 2147483647 h 318"/>
                <a:gd name="T56" fmla="*/ 2147483647 w 421"/>
                <a:gd name="T57" fmla="*/ 2147483647 h 318"/>
                <a:gd name="T58" fmla="*/ 2147483647 w 421"/>
                <a:gd name="T59" fmla="*/ 2147483647 h 318"/>
                <a:gd name="T60" fmla="*/ 2147483647 w 421"/>
                <a:gd name="T61" fmla="*/ 2147483647 h 318"/>
                <a:gd name="T62" fmla="*/ 2147483647 w 421"/>
                <a:gd name="T63" fmla="*/ 2147483647 h 318"/>
                <a:gd name="T64" fmla="*/ 2147483647 w 421"/>
                <a:gd name="T65" fmla="*/ 2147483647 h 318"/>
                <a:gd name="T66" fmla="*/ 2147483647 w 421"/>
                <a:gd name="T67" fmla="*/ 2147483647 h 318"/>
                <a:gd name="T68" fmla="*/ 2147483647 w 421"/>
                <a:gd name="T69" fmla="*/ 2147483647 h 318"/>
                <a:gd name="T70" fmla="*/ 2147483647 w 421"/>
                <a:gd name="T71" fmla="*/ 2147483647 h 318"/>
                <a:gd name="T72" fmla="*/ 2147483647 w 421"/>
                <a:gd name="T73" fmla="*/ 2147483647 h 318"/>
                <a:gd name="T74" fmla="*/ 2147483647 w 421"/>
                <a:gd name="T75" fmla="*/ 2147483647 h 318"/>
                <a:gd name="T76" fmla="*/ 2147483647 w 421"/>
                <a:gd name="T77" fmla="*/ 2147483647 h 318"/>
                <a:gd name="T78" fmla="*/ 2147483647 w 421"/>
                <a:gd name="T79" fmla="*/ 2147483647 h 318"/>
                <a:gd name="T80" fmla="*/ 2147483647 w 421"/>
                <a:gd name="T81" fmla="*/ 2147483647 h 318"/>
                <a:gd name="T82" fmla="*/ 2147483647 w 421"/>
                <a:gd name="T83" fmla="*/ 2147483647 h 318"/>
                <a:gd name="T84" fmla="*/ 2147483647 w 421"/>
                <a:gd name="T85" fmla="*/ 2147483647 h 318"/>
                <a:gd name="T86" fmla="*/ 2147483647 w 421"/>
                <a:gd name="T87" fmla="*/ 2147483647 h 318"/>
                <a:gd name="T88" fmla="*/ 2147483647 w 421"/>
                <a:gd name="T89" fmla="*/ 2147483647 h 318"/>
                <a:gd name="T90" fmla="*/ 2147483647 w 421"/>
                <a:gd name="T91" fmla="*/ 2147483647 h 318"/>
                <a:gd name="T92" fmla="*/ 2147483647 w 421"/>
                <a:gd name="T93" fmla="*/ 2147483647 h 318"/>
                <a:gd name="T94" fmla="*/ 2147483647 w 421"/>
                <a:gd name="T95" fmla="*/ 2147483647 h 318"/>
                <a:gd name="T96" fmla="*/ 2147483647 w 421"/>
                <a:gd name="T97" fmla="*/ 2147483647 h 3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1"/>
                <a:gd name="T148" fmla="*/ 0 h 318"/>
                <a:gd name="T149" fmla="*/ 421 w 421"/>
                <a:gd name="T150" fmla="*/ 318 h 3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1" h="318">
                  <a:moveTo>
                    <a:pt x="188" y="71"/>
                  </a:moveTo>
                  <a:cubicBezTo>
                    <a:pt x="211" y="54"/>
                    <a:pt x="211" y="54"/>
                    <a:pt x="211" y="54"/>
                  </a:cubicBezTo>
                  <a:cubicBezTo>
                    <a:pt x="234" y="71"/>
                    <a:pt x="234" y="71"/>
                    <a:pt x="234" y="71"/>
                  </a:cubicBezTo>
                  <a:cubicBezTo>
                    <a:pt x="225" y="44"/>
                    <a:pt x="225" y="44"/>
                    <a:pt x="225" y="44"/>
                  </a:cubicBezTo>
                  <a:cubicBezTo>
                    <a:pt x="248" y="27"/>
                    <a:pt x="248" y="27"/>
                    <a:pt x="248" y="27"/>
                  </a:cubicBezTo>
                  <a:cubicBezTo>
                    <a:pt x="219" y="27"/>
                    <a:pt x="219" y="27"/>
                    <a:pt x="219" y="27"/>
                  </a:cubicBezTo>
                  <a:cubicBezTo>
                    <a:pt x="211" y="0"/>
                    <a:pt x="211" y="0"/>
                    <a:pt x="211" y="0"/>
                  </a:cubicBezTo>
                  <a:cubicBezTo>
                    <a:pt x="202" y="27"/>
                    <a:pt x="202" y="27"/>
                    <a:pt x="202" y="27"/>
                  </a:cubicBezTo>
                  <a:cubicBezTo>
                    <a:pt x="173" y="27"/>
                    <a:pt x="173" y="27"/>
                    <a:pt x="173" y="27"/>
                  </a:cubicBezTo>
                  <a:cubicBezTo>
                    <a:pt x="196" y="44"/>
                    <a:pt x="196" y="44"/>
                    <a:pt x="196" y="44"/>
                  </a:cubicBezTo>
                  <a:lnTo>
                    <a:pt x="188" y="71"/>
                  </a:lnTo>
                  <a:close/>
                  <a:moveTo>
                    <a:pt x="100" y="100"/>
                  </a:moveTo>
                  <a:cubicBezTo>
                    <a:pt x="129" y="96"/>
                    <a:pt x="129" y="96"/>
                    <a:pt x="129" y="96"/>
                  </a:cubicBezTo>
                  <a:cubicBezTo>
                    <a:pt x="103" y="83"/>
                    <a:pt x="103" y="83"/>
                    <a:pt x="103" y="83"/>
                  </a:cubicBezTo>
                  <a:cubicBezTo>
                    <a:pt x="108" y="54"/>
                    <a:pt x="108" y="54"/>
                    <a:pt x="108" y="54"/>
                  </a:cubicBezTo>
                  <a:cubicBezTo>
                    <a:pt x="87" y="75"/>
                    <a:pt x="87" y="75"/>
                    <a:pt x="87" y="75"/>
                  </a:cubicBezTo>
                  <a:cubicBezTo>
                    <a:pt x="62" y="62"/>
                    <a:pt x="62" y="62"/>
                    <a:pt x="62" y="62"/>
                  </a:cubicBezTo>
                  <a:cubicBezTo>
                    <a:pt x="75" y="87"/>
                    <a:pt x="75" y="87"/>
                    <a:pt x="75" y="87"/>
                  </a:cubicBezTo>
                  <a:cubicBezTo>
                    <a:pt x="55" y="107"/>
                    <a:pt x="55" y="107"/>
                    <a:pt x="55" y="107"/>
                  </a:cubicBezTo>
                  <a:cubicBezTo>
                    <a:pt x="83" y="103"/>
                    <a:pt x="83" y="103"/>
                    <a:pt x="83" y="103"/>
                  </a:cubicBezTo>
                  <a:cubicBezTo>
                    <a:pt x="96" y="128"/>
                    <a:pt x="96" y="128"/>
                    <a:pt x="96" y="128"/>
                  </a:cubicBezTo>
                  <a:lnTo>
                    <a:pt x="100" y="100"/>
                  </a:lnTo>
                  <a:close/>
                  <a:moveTo>
                    <a:pt x="355" y="87"/>
                  </a:moveTo>
                  <a:cubicBezTo>
                    <a:pt x="368" y="62"/>
                    <a:pt x="368" y="62"/>
                    <a:pt x="368" y="62"/>
                  </a:cubicBezTo>
                  <a:cubicBezTo>
                    <a:pt x="343" y="75"/>
                    <a:pt x="343" y="75"/>
                    <a:pt x="343" y="75"/>
                  </a:cubicBezTo>
                  <a:cubicBezTo>
                    <a:pt x="323" y="54"/>
                    <a:pt x="323" y="54"/>
                    <a:pt x="323" y="54"/>
                  </a:cubicBezTo>
                  <a:cubicBezTo>
                    <a:pt x="327" y="83"/>
                    <a:pt x="327" y="83"/>
                    <a:pt x="327" y="83"/>
                  </a:cubicBezTo>
                  <a:cubicBezTo>
                    <a:pt x="302" y="96"/>
                    <a:pt x="302" y="96"/>
                    <a:pt x="302" y="96"/>
                  </a:cubicBezTo>
                  <a:cubicBezTo>
                    <a:pt x="330" y="100"/>
                    <a:pt x="330" y="100"/>
                    <a:pt x="330" y="100"/>
                  </a:cubicBezTo>
                  <a:cubicBezTo>
                    <a:pt x="334" y="128"/>
                    <a:pt x="334" y="128"/>
                    <a:pt x="334" y="128"/>
                  </a:cubicBezTo>
                  <a:cubicBezTo>
                    <a:pt x="347" y="103"/>
                    <a:pt x="347" y="103"/>
                    <a:pt x="347" y="103"/>
                  </a:cubicBezTo>
                  <a:cubicBezTo>
                    <a:pt x="376" y="107"/>
                    <a:pt x="376" y="107"/>
                    <a:pt x="376" y="107"/>
                  </a:cubicBezTo>
                  <a:lnTo>
                    <a:pt x="355" y="87"/>
                  </a:lnTo>
                  <a:close/>
                  <a:moveTo>
                    <a:pt x="44" y="196"/>
                  </a:moveTo>
                  <a:cubicBezTo>
                    <a:pt x="28" y="173"/>
                    <a:pt x="28" y="173"/>
                    <a:pt x="28" y="173"/>
                  </a:cubicBezTo>
                  <a:cubicBezTo>
                    <a:pt x="28" y="201"/>
                    <a:pt x="28" y="201"/>
                    <a:pt x="28" y="201"/>
                  </a:cubicBezTo>
                  <a:cubicBezTo>
                    <a:pt x="0" y="210"/>
                    <a:pt x="0" y="210"/>
                    <a:pt x="0" y="210"/>
                  </a:cubicBezTo>
                  <a:cubicBezTo>
                    <a:pt x="28" y="219"/>
                    <a:pt x="28" y="219"/>
                    <a:pt x="28" y="219"/>
                  </a:cubicBezTo>
                  <a:cubicBezTo>
                    <a:pt x="28" y="248"/>
                    <a:pt x="28" y="248"/>
                    <a:pt x="28" y="248"/>
                  </a:cubicBezTo>
                  <a:cubicBezTo>
                    <a:pt x="44" y="225"/>
                    <a:pt x="44" y="225"/>
                    <a:pt x="44" y="225"/>
                  </a:cubicBezTo>
                  <a:cubicBezTo>
                    <a:pt x="72" y="233"/>
                    <a:pt x="72" y="233"/>
                    <a:pt x="72" y="233"/>
                  </a:cubicBezTo>
                  <a:cubicBezTo>
                    <a:pt x="55" y="210"/>
                    <a:pt x="55" y="210"/>
                    <a:pt x="55" y="210"/>
                  </a:cubicBezTo>
                  <a:cubicBezTo>
                    <a:pt x="72" y="187"/>
                    <a:pt x="72" y="187"/>
                    <a:pt x="72" y="187"/>
                  </a:cubicBezTo>
                  <a:lnTo>
                    <a:pt x="44" y="196"/>
                  </a:lnTo>
                  <a:close/>
                  <a:moveTo>
                    <a:pt x="394" y="201"/>
                  </a:moveTo>
                  <a:cubicBezTo>
                    <a:pt x="394" y="173"/>
                    <a:pt x="394" y="173"/>
                    <a:pt x="394" y="173"/>
                  </a:cubicBezTo>
                  <a:cubicBezTo>
                    <a:pt x="377" y="196"/>
                    <a:pt x="377" y="196"/>
                    <a:pt x="377" y="196"/>
                  </a:cubicBezTo>
                  <a:cubicBezTo>
                    <a:pt x="350" y="187"/>
                    <a:pt x="350" y="187"/>
                    <a:pt x="350" y="187"/>
                  </a:cubicBezTo>
                  <a:cubicBezTo>
                    <a:pt x="367" y="210"/>
                    <a:pt x="367" y="210"/>
                    <a:pt x="367" y="210"/>
                  </a:cubicBezTo>
                  <a:cubicBezTo>
                    <a:pt x="350" y="233"/>
                    <a:pt x="350" y="233"/>
                    <a:pt x="350" y="233"/>
                  </a:cubicBezTo>
                  <a:cubicBezTo>
                    <a:pt x="377" y="225"/>
                    <a:pt x="377" y="225"/>
                    <a:pt x="377" y="225"/>
                  </a:cubicBezTo>
                  <a:cubicBezTo>
                    <a:pt x="394" y="248"/>
                    <a:pt x="394" y="248"/>
                    <a:pt x="394" y="248"/>
                  </a:cubicBezTo>
                  <a:cubicBezTo>
                    <a:pt x="394" y="219"/>
                    <a:pt x="394" y="219"/>
                    <a:pt x="394" y="219"/>
                  </a:cubicBezTo>
                  <a:cubicBezTo>
                    <a:pt x="421" y="210"/>
                    <a:pt x="421" y="210"/>
                    <a:pt x="421" y="210"/>
                  </a:cubicBezTo>
                  <a:lnTo>
                    <a:pt x="394" y="201"/>
                  </a:lnTo>
                  <a:close/>
                  <a:moveTo>
                    <a:pt x="320" y="173"/>
                  </a:moveTo>
                  <a:cubicBezTo>
                    <a:pt x="242" y="173"/>
                    <a:pt x="242" y="173"/>
                    <a:pt x="242" y="173"/>
                  </a:cubicBezTo>
                  <a:cubicBezTo>
                    <a:pt x="240" y="167"/>
                    <a:pt x="240" y="167"/>
                    <a:pt x="240" y="167"/>
                  </a:cubicBezTo>
                  <a:cubicBezTo>
                    <a:pt x="239" y="163"/>
                    <a:pt x="234" y="160"/>
                    <a:pt x="230" y="162"/>
                  </a:cubicBezTo>
                  <a:cubicBezTo>
                    <a:pt x="226" y="163"/>
                    <a:pt x="224" y="167"/>
                    <a:pt x="225" y="172"/>
                  </a:cubicBezTo>
                  <a:cubicBezTo>
                    <a:pt x="229" y="184"/>
                    <a:pt x="229" y="184"/>
                    <a:pt x="229" y="184"/>
                  </a:cubicBezTo>
                  <a:cubicBezTo>
                    <a:pt x="230" y="187"/>
                    <a:pt x="233" y="189"/>
                    <a:pt x="236" y="189"/>
                  </a:cubicBezTo>
                  <a:cubicBezTo>
                    <a:pt x="295" y="189"/>
                    <a:pt x="295" y="189"/>
                    <a:pt x="295" y="189"/>
                  </a:cubicBezTo>
                  <a:cubicBezTo>
                    <a:pt x="248" y="224"/>
                    <a:pt x="248" y="224"/>
                    <a:pt x="248" y="224"/>
                  </a:cubicBezTo>
                  <a:cubicBezTo>
                    <a:pt x="245" y="226"/>
                    <a:pt x="244" y="230"/>
                    <a:pt x="245" y="233"/>
                  </a:cubicBezTo>
                  <a:cubicBezTo>
                    <a:pt x="263" y="289"/>
                    <a:pt x="263" y="289"/>
                    <a:pt x="263" y="289"/>
                  </a:cubicBezTo>
                  <a:cubicBezTo>
                    <a:pt x="215" y="254"/>
                    <a:pt x="215" y="254"/>
                    <a:pt x="215" y="254"/>
                  </a:cubicBezTo>
                  <a:cubicBezTo>
                    <a:pt x="213" y="252"/>
                    <a:pt x="209" y="252"/>
                    <a:pt x="206" y="254"/>
                  </a:cubicBezTo>
                  <a:cubicBezTo>
                    <a:pt x="158" y="289"/>
                    <a:pt x="158" y="289"/>
                    <a:pt x="158" y="289"/>
                  </a:cubicBezTo>
                  <a:cubicBezTo>
                    <a:pt x="176" y="233"/>
                    <a:pt x="176" y="233"/>
                    <a:pt x="176" y="233"/>
                  </a:cubicBezTo>
                  <a:cubicBezTo>
                    <a:pt x="178" y="230"/>
                    <a:pt x="176" y="226"/>
                    <a:pt x="174" y="224"/>
                  </a:cubicBezTo>
                  <a:cubicBezTo>
                    <a:pt x="126" y="189"/>
                    <a:pt x="126" y="189"/>
                    <a:pt x="126" y="189"/>
                  </a:cubicBezTo>
                  <a:cubicBezTo>
                    <a:pt x="185" y="189"/>
                    <a:pt x="185" y="189"/>
                    <a:pt x="185" y="189"/>
                  </a:cubicBezTo>
                  <a:cubicBezTo>
                    <a:pt x="188" y="189"/>
                    <a:pt x="191" y="187"/>
                    <a:pt x="192" y="184"/>
                  </a:cubicBezTo>
                  <a:cubicBezTo>
                    <a:pt x="211" y="128"/>
                    <a:pt x="211" y="128"/>
                    <a:pt x="211" y="128"/>
                  </a:cubicBezTo>
                  <a:cubicBezTo>
                    <a:pt x="215" y="141"/>
                    <a:pt x="215" y="141"/>
                    <a:pt x="215" y="141"/>
                  </a:cubicBezTo>
                  <a:cubicBezTo>
                    <a:pt x="216" y="145"/>
                    <a:pt x="221" y="148"/>
                    <a:pt x="225" y="146"/>
                  </a:cubicBezTo>
                  <a:cubicBezTo>
                    <a:pt x="229" y="145"/>
                    <a:pt x="232" y="140"/>
                    <a:pt x="230" y="136"/>
                  </a:cubicBezTo>
                  <a:cubicBezTo>
                    <a:pt x="218" y="99"/>
                    <a:pt x="218" y="99"/>
                    <a:pt x="218" y="99"/>
                  </a:cubicBezTo>
                  <a:cubicBezTo>
                    <a:pt x="217" y="96"/>
                    <a:pt x="214" y="94"/>
                    <a:pt x="211" y="94"/>
                  </a:cubicBezTo>
                  <a:cubicBezTo>
                    <a:pt x="207" y="94"/>
                    <a:pt x="204" y="96"/>
                    <a:pt x="203" y="99"/>
                  </a:cubicBezTo>
                  <a:cubicBezTo>
                    <a:pt x="179" y="173"/>
                    <a:pt x="179" y="173"/>
                    <a:pt x="179" y="173"/>
                  </a:cubicBezTo>
                  <a:cubicBezTo>
                    <a:pt x="101" y="173"/>
                    <a:pt x="101" y="173"/>
                    <a:pt x="101" y="173"/>
                  </a:cubicBezTo>
                  <a:cubicBezTo>
                    <a:pt x="98" y="173"/>
                    <a:pt x="95" y="176"/>
                    <a:pt x="94" y="179"/>
                  </a:cubicBezTo>
                  <a:cubicBezTo>
                    <a:pt x="93" y="182"/>
                    <a:pt x="94" y="186"/>
                    <a:pt x="97" y="188"/>
                  </a:cubicBezTo>
                  <a:cubicBezTo>
                    <a:pt x="159" y="233"/>
                    <a:pt x="159" y="233"/>
                    <a:pt x="159" y="233"/>
                  </a:cubicBezTo>
                  <a:cubicBezTo>
                    <a:pt x="135" y="307"/>
                    <a:pt x="135" y="307"/>
                    <a:pt x="135" y="307"/>
                  </a:cubicBezTo>
                  <a:cubicBezTo>
                    <a:pt x="134" y="311"/>
                    <a:pt x="136" y="314"/>
                    <a:pt x="138" y="316"/>
                  </a:cubicBezTo>
                  <a:cubicBezTo>
                    <a:pt x="140" y="317"/>
                    <a:pt x="141" y="318"/>
                    <a:pt x="143" y="318"/>
                  </a:cubicBezTo>
                  <a:cubicBezTo>
                    <a:pt x="145" y="318"/>
                    <a:pt x="146" y="317"/>
                    <a:pt x="148" y="316"/>
                  </a:cubicBezTo>
                  <a:cubicBezTo>
                    <a:pt x="211" y="271"/>
                    <a:pt x="211" y="271"/>
                    <a:pt x="211" y="271"/>
                  </a:cubicBezTo>
                  <a:cubicBezTo>
                    <a:pt x="274" y="316"/>
                    <a:pt x="274" y="316"/>
                    <a:pt x="274" y="316"/>
                  </a:cubicBezTo>
                  <a:cubicBezTo>
                    <a:pt x="276" y="318"/>
                    <a:pt x="280" y="318"/>
                    <a:pt x="283" y="316"/>
                  </a:cubicBezTo>
                  <a:cubicBezTo>
                    <a:pt x="286" y="314"/>
                    <a:pt x="287" y="311"/>
                    <a:pt x="286" y="307"/>
                  </a:cubicBezTo>
                  <a:cubicBezTo>
                    <a:pt x="262" y="233"/>
                    <a:pt x="262" y="233"/>
                    <a:pt x="262" y="233"/>
                  </a:cubicBezTo>
                  <a:cubicBezTo>
                    <a:pt x="325" y="188"/>
                    <a:pt x="325" y="188"/>
                    <a:pt x="325" y="188"/>
                  </a:cubicBezTo>
                  <a:cubicBezTo>
                    <a:pt x="328" y="186"/>
                    <a:pt x="329" y="182"/>
                    <a:pt x="328" y="179"/>
                  </a:cubicBezTo>
                  <a:cubicBezTo>
                    <a:pt x="327" y="176"/>
                    <a:pt x="323" y="173"/>
                    <a:pt x="320" y="17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17" name="Rectangle 16">
            <a:extLst>
              <a:ext uri="{FF2B5EF4-FFF2-40B4-BE49-F238E27FC236}">
                <a16:creationId xmlns:a16="http://schemas.microsoft.com/office/drawing/2014/main" id="{8A8ACF53-82B3-4444-8643-28B6731F330C}"/>
              </a:ext>
            </a:extLst>
          </p:cNvPr>
          <p:cNvSpPr/>
          <p:nvPr/>
        </p:nvSpPr>
        <p:spPr>
          <a:xfrm>
            <a:off x="2244642" y="4769926"/>
            <a:ext cx="890542" cy="430887"/>
          </a:xfrm>
          <a:prstGeom prst="rect">
            <a:avLst/>
          </a:prstGeom>
        </p:spPr>
        <p:txBody>
          <a:bodyPr wrap="square">
            <a:spAutoFit/>
          </a:bodyPr>
          <a:lstStyle/>
          <a:p>
            <a:pPr algn="ctr"/>
            <a:r>
              <a:rPr lang="en-US" sz="1100" dirty="0"/>
              <a:t>Cat-M1&amp; NB-IoT </a:t>
            </a:r>
          </a:p>
        </p:txBody>
      </p:sp>
      <p:sp>
        <p:nvSpPr>
          <p:cNvPr id="150" name="Rectangle 149">
            <a:extLst>
              <a:ext uri="{FF2B5EF4-FFF2-40B4-BE49-F238E27FC236}">
                <a16:creationId xmlns:a16="http://schemas.microsoft.com/office/drawing/2014/main" id="{7E94F584-4200-424A-A58F-27378826E67D}"/>
              </a:ext>
            </a:extLst>
          </p:cNvPr>
          <p:cNvSpPr/>
          <p:nvPr/>
        </p:nvSpPr>
        <p:spPr>
          <a:xfrm>
            <a:off x="3118596" y="4872873"/>
            <a:ext cx="890542" cy="430887"/>
          </a:xfrm>
          <a:prstGeom prst="rect">
            <a:avLst/>
          </a:prstGeom>
        </p:spPr>
        <p:txBody>
          <a:bodyPr wrap="square">
            <a:spAutoFit/>
          </a:bodyPr>
          <a:lstStyle/>
          <a:p>
            <a:pPr algn="ctr"/>
            <a:r>
              <a:rPr lang="en-US" sz="1100" dirty="0"/>
              <a:t>PSM &amp; </a:t>
            </a:r>
            <a:r>
              <a:rPr lang="en-US" sz="1100" dirty="0" err="1"/>
              <a:t>eDRX</a:t>
            </a:r>
            <a:r>
              <a:rPr lang="en-US" sz="1100" dirty="0"/>
              <a:t> </a:t>
            </a:r>
          </a:p>
        </p:txBody>
      </p:sp>
      <p:sp>
        <p:nvSpPr>
          <p:cNvPr id="151" name="Rectangle 150">
            <a:extLst>
              <a:ext uri="{FF2B5EF4-FFF2-40B4-BE49-F238E27FC236}">
                <a16:creationId xmlns:a16="http://schemas.microsoft.com/office/drawing/2014/main" id="{C1A5AEC2-D1D7-4E0A-A990-5098143A6F2B}"/>
              </a:ext>
            </a:extLst>
          </p:cNvPr>
          <p:cNvSpPr/>
          <p:nvPr/>
        </p:nvSpPr>
        <p:spPr>
          <a:xfrm>
            <a:off x="4066455" y="4951442"/>
            <a:ext cx="890542" cy="430887"/>
          </a:xfrm>
          <a:prstGeom prst="rect">
            <a:avLst/>
          </a:prstGeom>
        </p:spPr>
        <p:txBody>
          <a:bodyPr wrap="square">
            <a:spAutoFit/>
          </a:bodyPr>
          <a:lstStyle/>
          <a:p>
            <a:pPr algn="ctr"/>
            <a:r>
              <a:rPr lang="en-US" sz="1100" dirty="0"/>
              <a:t>Extended Coverage </a:t>
            </a:r>
          </a:p>
        </p:txBody>
      </p:sp>
      <p:sp>
        <p:nvSpPr>
          <p:cNvPr id="152" name="Rectangle 151">
            <a:extLst>
              <a:ext uri="{FF2B5EF4-FFF2-40B4-BE49-F238E27FC236}">
                <a16:creationId xmlns:a16="http://schemas.microsoft.com/office/drawing/2014/main" id="{79C502E1-B3D4-4EB9-BB79-DF5D598F787B}"/>
              </a:ext>
            </a:extLst>
          </p:cNvPr>
          <p:cNvSpPr/>
          <p:nvPr/>
        </p:nvSpPr>
        <p:spPr>
          <a:xfrm>
            <a:off x="5014315" y="5004989"/>
            <a:ext cx="890542" cy="600164"/>
          </a:xfrm>
          <a:prstGeom prst="rect">
            <a:avLst/>
          </a:prstGeom>
        </p:spPr>
        <p:txBody>
          <a:bodyPr wrap="square">
            <a:spAutoFit/>
          </a:bodyPr>
          <a:lstStyle/>
          <a:p>
            <a:pPr algn="ctr"/>
            <a:r>
              <a:rPr lang="en-US" sz="1100" dirty="0"/>
              <a:t>Voice over Cat-M1 </a:t>
            </a:r>
          </a:p>
        </p:txBody>
      </p:sp>
      <p:sp>
        <p:nvSpPr>
          <p:cNvPr id="153" name="Rectangle 152">
            <a:extLst>
              <a:ext uri="{FF2B5EF4-FFF2-40B4-BE49-F238E27FC236}">
                <a16:creationId xmlns:a16="http://schemas.microsoft.com/office/drawing/2014/main" id="{F662A4A1-D96D-4DA0-B830-96859F80D1A0}"/>
              </a:ext>
            </a:extLst>
          </p:cNvPr>
          <p:cNvSpPr/>
          <p:nvPr/>
        </p:nvSpPr>
        <p:spPr>
          <a:xfrm>
            <a:off x="5911446" y="5041681"/>
            <a:ext cx="1047817" cy="1107996"/>
          </a:xfrm>
          <a:prstGeom prst="rect">
            <a:avLst/>
          </a:prstGeom>
        </p:spPr>
        <p:txBody>
          <a:bodyPr wrap="square">
            <a:spAutoFit/>
          </a:bodyPr>
          <a:lstStyle/>
          <a:p>
            <a:pPr algn="ctr"/>
            <a:r>
              <a:rPr lang="en-US" sz="1100" dirty="0" smtClean="0"/>
              <a:t>Enhancement in </a:t>
            </a:r>
            <a:r>
              <a:rPr lang="en-US" sz="1100" dirty="0"/>
              <a:t>mobility, positioning, capacity, etc.   </a:t>
            </a:r>
          </a:p>
        </p:txBody>
      </p:sp>
      <p:sp>
        <p:nvSpPr>
          <p:cNvPr id="154" name="Rectangle 153">
            <a:extLst>
              <a:ext uri="{FF2B5EF4-FFF2-40B4-BE49-F238E27FC236}">
                <a16:creationId xmlns:a16="http://schemas.microsoft.com/office/drawing/2014/main" id="{04CA2B41-B78A-49CF-9A1F-DCE37213C16F}"/>
              </a:ext>
            </a:extLst>
          </p:cNvPr>
          <p:cNvSpPr/>
          <p:nvPr/>
        </p:nvSpPr>
        <p:spPr>
          <a:xfrm>
            <a:off x="2169386" y="2612398"/>
            <a:ext cx="890542" cy="430887"/>
          </a:xfrm>
          <a:prstGeom prst="rect">
            <a:avLst/>
          </a:prstGeom>
        </p:spPr>
        <p:txBody>
          <a:bodyPr wrap="square">
            <a:spAutoFit/>
          </a:bodyPr>
          <a:lstStyle/>
          <a:p>
            <a:pPr algn="ctr"/>
            <a:r>
              <a:rPr lang="en-US" sz="1100" dirty="0"/>
              <a:t>Gigabit LTE</a:t>
            </a:r>
          </a:p>
        </p:txBody>
      </p:sp>
      <p:sp>
        <p:nvSpPr>
          <p:cNvPr id="155" name="Rectangle 154">
            <a:extLst>
              <a:ext uri="{FF2B5EF4-FFF2-40B4-BE49-F238E27FC236}">
                <a16:creationId xmlns:a16="http://schemas.microsoft.com/office/drawing/2014/main" id="{BD34CBE6-5F08-4739-BB03-2D592A60CABE}"/>
              </a:ext>
            </a:extLst>
          </p:cNvPr>
          <p:cNvSpPr/>
          <p:nvPr/>
        </p:nvSpPr>
        <p:spPr>
          <a:xfrm>
            <a:off x="3447858" y="2484030"/>
            <a:ext cx="890542" cy="430887"/>
          </a:xfrm>
          <a:prstGeom prst="rect">
            <a:avLst/>
          </a:prstGeom>
        </p:spPr>
        <p:txBody>
          <a:bodyPr wrap="square">
            <a:spAutoFit/>
          </a:bodyPr>
          <a:lstStyle/>
          <a:p>
            <a:pPr algn="ctr"/>
            <a:r>
              <a:rPr lang="en-US" sz="1100" dirty="0"/>
              <a:t>Massive MIMO</a:t>
            </a:r>
          </a:p>
        </p:txBody>
      </p:sp>
      <p:sp>
        <p:nvSpPr>
          <p:cNvPr id="156" name="Rectangle 155">
            <a:extLst>
              <a:ext uri="{FF2B5EF4-FFF2-40B4-BE49-F238E27FC236}">
                <a16:creationId xmlns:a16="http://schemas.microsoft.com/office/drawing/2014/main" id="{51CD4231-6D7A-4EF4-9952-85577E715514}"/>
              </a:ext>
            </a:extLst>
          </p:cNvPr>
          <p:cNvSpPr/>
          <p:nvPr/>
        </p:nvSpPr>
        <p:spPr>
          <a:xfrm>
            <a:off x="4566435" y="2513548"/>
            <a:ext cx="1053002" cy="261610"/>
          </a:xfrm>
          <a:prstGeom prst="rect">
            <a:avLst/>
          </a:prstGeom>
        </p:spPr>
        <p:txBody>
          <a:bodyPr wrap="square">
            <a:spAutoFit/>
          </a:bodyPr>
          <a:lstStyle/>
          <a:p>
            <a:pPr algn="ctr"/>
            <a:r>
              <a:rPr lang="en-US" sz="1100" dirty="0"/>
              <a:t>C-RAN</a:t>
            </a:r>
          </a:p>
        </p:txBody>
      </p:sp>
      <p:sp>
        <p:nvSpPr>
          <p:cNvPr id="157" name="Rectangle 156">
            <a:extLst>
              <a:ext uri="{FF2B5EF4-FFF2-40B4-BE49-F238E27FC236}">
                <a16:creationId xmlns:a16="http://schemas.microsoft.com/office/drawing/2014/main" id="{4512FF5B-E5F8-444F-88E3-2732E2AF394C}"/>
              </a:ext>
            </a:extLst>
          </p:cNvPr>
          <p:cNvSpPr/>
          <p:nvPr/>
        </p:nvSpPr>
        <p:spPr>
          <a:xfrm>
            <a:off x="5576047" y="2079585"/>
            <a:ext cx="1322986" cy="600164"/>
          </a:xfrm>
          <a:prstGeom prst="rect">
            <a:avLst/>
          </a:prstGeom>
        </p:spPr>
        <p:txBody>
          <a:bodyPr wrap="square">
            <a:spAutoFit/>
          </a:bodyPr>
          <a:lstStyle/>
          <a:p>
            <a:pPr algn="ctr"/>
            <a:r>
              <a:rPr lang="en-US" sz="1100" dirty="0"/>
              <a:t>Enhancement for Low latency, reliability, </a:t>
            </a:r>
            <a:r>
              <a:rPr lang="en-US" sz="1100" dirty="0" smtClean="0"/>
              <a:t>etc.</a:t>
            </a:r>
            <a:endParaRPr lang="en-US" sz="1100" dirty="0"/>
          </a:p>
        </p:txBody>
      </p:sp>
      <p:sp>
        <p:nvSpPr>
          <p:cNvPr id="24" name="Rectangle 23">
            <a:extLst>
              <a:ext uri="{FF2B5EF4-FFF2-40B4-BE49-F238E27FC236}">
                <a16:creationId xmlns:a16="http://schemas.microsoft.com/office/drawing/2014/main" id="{BF088D8A-1C38-4EE7-9BDB-D50C8B9C9D44}"/>
              </a:ext>
            </a:extLst>
          </p:cNvPr>
          <p:cNvSpPr/>
          <p:nvPr/>
        </p:nvSpPr>
        <p:spPr>
          <a:xfrm>
            <a:off x="561194" y="1170012"/>
            <a:ext cx="5407249" cy="461665"/>
          </a:xfrm>
          <a:prstGeom prst="rect">
            <a:avLst/>
          </a:prstGeom>
        </p:spPr>
        <p:txBody>
          <a:bodyPr wrap="none">
            <a:spAutoFit/>
          </a:bodyPr>
          <a:lstStyle/>
          <a:p>
            <a:r>
              <a:rPr lang="en-US" sz="2400" dirty="0"/>
              <a:t>On the road to 5G with Cellular IoT </a:t>
            </a:r>
          </a:p>
        </p:txBody>
      </p:sp>
    </p:spTree>
    <p:extLst>
      <p:ext uri="{BB962C8B-B14F-4D97-AF65-F5344CB8AC3E}">
        <p14:creationId xmlns:p14="http://schemas.microsoft.com/office/powerpoint/2010/main" val="31596686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oT execution challenges</a:t>
            </a:r>
            <a:endParaRPr lang="en-US" dirty="0"/>
          </a:p>
        </p:txBody>
      </p:sp>
      <p:sp>
        <p:nvSpPr>
          <p:cNvPr id="3" name="TextBox 2"/>
          <p:cNvSpPr txBox="1"/>
          <p:nvPr/>
        </p:nvSpPr>
        <p:spPr>
          <a:xfrm>
            <a:off x="265040" y="3326296"/>
            <a:ext cx="3882890" cy="2308324"/>
          </a:xfrm>
          <a:prstGeom prst="rect">
            <a:avLst/>
          </a:prstGeom>
          <a:noFill/>
        </p:spPr>
        <p:txBody>
          <a:bodyPr wrap="square" rtlCol="0">
            <a:spAutoFit/>
          </a:bodyPr>
          <a:lstStyle/>
          <a:p>
            <a:pPr marL="285750" indent="-285750">
              <a:buFont typeface="Wingdings" panose="05000000000000000000" pitchFamily="2" charset="2"/>
              <a:buChar char="v"/>
            </a:pPr>
            <a:r>
              <a:rPr lang="en-US" dirty="0" smtClean="0"/>
              <a:t>Device battery life-time</a:t>
            </a:r>
          </a:p>
          <a:p>
            <a:pPr marL="285750" indent="-285750">
              <a:buFont typeface="Wingdings" panose="05000000000000000000" pitchFamily="2" charset="2"/>
              <a:buChar char="v"/>
            </a:pPr>
            <a:r>
              <a:rPr lang="en-US" dirty="0" smtClean="0"/>
              <a:t>Device life-cycle in a harsh situations</a:t>
            </a:r>
          </a:p>
          <a:p>
            <a:pPr marL="285750" indent="-285750">
              <a:buFont typeface="Wingdings" panose="05000000000000000000" pitchFamily="2" charset="2"/>
              <a:buChar char="v"/>
            </a:pPr>
            <a:r>
              <a:rPr lang="en-US" dirty="0" smtClean="0"/>
              <a:t>Device limitation to cooperate with the new technology without swapping</a:t>
            </a:r>
          </a:p>
          <a:p>
            <a:pPr marL="285750" indent="-285750">
              <a:buFont typeface="Wingdings" panose="05000000000000000000" pitchFamily="2" charset="2"/>
              <a:buChar char="v"/>
            </a:pPr>
            <a:r>
              <a:rPr lang="en-US" dirty="0" smtClean="0"/>
              <a:t>Radio frequency security</a:t>
            </a:r>
          </a:p>
          <a:p>
            <a:pPr marL="285750" indent="-285750">
              <a:buFont typeface="Wingdings" panose="05000000000000000000" pitchFamily="2" charset="2"/>
              <a:buChar char="v"/>
            </a:pPr>
            <a:endParaRPr lang="en-US" dirty="0"/>
          </a:p>
        </p:txBody>
      </p:sp>
      <p:sp>
        <p:nvSpPr>
          <p:cNvPr id="4" name="TextBox 3"/>
          <p:cNvSpPr txBox="1"/>
          <p:nvPr/>
        </p:nvSpPr>
        <p:spPr>
          <a:xfrm>
            <a:off x="463823" y="2796209"/>
            <a:ext cx="2056973" cy="369332"/>
          </a:xfrm>
          <a:prstGeom prst="rect">
            <a:avLst/>
          </a:prstGeom>
          <a:noFill/>
        </p:spPr>
        <p:txBody>
          <a:bodyPr wrap="none" rtlCol="0">
            <a:spAutoFit/>
          </a:bodyPr>
          <a:lstStyle/>
          <a:p>
            <a:r>
              <a:rPr lang="en-US" dirty="0" smtClean="0"/>
              <a:t>Device platform:</a:t>
            </a:r>
            <a:endParaRPr lang="en-US" dirty="0"/>
          </a:p>
        </p:txBody>
      </p:sp>
      <p:sp>
        <p:nvSpPr>
          <p:cNvPr id="5" name="TextBox 4"/>
          <p:cNvSpPr txBox="1"/>
          <p:nvPr/>
        </p:nvSpPr>
        <p:spPr>
          <a:xfrm>
            <a:off x="4510921" y="2796209"/>
            <a:ext cx="2561920" cy="369332"/>
          </a:xfrm>
          <a:prstGeom prst="rect">
            <a:avLst/>
          </a:prstGeom>
          <a:noFill/>
        </p:spPr>
        <p:txBody>
          <a:bodyPr wrap="none" rtlCol="0">
            <a:spAutoFit/>
          </a:bodyPr>
          <a:lstStyle/>
          <a:p>
            <a:r>
              <a:rPr lang="en-US" dirty="0" smtClean="0"/>
              <a:t>Application platform:</a:t>
            </a:r>
            <a:endParaRPr lang="en-US" dirty="0"/>
          </a:p>
        </p:txBody>
      </p:sp>
      <p:sp>
        <p:nvSpPr>
          <p:cNvPr id="6" name="TextBox 5"/>
          <p:cNvSpPr txBox="1"/>
          <p:nvPr/>
        </p:nvSpPr>
        <p:spPr>
          <a:xfrm>
            <a:off x="8559460" y="2796209"/>
            <a:ext cx="2779928" cy="369332"/>
          </a:xfrm>
          <a:prstGeom prst="rect">
            <a:avLst/>
          </a:prstGeom>
          <a:noFill/>
        </p:spPr>
        <p:txBody>
          <a:bodyPr wrap="none" rtlCol="0">
            <a:spAutoFit/>
          </a:bodyPr>
          <a:lstStyle/>
          <a:p>
            <a:r>
              <a:rPr lang="en-US" dirty="0" smtClean="0"/>
              <a:t>Core network platform:</a:t>
            </a:r>
            <a:endParaRPr lang="en-US" dirty="0"/>
          </a:p>
        </p:txBody>
      </p:sp>
      <p:sp>
        <p:nvSpPr>
          <p:cNvPr id="7" name="TextBox 6"/>
          <p:cNvSpPr txBox="1"/>
          <p:nvPr/>
        </p:nvSpPr>
        <p:spPr>
          <a:xfrm>
            <a:off x="4147930" y="3326296"/>
            <a:ext cx="3882890" cy="2031325"/>
          </a:xfrm>
          <a:prstGeom prst="rect">
            <a:avLst/>
          </a:prstGeom>
          <a:noFill/>
        </p:spPr>
        <p:txBody>
          <a:bodyPr wrap="square" rtlCol="0">
            <a:spAutoFit/>
          </a:bodyPr>
          <a:lstStyle/>
          <a:p>
            <a:pPr marL="285750" indent="-285750">
              <a:buFont typeface="Wingdings" panose="05000000000000000000" pitchFamily="2" charset="2"/>
              <a:buChar char="v"/>
            </a:pPr>
            <a:r>
              <a:rPr lang="en-US" dirty="0" smtClean="0"/>
              <a:t>Limitation for centralizing different type of information to manage a whole service just like a house</a:t>
            </a:r>
          </a:p>
          <a:p>
            <a:pPr marL="285750" indent="-285750">
              <a:buFont typeface="Wingdings" panose="05000000000000000000" pitchFamily="2" charset="2"/>
              <a:buChar char="v"/>
            </a:pPr>
            <a:r>
              <a:rPr lang="en-US" dirty="0" smtClean="0"/>
              <a:t>Applications are automated but not intelligent</a:t>
            </a:r>
          </a:p>
          <a:p>
            <a:pPr marL="285750" indent="-285750">
              <a:buFont typeface="Wingdings" panose="05000000000000000000" pitchFamily="2" charset="2"/>
              <a:buChar char="v"/>
            </a:pPr>
            <a:endParaRPr lang="en-US" dirty="0"/>
          </a:p>
        </p:txBody>
      </p:sp>
      <p:sp>
        <p:nvSpPr>
          <p:cNvPr id="8" name="TextBox 7"/>
          <p:cNvSpPr txBox="1"/>
          <p:nvPr/>
        </p:nvSpPr>
        <p:spPr>
          <a:xfrm>
            <a:off x="8110336" y="3326296"/>
            <a:ext cx="3882890" cy="1477328"/>
          </a:xfrm>
          <a:prstGeom prst="rect">
            <a:avLst/>
          </a:prstGeom>
          <a:noFill/>
        </p:spPr>
        <p:txBody>
          <a:bodyPr wrap="square" rtlCol="0">
            <a:spAutoFit/>
          </a:bodyPr>
          <a:lstStyle/>
          <a:p>
            <a:pPr marL="285750" indent="-285750">
              <a:buFont typeface="Wingdings" panose="05000000000000000000" pitchFamily="2" charset="2"/>
              <a:buChar char="v"/>
            </a:pPr>
            <a:r>
              <a:rPr lang="en-US" dirty="0" smtClean="0"/>
              <a:t>Always connected services</a:t>
            </a:r>
          </a:p>
          <a:p>
            <a:pPr marL="285750" indent="-285750">
              <a:buFont typeface="Wingdings" panose="05000000000000000000" pitchFamily="2" charset="2"/>
              <a:buChar char="v"/>
            </a:pPr>
            <a:r>
              <a:rPr lang="en-US" dirty="0" smtClean="0"/>
              <a:t>Dynamic-service-oriented traffic detection.</a:t>
            </a:r>
          </a:p>
          <a:p>
            <a:pPr marL="285750" indent="-285750">
              <a:buFont typeface="Wingdings" panose="05000000000000000000" pitchFamily="2" charset="2"/>
              <a:buChar char="v"/>
            </a:pPr>
            <a:r>
              <a:rPr lang="en-US" dirty="0" smtClean="0"/>
              <a:t>Speed leakage for Critical-IoT</a:t>
            </a:r>
          </a:p>
          <a:p>
            <a:pPr marL="285750" indent="-285750">
              <a:buFont typeface="Wingdings" panose="05000000000000000000" pitchFamily="2" charset="2"/>
              <a:buChar char="v"/>
            </a:pPr>
            <a:endParaRPr lang="en-US" dirty="0"/>
          </a:p>
        </p:txBody>
      </p:sp>
    </p:spTree>
    <p:extLst>
      <p:ext uri="{BB962C8B-B14F-4D97-AF65-F5344CB8AC3E}">
        <p14:creationId xmlns:p14="http://schemas.microsoft.com/office/powerpoint/2010/main" val="9905698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P solution for making 5G NFV faster</a:t>
            </a:r>
            <a:endParaRPr lang="en-US" dirty="0"/>
          </a:p>
        </p:txBody>
      </p:sp>
      <p:sp>
        <p:nvSpPr>
          <p:cNvPr id="3" name="Content Placeholder 2"/>
          <p:cNvSpPr>
            <a:spLocks noGrp="1"/>
          </p:cNvSpPr>
          <p:nvPr>
            <p:ph idx="1"/>
          </p:nvPr>
        </p:nvSpPr>
        <p:spPr/>
        <p:txBody>
          <a:bodyPr/>
          <a:lstStyle/>
          <a:p>
            <a:r>
              <a:rPr lang="en-US" dirty="0" smtClean="0"/>
              <a:t>Adding </a:t>
            </a:r>
            <a:r>
              <a:rPr lang="en-US" dirty="0" err="1" smtClean="0"/>
              <a:t>vMME</a:t>
            </a:r>
            <a:r>
              <a:rPr lang="en-US" dirty="0" smtClean="0"/>
              <a:t> and </a:t>
            </a:r>
            <a:r>
              <a:rPr lang="en-US" dirty="0" err="1" smtClean="0"/>
              <a:t>vSGW</a:t>
            </a:r>
            <a:r>
              <a:rPr lang="en-US" dirty="0" smtClean="0"/>
              <a:t> in each radio sites for deducting TTL and transmission utilization</a:t>
            </a:r>
          </a:p>
          <a:p>
            <a:r>
              <a:rPr lang="en-US" dirty="0" smtClean="0"/>
              <a:t>Using layer 2 routing technologies for routing user-plane traffic to PGW</a:t>
            </a:r>
          </a:p>
          <a:p>
            <a:r>
              <a:rPr lang="en-US" dirty="0" smtClean="0"/>
              <a:t>IP v6 header customization for Massive IoT routing </a:t>
            </a:r>
          </a:p>
          <a:p>
            <a:r>
              <a:rPr lang="en-US" dirty="0" smtClean="0"/>
              <a:t>Using Do-NAS for sending control and user plane traffic on the same link </a:t>
            </a:r>
          </a:p>
          <a:p>
            <a:r>
              <a:rPr lang="en-US" dirty="0" smtClean="0"/>
              <a:t>Adding 2 features to GTP for Li comfortability </a:t>
            </a:r>
          </a:p>
          <a:p>
            <a:r>
              <a:rPr lang="en-US" dirty="0" smtClean="0"/>
              <a:t>IP addressing for the same destinations</a:t>
            </a:r>
            <a:endParaRPr lang="en-US" dirty="0"/>
          </a:p>
        </p:txBody>
      </p:sp>
    </p:spTree>
    <p:extLst>
      <p:ext uri="{BB962C8B-B14F-4D97-AF65-F5344CB8AC3E}">
        <p14:creationId xmlns:p14="http://schemas.microsoft.com/office/powerpoint/2010/main" val="2590381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Objective of This Study </a:t>
            </a:r>
            <a:endParaRPr lang="en-US" dirty="0"/>
          </a:p>
        </p:txBody>
      </p:sp>
      <p:sp>
        <p:nvSpPr>
          <p:cNvPr id="4" name="TextBox 3"/>
          <p:cNvSpPr txBox="1"/>
          <p:nvPr/>
        </p:nvSpPr>
        <p:spPr>
          <a:xfrm>
            <a:off x="739833" y="2335876"/>
            <a:ext cx="10642165" cy="3416320"/>
          </a:xfrm>
          <a:prstGeom prst="rect">
            <a:avLst/>
          </a:prstGeom>
          <a:noFill/>
        </p:spPr>
        <p:txBody>
          <a:bodyPr wrap="square" rtlCol="0">
            <a:spAutoFit/>
          </a:bodyPr>
          <a:lstStyle/>
          <a:p>
            <a:pPr algn="just"/>
            <a:r>
              <a:rPr lang="en-US" dirty="0" smtClean="0"/>
              <a:t>The certain discrepancy in convergent technologies gives rise to the diversity of pros and cons not only in the deployment cost but also in the solution development. 5G comes for making our connections faster and safer. </a:t>
            </a:r>
            <a:r>
              <a:rPr lang="en-US" dirty="0" smtClean="0"/>
              <a:t>Therefore</a:t>
            </a:r>
            <a:r>
              <a:rPr lang="en-US" dirty="0" smtClean="0"/>
              <a:t>, the combination of quickness, security, low-cost deployment and new technology attractiveness rings the belt that the new businesses could be facilitated by the advent of </a:t>
            </a:r>
            <a:r>
              <a:rPr lang="en-US" dirty="0" smtClean="0"/>
              <a:t>5G.   </a:t>
            </a:r>
            <a:endParaRPr lang="en-US" dirty="0" smtClean="0"/>
          </a:p>
          <a:p>
            <a:pPr algn="just"/>
            <a:r>
              <a:rPr lang="en-US" dirty="0" smtClean="0"/>
              <a:t>The objective of this research is that IoT ,nowadays, has become more and more controversial and argumentative even when it is recently standardized. The thought strikes me that </a:t>
            </a:r>
            <a:r>
              <a:rPr lang="en-US" dirty="0" smtClean="0"/>
              <a:t>5G </a:t>
            </a:r>
            <a:r>
              <a:rPr lang="en-US" dirty="0" smtClean="0"/>
              <a:t>might sit next to IoT and make a resounding success to broaden IoT horizons to its future by making it more faster, safer and reliable. </a:t>
            </a:r>
          </a:p>
          <a:p>
            <a:pPr algn="just"/>
            <a:r>
              <a:rPr lang="en-US" dirty="0" smtClean="0"/>
              <a:t>In this article we will review what 5G architecture and </a:t>
            </a:r>
            <a:r>
              <a:rPr lang="en-US" dirty="0" smtClean="0"/>
              <a:t>IoT </a:t>
            </a:r>
            <a:r>
              <a:rPr lang="en-US" dirty="0" smtClean="0"/>
              <a:t>infrastructure are. Then, appreciate the 5G-IoT significance and its vital roles to change the business environment.</a:t>
            </a:r>
          </a:p>
          <a:p>
            <a:pPr algn="just"/>
            <a:r>
              <a:rPr lang="en-US" dirty="0" smtClean="0"/>
              <a:t>In the end, I would express my solutions to make this technology faster. </a:t>
            </a:r>
            <a:endParaRPr lang="en-US" dirty="0"/>
          </a:p>
        </p:txBody>
      </p:sp>
    </p:spTree>
    <p:extLst>
      <p:ext uri="{BB962C8B-B14F-4D97-AF65-F5344CB8AC3E}">
        <p14:creationId xmlns:p14="http://schemas.microsoft.com/office/powerpoint/2010/main" val="1165237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Rak 26">
            <a:extLst>
              <a:ext uri="{FF2B5EF4-FFF2-40B4-BE49-F238E27FC236}">
                <a16:creationId xmlns:a16="http://schemas.microsoft.com/office/drawing/2014/main" id="{D2547C4D-FB5D-4677-88AD-627B5953C5E5}"/>
              </a:ext>
            </a:extLst>
          </p:cNvPr>
          <p:cNvCxnSpPr/>
          <p:nvPr/>
        </p:nvCxnSpPr>
        <p:spPr>
          <a:xfrm flipV="1">
            <a:off x="5015809" y="4319872"/>
            <a:ext cx="4657716" cy="1018011"/>
          </a:xfrm>
          <a:prstGeom prst="straightConnector1">
            <a:avLst/>
          </a:prstGeom>
          <a:noFill/>
          <a:ln w="12701" cap="flat">
            <a:solidFill>
              <a:srgbClr val="FFFFFF"/>
            </a:solidFill>
            <a:prstDash val="solid"/>
            <a:round/>
          </a:ln>
        </p:spPr>
      </p:cxnSp>
      <p:sp>
        <p:nvSpPr>
          <p:cNvPr id="4" name="Rektangel med rundade hörn 31">
            <a:extLst>
              <a:ext uri="{FF2B5EF4-FFF2-40B4-BE49-F238E27FC236}">
                <a16:creationId xmlns:a16="http://schemas.microsoft.com/office/drawing/2014/main" id="{75C0C94B-A707-49E9-B058-158B31544FA1}"/>
              </a:ext>
            </a:extLst>
          </p:cNvPr>
          <p:cNvSpPr/>
          <p:nvPr/>
        </p:nvSpPr>
        <p:spPr>
          <a:xfrm>
            <a:off x="7649857" y="4085027"/>
            <a:ext cx="1160428" cy="905649"/>
          </a:xfrm>
          <a:custGeom>
            <a:avLst/>
            <a:gdLst>
              <a:gd name="f0" fmla="val 10800000"/>
              <a:gd name="f1" fmla="val 5400000"/>
              <a:gd name="f2" fmla="val 16200000"/>
              <a:gd name="f3" fmla="val w"/>
              <a:gd name="f4" fmla="val h"/>
              <a:gd name="f5" fmla="val ss"/>
              <a:gd name="f6" fmla="val 0"/>
              <a:gd name="f7" fmla="*/ 5419351 1 1725033"/>
              <a:gd name="f8" fmla="val 45"/>
              <a:gd name="f9" fmla="val 1105"/>
              <a:gd name="f10" fmla="abs f3"/>
              <a:gd name="f11" fmla="abs f4"/>
              <a:gd name="f12" fmla="abs f5"/>
              <a:gd name="f13" fmla="*/ f7 1 180"/>
              <a:gd name="f14" fmla="+- 0 0 f1"/>
              <a:gd name="f15" fmla="+- f6 f9 0"/>
              <a:gd name="f16" fmla="?: f10 f3 1"/>
              <a:gd name="f17" fmla="?: f11 f4 1"/>
              <a:gd name="f18" fmla="?: f12 f5 1"/>
              <a:gd name="f19" fmla="*/ f8 f13 1"/>
              <a:gd name="f20" fmla="+- f6 0 f15"/>
              <a:gd name="f21" fmla="+- f15 0 f6"/>
              <a:gd name="f22" fmla="*/ f16 1 21600"/>
              <a:gd name="f23" fmla="*/ f17 1 21600"/>
              <a:gd name="f24" fmla="*/ 21600 f16 1"/>
              <a:gd name="f25" fmla="*/ 21600 f17 1"/>
              <a:gd name="f26" fmla="+- 0 0 f19"/>
              <a:gd name="f27" fmla="abs f20"/>
              <a:gd name="f28" fmla="abs f21"/>
              <a:gd name="f29" fmla="?: f20 f14 f1"/>
              <a:gd name="f30" fmla="?: f20 f1 f14"/>
              <a:gd name="f31" fmla="?: f20 f2 f1"/>
              <a:gd name="f32" fmla="?: f20 f1 f2"/>
              <a:gd name="f33" fmla="?: f21 f14 f1"/>
              <a:gd name="f34" fmla="?: f21 f1 f14"/>
              <a:gd name="f35" fmla="?: f20 0 f0"/>
              <a:gd name="f36" fmla="?: f20 f0 0"/>
              <a:gd name="f37" fmla="min f23 f22"/>
              <a:gd name="f38" fmla="*/ f24 1 f18"/>
              <a:gd name="f39" fmla="*/ f25 1 f18"/>
              <a:gd name="f40" fmla="*/ f26 f0 1"/>
              <a:gd name="f41" fmla="?: f20 f32 f31"/>
              <a:gd name="f42" fmla="?: f20 f31 f32"/>
              <a:gd name="f43" fmla="?: f21 f30 f29"/>
              <a:gd name="f44" fmla="val f38"/>
              <a:gd name="f45" fmla="val f39"/>
              <a:gd name="f46" fmla="*/ f40 1 f7"/>
              <a:gd name="f47" fmla="?: f21 f42 f41"/>
              <a:gd name="f48" fmla="*/ f15 f37 1"/>
              <a:gd name="f49" fmla="*/ f6 f37 1"/>
              <a:gd name="f50" fmla="*/ f27 f37 1"/>
              <a:gd name="f51" fmla="*/ f28 f37 1"/>
              <a:gd name="f52" fmla="+- f45 0 f9"/>
              <a:gd name="f53" fmla="+- f44 0 f9"/>
              <a:gd name="f54" fmla="+- f46 0 f1"/>
              <a:gd name="f55" fmla="*/ f45 f37 1"/>
              <a:gd name="f56" fmla="*/ f44 f37 1"/>
              <a:gd name="f57" fmla="+- f45 0 f52"/>
              <a:gd name="f58" fmla="+- f44 0 f53"/>
              <a:gd name="f59" fmla="+- f52 0 f45"/>
              <a:gd name="f60" fmla="+- f53 0 f44"/>
              <a:gd name="f61" fmla="+- f54 f1 0"/>
              <a:gd name="f62" fmla="*/ f52 f37 1"/>
              <a:gd name="f63" fmla="*/ f53 f37 1"/>
              <a:gd name="f64" fmla="abs f57"/>
              <a:gd name="f65" fmla="?: f57 0 f0"/>
              <a:gd name="f66" fmla="?: f57 f0 0"/>
              <a:gd name="f67" fmla="?: f57 f33 f34"/>
              <a:gd name="f68" fmla="abs f58"/>
              <a:gd name="f69" fmla="abs f59"/>
              <a:gd name="f70" fmla="?: f58 f14 f1"/>
              <a:gd name="f71" fmla="?: f58 f1 f14"/>
              <a:gd name="f72" fmla="?: f58 f2 f1"/>
              <a:gd name="f73" fmla="?: f58 f1 f2"/>
              <a:gd name="f74" fmla="abs f60"/>
              <a:gd name="f75" fmla="?: f60 f14 f1"/>
              <a:gd name="f76" fmla="?: f60 f1 f14"/>
              <a:gd name="f77" fmla="?: f60 f36 f35"/>
              <a:gd name="f78" fmla="?: f60 f35 f36"/>
              <a:gd name="f79" fmla="*/ f61 f7 1"/>
              <a:gd name="f80" fmla="?: f21 f66 f65"/>
              <a:gd name="f81" fmla="?: f21 f65 f66"/>
              <a:gd name="f82" fmla="?: f58 f73 f72"/>
              <a:gd name="f83" fmla="?: f58 f72 f73"/>
              <a:gd name="f84" fmla="?: f59 f71 f70"/>
              <a:gd name="f85" fmla="?: f20 f77 f78"/>
              <a:gd name="f86" fmla="?: f20 f75 f76"/>
              <a:gd name="f87" fmla="*/ f79 1 f0"/>
              <a:gd name="f88" fmla="*/ f64 f37 1"/>
              <a:gd name="f89" fmla="*/ f68 f37 1"/>
              <a:gd name="f90" fmla="*/ f69 f37 1"/>
              <a:gd name="f91" fmla="*/ f74 f37 1"/>
              <a:gd name="f92" fmla="?: f57 f80 f81"/>
              <a:gd name="f93" fmla="?: f59 f83 f82"/>
              <a:gd name="f94" fmla="+- 0 0 f87"/>
              <a:gd name="f95" fmla="+- 0 0 f94"/>
              <a:gd name="f96" fmla="*/ f95 f0 1"/>
              <a:gd name="f97" fmla="*/ f96 1 f7"/>
              <a:gd name="f98" fmla="+- f97 0 f1"/>
              <a:gd name="f99" fmla="cos 1 f98"/>
              <a:gd name="f100" fmla="+- 0 0 f99"/>
              <a:gd name="f101" fmla="+- 0 0 f100"/>
              <a:gd name="f102" fmla="val f101"/>
              <a:gd name="f103" fmla="+- 0 0 f102"/>
              <a:gd name="f104" fmla="*/ f9 f103 1"/>
              <a:gd name="f105" fmla="*/ f104 3163 1"/>
              <a:gd name="f106" fmla="*/ f105 1 7636"/>
              <a:gd name="f107" fmla="+- f6 f106 0"/>
              <a:gd name="f108" fmla="+- f44 0 f106"/>
              <a:gd name="f109" fmla="+- f45 0 f106"/>
              <a:gd name="f110" fmla="*/ f107 f37 1"/>
              <a:gd name="f111" fmla="*/ f108 f37 1"/>
              <a:gd name="f112" fmla="*/ f109 f37 1"/>
            </a:gdLst>
            <a:ahLst/>
            <a:cxnLst>
              <a:cxn ang="3cd4">
                <a:pos x="hc" y="t"/>
              </a:cxn>
              <a:cxn ang="0">
                <a:pos x="r" y="vc"/>
              </a:cxn>
              <a:cxn ang="cd4">
                <a:pos x="hc" y="b"/>
              </a:cxn>
              <a:cxn ang="cd2">
                <a:pos x="l" y="vc"/>
              </a:cxn>
            </a:cxnLst>
            <a:rect l="f110" t="f110" r="f111" b="f112"/>
            <a:pathLst>
              <a:path>
                <a:moveTo>
                  <a:pt x="f48" y="f49"/>
                </a:moveTo>
                <a:arcTo wR="f50" hR="f51" stAng="f47" swAng="f43"/>
                <a:lnTo>
                  <a:pt x="f49" y="f62"/>
                </a:lnTo>
                <a:arcTo wR="f51" hR="f88" stAng="f92" swAng="f67"/>
                <a:lnTo>
                  <a:pt x="f63" y="f55"/>
                </a:lnTo>
                <a:arcTo wR="f89" hR="f90" stAng="f93" swAng="f84"/>
                <a:lnTo>
                  <a:pt x="f56" y="f48"/>
                </a:lnTo>
                <a:arcTo wR="f91" hR="f50" stAng="f85" swAng="f86"/>
                <a:close/>
              </a:path>
            </a:pathLst>
          </a:custGeom>
          <a:solidFill>
            <a:srgbClr val="F08A00"/>
          </a:solidFill>
          <a:ln w="22229" cap="flat">
            <a:solidFill>
              <a:srgbClr val="FFFFFF"/>
            </a:solidFill>
            <a:prstDash val="solid"/>
            <a:round/>
          </a:ln>
        </p:spPr>
        <p:txBody>
          <a:bodyPr vert="horz" wrap="none" lIns="71999" tIns="45720" rIns="71999"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sv-SE" sz="2000" b="0" i="0" u="none" strike="noStrike" kern="1200" cap="none" spc="0" baseline="0">
              <a:solidFill>
                <a:srgbClr val="58585A"/>
              </a:solidFill>
              <a:uFillTx/>
              <a:latin typeface="Arial"/>
            </a:endParaRPr>
          </a:p>
        </p:txBody>
      </p:sp>
      <p:sp>
        <p:nvSpPr>
          <p:cNvPr id="5" name="Rektangel med rundade hörn 29">
            <a:extLst>
              <a:ext uri="{FF2B5EF4-FFF2-40B4-BE49-F238E27FC236}">
                <a16:creationId xmlns:a16="http://schemas.microsoft.com/office/drawing/2014/main" id="{70D3D6CD-80EA-4358-B136-03D950E282B9}"/>
              </a:ext>
            </a:extLst>
          </p:cNvPr>
          <p:cNvSpPr/>
          <p:nvPr/>
        </p:nvSpPr>
        <p:spPr>
          <a:xfrm>
            <a:off x="5432373" y="3668801"/>
            <a:ext cx="1188052" cy="658276"/>
          </a:xfrm>
          <a:custGeom>
            <a:avLst/>
            <a:gdLst>
              <a:gd name="f0" fmla="val 10800000"/>
              <a:gd name="f1" fmla="val 5400000"/>
              <a:gd name="f2" fmla="val 16200000"/>
              <a:gd name="f3" fmla="val w"/>
              <a:gd name="f4" fmla="val h"/>
              <a:gd name="f5" fmla="val ss"/>
              <a:gd name="f6" fmla="val 0"/>
              <a:gd name="f7" fmla="*/ 5419351 1 1725033"/>
              <a:gd name="f8" fmla="val 45"/>
              <a:gd name="f9" fmla="val 1105"/>
              <a:gd name="f10" fmla="abs f3"/>
              <a:gd name="f11" fmla="abs f4"/>
              <a:gd name="f12" fmla="abs f5"/>
              <a:gd name="f13" fmla="*/ f7 1 180"/>
              <a:gd name="f14" fmla="+- 0 0 f1"/>
              <a:gd name="f15" fmla="+- f6 f9 0"/>
              <a:gd name="f16" fmla="?: f10 f3 1"/>
              <a:gd name="f17" fmla="?: f11 f4 1"/>
              <a:gd name="f18" fmla="?: f12 f5 1"/>
              <a:gd name="f19" fmla="*/ f8 f13 1"/>
              <a:gd name="f20" fmla="+- f6 0 f15"/>
              <a:gd name="f21" fmla="+- f15 0 f6"/>
              <a:gd name="f22" fmla="*/ f16 1 21600"/>
              <a:gd name="f23" fmla="*/ f17 1 21600"/>
              <a:gd name="f24" fmla="*/ 21600 f16 1"/>
              <a:gd name="f25" fmla="*/ 21600 f17 1"/>
              <a:gd name="f26" fmla="+- 0 0 f19"/>
              <a:gd name="f27" fmla="abs f20"/>
              <a:gd name="f28" fmla="abs f21"/>
              <a:gd name="f29" fmla="?: f20 f14 f1"/>
              <a:gd name="f30" fmla="?: f20 f1 f14"/>
              <a:gd name="f31" fmla="?: f20 f2 f1"/>
              <a:gd name="f32" fmla="?: f20 f1 f2"/>
              <a:gd name="f33" fmla="?: f21 f14 f1"/>
              <a:gd name="f34" fmla="?: f21 f1 f14"/>
              <a:gd name="f35" fmla="?: f20 0 f0"/>
              <a:gd name="f36" fmla="?: f20 f0 0"/>
              <a:gd name="f37" fmla="min f23 f22"/>
              <a:gd name="f38" fmla="*/ f24 1 f18"/>
              <a:gd name="f39" fmla="*/ f25 1 f18"/>
              <a:gd name="f40" fmla="*/ f26 f0 1"/>
              <a:gd name="f41" fmla="?: f20 f32 f31"/>
              <a:gd name="f42" fmla="?: f20 f31 f32"/>
              <a:gd name="f43" fmla="?: f21 f30 f29"/>
              <a:gd name="f44" fmla="val f38"/>
              <a:gd name="f45" fmla="val f39"/>
              <a:gd name="f46" fmla="*/ f40 1 f7"/>
              <a:gd name="f47" fmla="?: f21 f42 f41"/>
              <a:gd name="f48" fmla="*/ f15 f37 1"/>
              <a:gd name="f49" fmla="*/ f6 f37 1"/>
              <a:gd name="f50" fmla="*/ f27 f37 1"/>
              <a:gd name="f51" fmla="*/ f28 f37 1"/>
              <a:gd name="f52" fmla="+- f45 0 f9"/>
              <a:gd name="f53" fmla="+- f44 0 f9"/>
              <a:gd name="f54" fmla="+- f46 0 f1"/>
              <a:gd name="f55" fmla="*/ f45 f37 1"/>
              <a:gd name="f56" fmla="*/ f44 f37 1"/>
              <a:gd name="f57" fmla="+- f45 0 f52"/>
              <a:gd name="f58" fmla="+- f44 0 f53"/>
              <a:gd name="f59" fmla="+- f52 0 f45"/>
              <a:gd name="f60" fmla="+- f53 0 f44"/>
              <a:gd name="f61" fmla="+- f54 f1 0"/>
              <a:gd name="f62" fmla="*/ f52 f37 1"/>
              <a:gd name="f63" fmla="*/ f53 f37 1"/>
              <a:gd name="f64" fmla="abs f57"/>
              <a:gd name="f65" fmla="?: f57 0 f0"/>
              <a:gd name="f66" fmla="?: f57 f0 0"/>
              <a:gd name="f67" fmla="?: f57 f33 f34"/>
              <a:gd name="f68" fmla="abs f58"/>
              <a:gd name="f69" fmla="abs f59"/>
              <a:gd name="f70" fmla="?: f58 f14 f1"/>
              <a:gd name="f71" fmla="?: f58 f1 f14"/>
              <a:gd name="f72" fmla="?: f58 f2 f1"/>
              <a:gd name="f73" fmla="?: f58 f1 f2"/>
              <a:gd name="f74" fmla="abs f60"/>
              <a:gd name="f75" fmla="?: f60 f14 f1"/>
              <a:gd name="f76" fmla="?: f60 f1 f14"/>
              <a:gd name="f77" fmla="?: f60 f36 f35"/>
              <a:gd name="f78" fmla="?: f60 f35 f36"/>
              <a:gd name="f79" fmla="*/ f61 f7 1"/>
              <a:gd name="f80" fmla="?: f21 f66 f65"/>
              <a:gd name="f81" fmla="?: f21 f65 f66"/>
              <a:gd name="f82" fmla="?: f58 f73 f72"/>
              <a:gd name="f83" fmla="?: f58 f72 f73"/>
              <a:gd name="f84" fmla="?: f59 f71 f70"/>
              <a:gd name="f85" fmla="?: f20 f77 f78"/>
              <a:gd name="f86" fmla="?: f20 f75 f76"/>
              <a:gd name="f87" fmla="*/ f79 1 f0"/>
              <a:gd name="f88" fmla="*/ f64 f37 1"/>
              <a:gd name="f89" fmla="*/ f68 f37 1"/>
              <a:gd name="f90" fmla="*/ f69 f37 1"/>
              <a:gd name="f91" fmla="*/ f74 f37 1"/>
              <a:gd name="f92" fmla="?: f57 f80 f81"/>
              <a:gd name="f93" fmla="?: f59 f83 f82"/>
              <a:gd name="f94" fmla="+- 0 0 f87"/>
              <a:gd name="f95" fmla="+- 0 0 f94"/>
              <a:gd name="f96" fmla="*/ f95 f0 1"/>
              <a:gd name="f97" fmla="*/ f96 1 f7"/>
              <a:gd name="f98" fmla="+- f97 0 f1"/>
              <a:gd name="f99" fmla="cos 1 f98"/>
              <a:gd name="f100" fmla="+- 0 0 f99"/>
              <a:gd name="f101" fmla="+- 0 0 f100"/>
              <a:gd name="f102" fmla="val f101"/>
              <a:gd name="f103" fmla="+- 0 0 f102"/>
              <a:gd name="f104" fmla="*/ f9 f103 1"/>
              <a:gd name="f105" fmla="*/ f104 3163 1"/>
              <a:gd name="f106" fmla="*/ f105 1 7636"/>
              <a:gd name="f107" fmla="+- f6 f106 0"/>
              <a:gd name="f108" fmla="+- f44 0 f106"/>
              <a:gd name="f109" fmla="+- f45 0 f106"/>
              <a:gd name="f110" fmla="*/ f107 f37 1"/>
              <a:gd name="f111" fmla="*/ f108 f37 1"/>
              <a:gd name="f112" fmla="*/ f109 f37 1"/>
            </a:gdLst>
            <a:ahLst/>
            <a:cxnLst>
              <a:cxn ang="3cd4">
                <a:pos x="hc" y="t"/>
              </a:cxn>
              <a:cxn ang="0">
                <a:pos x="r" y="vc"/>
              </a:cxn>
              <a:cxn ang="cd4">
                <a:pos x="hc" y="b"/>
              </a:cxn>
              <a:cxn ang="cd2">
                <a:pos x="l" y="vc"/>
              </a:cxn>
            </a:cxnLst>
            <a:rect l="f110" t="f110" r="f111" b="f112"/>
            <a:pathLst>
              <a:path>
                <a:moveTo>
                  <a:pt x="f48" y="f49"/>
                </a:moveTo>
                <a:arcTo wR="f50" hR="f51" stAng="f47" swAng="f43"/>
                <a:lnTo>
                  <a:pt x="f49" y="f62"/>
                </a:lnTo>
                <a:arcTo wR="f51" hR="f88" stAng="f92" swAng="f67"/>
                <a:lnTo>
                  <a:pt x="f63" y="f55"/>
                </a:lnTo>
                <a:arcTo wR="f89" hR="f90" stAng="f93" swAng="f84"/>
                <a:lnTo>
                  <a:pt x="f56" y="f48"/>
                </a:lnTo>
                <a:arcTo wR="f91" hR="f50" stAng="f85" swAng="f86"/>
                <a:close/>
              </a:path>
            </a:pathLst>
          </a:custGeom>
          <a:solidFill>
            <a:srgbClr val="F08A00"/>
          </a:solidFill>
          <a:ln w="22229" cap="flat">
            <a:solidFill>
              <a:srgbClr val="FFFFFF"/>
            </a:solidFill>
            <a:prstDash val="solid"/>
            <a:round/>
          </a:ln>
        </p:spPr>
        <p:txBody>
          <a:bodyPr vert="horz" wrap="none" lIns="71999" tIns="45720" rIns="71999"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sv-SE" sz="2000" b="0" i="0" u="none" strike="noStrike" kern="1200" cap="none" spc="0" baseline="0">
              <a:solidFill>
                <a:srgbClr val="58585A"/>
              </a:solidFill>
              <a:uFillTx/>
              <a:latin typeface="Arial"/>
            </a:endParaRPr>
          </a:p>
        </p:txBody>
      </p:sp>
      <p:sp>
        <p:nvSpPr>
          <p:cNvPr id="6" name="Rectangle 24">
            <a:extLst>
              <a:ext uri="{FF2B5EF4-FFF2-40B4-BE49-F238E27FC236}">
                <a16:creationId xmlns:a16="http://schemas.microsoft.com/office/drawing/2014/main" id="{E4E340D2-9C97-4927-8FF6-6CBDA60C22B7}"/>
              </a:ext>
            </a:extLst>
          </p:cNvPr>
          <p:cNvSpPr/>
          <p:nvPr/>
        </p:nvSpPr>
        <p:spPr>
          <a:xfrm>
            <a:off x="7649857" y="4160611"/>
            <a:ext cx="1160428" cy="861776"/>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ts val="2000"/>
              </a:lnSpc>
              <a:spcBef>
                <a:spcPts val="1100"/>
              </a:spcBef>
              <a:spcAft>
                <a:spcPts val="0"/>
              </a:spcAft>
              <a:buNone/>
              <a:tabLst/>
              <a:defRPr sz="1800" b="0" i="0" u="none" strike="noStrike" kern="0" cap="none" spc="0" baseline="0">
                <a:solidFill>
                  <a:srgbClr val="000000"/>
                </a:solidFill>
                <a:uFillTx/>
              </a:defRPr>
            </a:pPr>
            <a:r>
              <a:rPr lang="en-US" sz="1900" b="0" i="0" u="none" strike="noStrike" kern="1200" cap="none" spc="0" baseline="0">
                <a:solidFill>
                  <a:srgbClr val="FFFFFF"/>
                </a:solidFill>
                <a:uFillTx/>
                <a:latin typeface="Arial"/>
              </a:rPr>
              <a:t>New business model</a:t>
            </a:r>
          </a:p>
        </p:txBody>
      </p:sp>
      <p:sp>
        <p:nvSpPr>
          <p:cNvPr id="7" name="Ellips 10">
            <a:extLst>
              <a:ext uri="{FF2B5EF4-FFF2-40B4-BE49-F238E27FC236}">
                <a16:creationId xmlns:a16="http://schemas.microsoft.com/office/drawing/2014/main" id="{36E6F5BB-3292-4EF2-8F97-6ACE26CD7B36}"/>
              </a:ext>
            </a:extLst>
          </p:cNvPr>
          <p:cNvSpPr/>
          <p:nvPr/>
        </p:nvSpPr>
        <p:spPr>
          <a:xfrm>
            <a:off x="4199863" y="5036917"/>
            <a:ext cx="1062395" cy="1062395"/>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FFFFFF"/>
          </a:solidFill>
          <a:ln cap="flat">
            <a:noFill/>
            <a:prstDash val="solid"/>
          </a:ln>
        </p:spPr>
        <p:txBody>
          <a:bodyPr vert="horz" wrap="none" lIns="71999" tIns="45720" rIns="71999"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sv-SE" sz="2000" b="0" i="0" u="none" strike="noStrike" kern="1200" cap="none" spc="0" baseline="0">
              <a:solidFill>
                <a:srgbClr val="58585A"/>
              </a:solidFill>
              <a:uFillTx/>
              <a:latin typeface="Arial"/>
            </a:endParaRPr>
          </a:p>
        </p:txBody>
      </p:sp>
      <p:sp>
        <p:nvSpPr>
          <p:cNvPr id="8" name="Rectangle 24">
            <a:extLst>
              <a:ext uri="{FF2B5EF4-FFF2-40B4-BE49-F238E27FC236}">
                <a16:creationId xmlns:a16="http://schemas.microsoft.com/office/drawing/2014/main" id="{73A86F2C-6469-49DA-AF11-65E51959CD5C}"/>
              </a:ext>
            </a:extLst>
          </p:cNvPr>
          <p:cNvSpPr/>
          <p:nvPr/>
        </p:nvSpPr>
        <p:spPr>
          <a:xfrm>
            <a:off x="5218870" y="3714576"/>
            <a:ext cx="1604616" cy="605296"/>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ts val="2000"/>
              </a:lnSpc>
              <a:spcBef>
                <a:spcPts val="1100"/>
              </a:spcBef>
              <a:spcAft>
                <a:spcPts val="0"/>
              </a:spcAft>
              <a:buNone/>
              <a:tabLst/>
              <a:defRPr sz="1800" b="0" i="0" u="none" strike="noStrike" kern="0" cap="none" spc="0" baseline="0">
                <a:solidFill>
                  <a:srgbClr val="000000"/>
                </a:solidFill>
                <a:uFillTx/>
              </a:defRPr>
            </a:pPr>
            <a:r>
              <a:rPr lang="en-US" sz="1900" b="0" i="0" u="none" strike="noStrike" kern="1200" cap="none" spc="0" baseline="0">
                <a:solidFill>
                  <a:srgbClr val="FFFFFF"/>
                </a:solidFill>
                <a:uFillTx/>
                <a:latin typeface="Arial"/>
              </a:rPr>
              <a:t>New use cases</a:t>
            </a:r>
          </a:p>
        </p:txBody>
      </p:sp>
      <p:pic>
        <p:nvPicPr>
          <p:cNvPr id="10" name="Bildobjekt 6">
            <a:extLst>
              <a:ext uri="{FF2B5EF4-FFF2-40B4-BE49-F238E27FC236}">
                <a16:creationId xmlns:a16="http://schemas.microsoft.com/office/drawing/2014/main" id="{D461A374-0755-448B-92BD-0B8F17F6BF64}"/>
              </a:ext>
            </a:extLst>
          </p:cNvPr>
          <p:cNvPicPr>
            <a:picLocks noChangeAspect="1"/>
          </p:cNvPicPr>
          <p:nvPr/>
        </p:nvPicPr>
        <p:blipFill>
          <a:blip r:embed="rId3"/>
          <a:srcRect/>
          <a:stretch>
            <a:fillRect/>
          </a:stretch>
        </p:blipFill>
        <p:spPr>
          <a:xfrm>
            <a:off x="8267658" y="1966672"/>
            <a:ext cx="1739902" cy="457200"/>
          </a:xfrm>
          <a:prstGeom prst="rect">
            <a:avLst/>
          </a:prstGeom>
          <a:noFill/>
          <a:ln cap="flat">
            <a:noFill/>
          </a:ln>
        </p:spPr>
      </p:pic>
      <p:sp>
        <p:nvSpPr>
          <p:cNvPr id="11" name="TextBox 2">
            <a:extLst>
              <a:ext uri="{FF2B5EF4-FFF2-40B4-BE49-F238E27FC236}">
                <a16:creationId xmlns:a16="http://schemas.microsoft.com/office/drawing/2014/main" id="{C1D9ADE4-D9B5-43CF-A076-D0C75CE575BE}"/>
              </a:ext>
            </a:extLst>
          </p:cNvPr>
          <p:cNvSpPr txBox="1"/>
          <p:nvPr/>
        </p:nvSpPr>
        <p:spPr>
          <a:xfrm>
            <a:off x="8069789" y="442288"/>
            <a:ext cx="1850187" cy="1785100"/>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6600"/>
              </a:spcBef>
              <a:spcAft>
                <a:spcPts val="0"/>
              </a:spcAft>
              <a:buNone/>
              <a:tabLst/>
              <a:defRPr sz="1800" b="0" i="0" u="none" strike="noStrike" kern="0" cap="none" spc="0" baseline="0">
                <a:solidFill>
                  <a:srgbClr val="000000"/>
                </a:solidFill>
                <a:uFillTx/>
              </a:defRPr>
            </a:pPr>
            <a:r>
              <a:rPr lang="en-US" sz="11000" b="0" i="0" u="none" strike="noStrike" kern="1200" cap="none" spc="-300" baseline="0" dirty="0">
                <a:solidFill>
                  <a:srgbClr val="FFFFFF"/>
                </a:solidFill>
                <a:uFillTx/>
                <a:latin typeface="Ericsson Capital TT"/>
                <a:ea typeface="ＭＳ Ｐゴシック"/>
                <a:cs typeface="Arial"/>
              </a:rPr>
              <a:t>1.5</a:t>
            </a:r>
          </a:p>
        </p:txBody>
      </p:sp>
      <p:sp>
        <p:nvSpPr>
          <p:cNvPr id="13" name="Rectangle 7">
            <a:extLst>
              <a:ext uri="{FF2B5EF4-FFF2-40B4-BE49-F238E27FC236}">
                <a16:creationId xmlns:a16="http://schemas.microsoft.com/office/drawing/2014/main" id="{79F9D932-AA8D-4814-A10E-DA96179270AB}"/>
              </a:ext>
            </a:extLst>
          </p:cNvPr>
          <p:cNvSpPr/>
          <p:nvPr/>
        </p:nvSpPr>
        <p:spPr>
          <a:xfrm>
            <a:off x="8138764" y="2431626"/>
            <a:ext cx="1955160" cy="759180"/>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ts val="2580"/>
              </a:lnSpc>
              <a:spcBef>
                <a:spcPts val="1400"/>
              </a:spcBef>
              <a:spcAft>
                <a:spcPts val="0"/>
              </a:spcAft>
              <a:buNone/>
              <a:tabLst/>
              <a:defRPr sz="1800" b="0" i="0" u="none" strike="noStrike" kern="0" cap="none" spc="0" baseline="0">
                <a:solidFill>
                  <a:srgbClr val="000000"/>
                </a:solidFill>
                <a:uFillTx/>
              </a:defRPr>
            </a:pPr>
            <a:r>
              <a:rPr lang="en-US" sz="2400" b="0" i="0" u="none" strike="noStrike" kern="1200" cap="none" spc="0" baseline="0">
                <a:solidFill>
                  <a:srgbClr val="FFFFFF"/>
                </a:solidFill>
                <a:uFillTx/>
                <a:latin typeface="Arial"/>
              </a:rPr>
              <a:t>Connections </a:t>
            </a:r>
            <a:br>
              <a:rPr lang="en-US" sz="2400" b="0" i="0" u="none" strike="noStrike" kern="1200" cap="none" spc="0" baseline="0">
                <a:solidFill>
                  <a:srgbClr val="FFFFFF"/>
                </a:solidFill>
                <a:uFillTx/>
                <a:latin typeface="Arial"/>
              </a:rPr>
            </a:br>
            <a:r>
              <a:rPr lang="en-US" sz="2400" b="0" i="0" u="none" strike="noStrike" kern="1200" cap="none" spc="0" baseline="0">
                <a:solidFill>
                  <a:srgbClr val="FFFFFF"/>
                </a:solidFill>
                <a:uFillTx/>
                <a:latin typeface="Arial"/>
              </a:rPr>
              <a:t>by 2022 </a:t>
            </a:r>
          </a:p>
        </p:txBody>
      </p:sp>
      <p:cxnSp>
        <p:nvCxnSpPr>
          <p:cNvPr id="14" name="Rak 13">
            <a:extLst>
              <a:ext uri="{FF2B5EF4-FFF2-40B4-BE49-F238E27FC236}">
                <a16:creationId xmlns:a16="http://schemas.microsoft.com/office/drawing/2014/main" id="{6CE65374-3F6F-4899-B402-A51F356AB1E7}"/>
              </a:ext>
            </a:extLst>
          </p:cNvPr>
          <p:cNvCxnSpPr>
            <a:endCxn id="13" idx="1"/>
          </p:cNvCxnSpPr>
          <p:nvPr/>
        </p:nvCxnSpPr>
        <p:spPr>
          <a:xfrm flipV="1">
            <a:off x="6213710" y="2811216"/>
            <a:ext cx="1925054" cy="857586"/>
          </a:xfrm>
          <a:prstGeom prst="straightConnector1">
            <a:avLst/>
          </a:prstGeom>
          <a:noFill/>
          <a:ln w="12701" cap="flat">
            <a:solidFill>
              <a:srgbClr val="FFFFFF"/>
            </a:solidFill>
            <a:prstDash val="solid"/>
            <a:round/>
          </a:ln>
        </p:spPr>
      </p:cxnSp>
      <p:cxnSp>
        <p:nvCxnSpPr>
          <p:cNvPr id="15" name="Rak 13">
            <a:extLst>
              <a:ext uri="{FF2B5EF4-FFF2-40B4-BE49-F238E27FC236}">
                <a16:creationId xmlns:a16="http://schemas.microsoft.com/office/drawing/2014/main" id="{1E71144C-D4FD-4081-98F5-4F4843699B4F}"/>
              </a:ext>
            </a:extLst>
          </p:cNvPr>
          <p:cNvCxnSpPr/>
          <p:nvPr/>
        </p:nvCxnSpPr>
        <p:spPr>
          <a:xfrm flipV="1">
            <a:off x="5096011" y="4333588"/>
            <a:ext cx="654510" cy="851188"/>
          </a:xfrm>
          <a:prstGeom prst="straightConnector1">
            <a:avLst/>
          </a:prstGeom>
          <a:noFill/>
          <a:ln w="12701" cap="flat">
            <a:solidFill>
              <a:srgbClr val="FFFFFF"/>
            </a:solidFill>
            <a:prstDash val="solid"/>
            <a:round/>
          </a:ln>
        </p:spPr>
      </p:cxnSp>
      <p:sp>
        <p:nvSpPr>
          <p:cNvPr id="16" name="Rectangle 4">
            <a:extLst>
              <a:ext uri="{FF2B5EF4-FFF2-40B4-BE49-F238E27FC236}">
                <a16:creationId xmlns:a16="http://schemas.microsoft.com/office/drawing/2014/main" id="{993A3D08-AB93-439F-97B1-D5A1E7549F1A}"/>
              </a:ext>
            </a:extLst>
          </p:cNvPr>
          <p:cNvSpPr/>
          <p:nvPr/>
        </p:nvSpPr>
        <p:spPr>
          <a:xfrm>
            <a:off x="2651381" y="4823935"/>
            <a:ext cx="1604616" cy="605296"/>
          </a:xfrm>
          <a:prstGeom prst="rect">
            <a:avLst/>
          </a:prstGeom>
          <a:noFill/>
          <a:ln cap="flat">
            <a:noFill/>
            <a:prstDash val="solid"/>
          </a:ln>
        </p:spPr>
        <p:txBody>
          <a:bodyPr vert="horz" wrap="square" lIns="91440" tIns="45720" rIns="91440" bIns="45720" anchor="t" anchorCtr="0" compatLnSpc="1">
            <a:spAutoFit/>
          </a:bodyPr>
          <a:lstStyle/>
          <a:p>
            <a:pPr marL="0" marR="0" lvl="0" indent="0" algn="l" defTabSz="914400" rtl="0" fontAlgn="auto" hangingPunct="1">
              <a:lnSpc>
                <a:spcPts val="2000"/>
              </a:lnSpc>
              <a:spcBef>
                <a:spcPts val="1200"/>
              </a:spcBef>
              <a:spcAft>
                <a:spcPts val="0"/>
              </a:spcAft>
              <a:buNone/>
              <a:tabLst/>
              <a:defRPr sz="1800" b="0" i="0" u="none" strike="noStrike" kern="0" cap="none" spc="0" baseline="0">
                <a:solidFill>
                  <a:srgbClr val="000000"/>
                </a:solidFill>
                <a:uFillTx/>
              </a:defRPr>
            </a:pPr>
            <a:r>
              <a:rPr lang="en-US" sz="2000" b="0" i="0" u="none" strike="noStrike" kern="1200" cap="none" spc="0" baseline="0">
                <a:solidFill>
                  <a:srgbClr val="FFFFFF"/>
                </a:solidFill>
                <a:uFillTx/>
                <a:latin typeface="Arial"/>
              </a:rPr>
              <a:t>400 million Connections</a:t>
            </a:r>
          </a:p>
        </p:txBody>
      </p:sp>
      <p:sp>
        <p:nvSpPr>
          <p:cNvPr id="17" name="TextBox 57">
            <a:extLst>
              <a:ext uri="{FF2B5EF4-FFF2-40B4-BE49-F238E27FC236}">
                <a16:creationId xmlns:a16="http://schemas.microsoft.com/office/drawing/2014/main" id="{22D06819-DC76-471E-9F61-697AD8048A2F}"/>
              </a:ext>
            </a:extLst>
          </p:cNvPr>
          <p:cNvSpPr txBox="1"/>
          <p:nvPr/>
        </p:nvSpPr>
        <p:spPr>
          <a:xfrm>
            <a:off x="8598258" y="6389431"/>
            <a:ext cx="3020382" cy="261609"/>
          </a:xfrm>
          <a:prstGeom prst="rect">
            <a:avLst/>
          </a:prstGeom>
          <a:noFill/>
          <a:ln cap="flat">
            <a:noFill/>
          </a:ln>
        </p:spPr>
        <p:txBody>
          <a:bodyPr vert="horz" wrap="none" lIns="91440" tIns="45720" rIns="91440" bIns="45720" anchor="t" anchorCtr="0" compatLnSpc="1">
            <a:spAutoFit/>
          </a:bodyPr>
          <a:lstStyle/>
          <a:p>
            <a:pPr marL="0" marR="0" lvl="0" indent="0" algn="l" defTabSz="914400" rtl="0" fontAlgn="auto" hangingPunct="1">
              <a:lnSpc>
                <a:spcPct val="100000"/>
              </a:lnSpc>
              <a:spcBef>
                <a:spcPts val="700"/>
              </a:spcBef>
              <a:spcAft>
                <a:spcPts val="0"/>
              </a:spcAft>
              <a:buNone/>
              <a:tabLst/>
              <a:defRPr sz="1800" b="0" i="0" u="none" strike="noStrike" kern="0" cap="none" spc="0" baseline="0">
                <a:solidFill>
                  <a:srgbClr val="000000"/>
                </a:solidFill>
                <a:uFillTx/>
              </a:defRPr>
            </a:pPr>
            <a:r>
              <a:rPr lang="en-US" sz="1100" b="0" i="0" u="none" strike="noStrike" kern="1200" cap="none" spc="0" baseline="0" dirty="0">
                <a:solidFill>
                  <a:srgbClr val="FFFFFF"/>
                </a:solidFill>
                <a:uFillTx/>
                <a:latin typeface="Arial"/>
              </a:rPr>
              <a:t>Source:  Ericsson and </a:t>
            </a:r>
            <a:r>
              <a:rPr lang="en-US" sz="1100" b="0" i="0" u="none" strike="noStrike" kern="1200" cap="none" spc="0" baseline="0" dirty="0" smtClean="0">
                <a:solidFill>
                  <a:srgbClr val="FFFFFF"/>
                </a:solidFill>
                <a:uFillTx/>
                <a:latin typeface="Arial"/>
              </a:rPr>
              <a:t>Analysis </a:t>
            </a:r>
            <a:r>
              <a:rPr lang="en-US" sz="1100" b="0" i="0" u="none" strike="noStrike" kern="1200" cap="none" spc="0" baseline="0" dirty="0">
                <a:solidFill>
                  <a:srgbClr val="FFFFFF"/>
                </a:solidFill>
                <a:uFillTx/>
                <a:latin typeface="Arial"/>
              </a:rPr>
              <a:t>Mason 2016</a:t>
            </a:r>
          </a:p>
        </p:txBody>
      </p:sp>
      <p:pic>
        <p:nvPicPr>
          <p:cNvPr id="18" name="Bildobjekt 24">
            <a:extLst>
              <a:ext uri="{FF2B5EF4-FFF2-40B4-BE49-F238E27FC236}">
                <a16:creationId xmlns:a16="http://schemas.microsoft.com/office/drawing/2014/main" id="{A393C374-28DE-478E-9204-67D42B2DED08}"/>
              </a:ext>
            </a:extLst>
          </p:cNvPr>
          <p:cNvPicPr>
            <a:picLocks noChangeAspect="1"/>
          </p:cNvPicPr>
          <p:nvPr/>
        </p:nvPicPr>
        <p:blipFill>
          <a:blip r:embed="rId4"/>
          <a:srcRect/>
          <a:stretch>
            <a:fillRect/>
          </a:stretch>
        </p:blipFill>
        <p:spPr>
          <a:xfrm>
            <a:off x="9680191" y="3038313"/>
            <a:ext cx="1819454" cy="1819454"/>
          </a:xfrm>
          <a:prstGeom prst="rect">
            <a:avLst/>
          </a:prstGeom>
          <a:noFill/>
          <a:ln cap="flat">
            <a:noFill/>
          </a:ln>
        </p:spPr>
      </p:pic>
      <p:sp>
        <p:nvSpPr>
          <p:cNvPr id="19" name="Rectangle 7">
            <a:extLst>
              <a:ext uri="{FF2B5EF4-FFF2-40B4-BE49-F238E27FC236}">
                <a16:creationId xmlns:a16="http://schemas.microsoft.com/office/drawing/2014/main" id="{050B3D64-B7CA-4691-9B86-53426BFB7DA9}"/>
              </a:ext>
            </a:extLst>
          </p:cNvPr>
          <p:cNvSpPr/>
          <p:nvPr/>
        </p:nvSpPr>
        <p:spPr>
          <a:xfrm>
            <a:off x="9482681" y="4910090"/>
            <a:ext cx="2386254" cy="1092607"/>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ts val="2580"/>
              </a:lnSpc>
              <a:spcBef>
                <a:spcPts val="1400"/>
              </a:spcBef>
              <a:spcAft>
                <a:spcPts val="0"/>
              </a:spcAft>
              <a:buNone/>
              <a:tabLst/>
              <a:defRPr sz="1800" b="0" i="0" u="none" strike="noStrike" kern="0" cap="none" spc="0" baseline="0">
                <a:solidFill>
                  <a:srgbClr val="000000"/>
                </a:solidFill>
                <a:uFillTx/>
              </a:defRPr>
            </a:pPr>
            <a:r>
              <a:rPr lang="en-US" sz="2400" b="0" i="0" u="none" strike="noStrike" kern="1200" cap="none" spc="0" baseline="0" dirty="0">
                <a:solidFill>
                  <a:srgbClr val="FFFFFF"/>
                </a:solidFill>
                <a:uFillTx/>
                <a:latin typeface="Arial"/>
              </a:rPr>
              <a:t>$200 billion </a:t>
            </a:r>
            <a:br>
              <a:rPr lang="en-US" sz="2400" b="0" i="0" u="none" strike="noStrike" kern="1200" cap="none" spc="0" baseline="0" dirty="0">
                <a:solidFill>
                  <a:srgbClr val="FFFFFF"/>
                </a:solidFill>
                <a:uFillTx/>
                <a:latin typeface="Arial"/>
              </a:rPr>
            </a:br>
            <a:r>
              <a:rPr lang="en-US" sz="2400" b="0" i="0" u="none" strike="noStrike" kern="1200" cap="none" spc="0" baseline="0" dirty="0">
                <a:solidFill>
                  <a:srgbClr val="FFFFFF"/>
                </a:solidFill>
                <a:uFillTx/>
                <a:latin typeface="Arial"/>
              </a:rPr>
              <a:t>in revenue</a:t>
            </a:r>
            <a:br>
              <a:rPr lang="en-US" sz="2400" b="0" i="0" u="none" strike="noStrike" kern="1200" cap="none" spc="0" baseline="0" dirty="0">
                <a:solidFill>
                  <a:srgbClr val="FFFFFF"/>
                </a:solidFill>
                <a:uFillTx/>
                <a:latin typeface="Arial"/>
              </a:rPr>
            </a:br>
            <a:r>
              <a:rPr lang="en-US" sz="2400" b="0" i="0" u="none" strike="noStrike" kern="1200" cap="none" spc="0" baseline="0" dirty="0">
                <a:solidFill>
                  <a:srgbClr val="FFFFFF"/>
                </a:solidFill>
                <a:uFillTx/>
                <a:latin typeface="Arial"/>
              </a:rPr>
              <a:t>by 2025 </a:t>
            </a:r>
          </a:p>
        </p:txBody>
      </p:sp>
      <p:sp>
        <p:nvSpPr>
          <p:cNvPr id="20" name="Rectangle 3">
            <a:extLst>
              <a:ext uri="{FF2B5EF4-FFF2-40B4-BE49-F238E27FC236}">
                <a16:creationId xmlns:a16="http://schemas.microsoft.com/office/drawing/2014/main" id="{1B1E24D0-60C9-4A7B-8F85-B3306BA4E8C0}"/>
              </a:ext>
            </a:extLst>
          </p:cNvPr>
          <p:cNvSpPr/>
          <p:nvPr/>
        </p:nvSpPr>
        <p:spPr>
          <a:xfrm>
            <a:off x="4184757" y="5337279"/>
            <a:ext cx="1077501" cy="461662"/>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1400"/>
              </a:spcBef>
              <a:spcAft>
                <a:spcPts val="0"/>
              </a:spcAft>
              <a:buNone/>
              <a:tabLst/>
              <a:defRPr sz="1800" b="0" i="0" u="none" strike="noStrike" kern="0" cap="none" spc="0" baseline="0">
                <a:solidFill>
                  <a:srgbClr val="000000"/>
                </a:solidFill>
                <a:uFillTx/>
              </a:defRPr>
            </a:pPr>
            <a:r>
              <a:rPr lang="en-US" sz="2400" b="0" i="0" u="none" strike="noStrike" kern="1200" cap="none" spc="0" baseline="0">
                <a:solidFill>
                  <a:srgbClr val="58585A"/>
                </a:solidFill>
                <a:uFillTx/>
                <a:latin typeface="Arial"/>
              </a:rPr>
              <a:t>2016</a:t>
            </a:r>
          </a:p>
        </p:txBody>
      </p:sp>
      <p:sp>
        <p:nvSpPr>
          <p:cNvPr id="21" name="Rectangle 9">
            <a:extLst>
              <a:ext uri="{FF2B5EF4-FFF2-40B4-BE49-F238E27FC236}">
                <a16:creationId xmlns:a16="http://schemas.microsoft.com/office/drawing/2014/main" id="{609738B1-B689-4E7F-AA53-221B92BA10D6}"/>
              </a:ext>
            </a:extLst>
          </p:cNvPr>
          <p:cNvSpPr/>
          <p:nvPr/>
        </p:nvSpPr>
        <p:spPr>
          <a:xfrm>
            <a:off x="2651381" y="5531818"/>
            <a:ext cx="1604616" cy="605296"/>
          </a:xfrm>
          <a:prstGeom prst="rect">
            <a:avLst/>
          </a:prstGeom>
          <a:noFill/>
          <a:ln cap="flat">
            <a:noFill/>
            <a:prstDash val="solid"/>
          </a:ln>
        </p:spPr>
        <p:txBody>
          <a:bodyPr vert="horz" wrap="square" lIns="91440" tIns="45720" rIns="91440" bIns="45720" anchor="t" anchorCtr="0" compatLnSpc="1">
            <a:spAutoFit/>
          </a:bodyPr>
          <a:lstStyle/>
          <a:p>
            <a:pPr marL="0" marR="0" lvl="0" indent="0" algn="l" defTabSz="914400" rtl="0" fontAlgn="auto" hangingPunct="1">
              <a:lnSpc>
                <a:spcPts val="2000"/>
              </a:lnSpc>
              <a:spcBef>
                <a:spcPts val="1200"/>
              </a:spcBef>
              <a:spcAft>
                <a:spcPts val="0"/>
              </a:spcAft>
              <a:buNone/>
              <a:tabLst/>
              <a:defRPr sz="1800" b="0" i="0" u="none" strike="noStrike" kern="0" cap="none" spc="0" baseline="0">
                <a:solidFill>
                  <a:srgbClr val="000000"/>
                </a:solidFill>
                <a:uFillTx/>
              </a:defRPr>
            </a:pPr>
            <a:r>
              <a:rPr lang="en-US" sz="2000" b="0" i="0" u="none" strike="noStrike" kern="1200" cap="none" spc="0" baseline="0">
                <a:solidFill>
                  <a:srgbClr val="FFFFFF"/>
                </a:solidFill>
                <a:uFillTx/>
                <a:latin typeface="Arial"/>
              </a:rPr>
              <a:t>$12 billion </a:t>
            </a:r>
            <a:br>
              <a:rPr lang="en-US" sz="2000" b="0" i="0" u="none" strike="noStrike" kern="1200" cap="none" spc="0" baseline="0">
                <a:solidFill>
                  <a:srgbClr val="FFFFFF"/>
                </a:solidFill>
                <a:uFillTx/>
                <a:latin typeface="Arial"/>
              </a:rPr>
            </a:br>
            <a:r>
              <a:rPr lang="en-US" sz="2000" b="0" i="0" u="none" strike="noStrike" kern="1200" cap="none" spc="0" baseline="0">
                <a:solidFill>
                  <a:srgbClr val="FFFFFF"/>
                </a:solidFill>
                <a:uFillTx/>
                <a:latin typeface="Arial"/>
              </a:rPr>
              <a:t>in revenue</a:t>
            </a:r>
          </a:p>
        </p:txBody>
      </p:sp>
      <p:sp>
        <p:nvSpPr>
          <p:cNvPr id="22" name="Freeform 3">
            <a:extLst>
              <a:ext uri="{FF2B5EF4-FFF2-40B4-BE49-F238E27FC236}">
                <a16:creationId xmlns:a16="http://schemas.microsoft.com/office/drawing/2014/main" id="{DBAF02CA-56AE-4E57-9B60-D70C32462028}"/>
              </a:ext>
            </a:extLst>
          </p:cNvPr>
          <p:cNvSpPr/>
          <p:nvPr/>
        </p:nvSpPr>
        <p:spPr>
          <a:xfrm>
            <a:off x="2058932" y="4857768"/>
            <a:ext cx="463235" cy="519918"/>
          </a:xfrm>
          <a:custGeom>
            <a:avLst/>
            <a:gdLst>
              <a:gd name="f0" fmla="val 10800000"/>
              <a:gd name="f1" fmla="val 5400000"/>
              <a:gd name="f2" fmla="val 180"/>
              <a:gd name="f3" fmla="val w"/>
              <a:gd name="f4" fmla="val h"/>
              <a:gd name="f5" fmla="val 0"/>
              <a:gd name="f6" fmla="val 384"/>
              <a:gd name="f7" fmla="val 431"/>
              <a:gd name="f8" fmla="val 274"/>
              <a:gd name="f9" fmla="val 177"/>
              <a:gd name="f10" fmla="val 275"/>
              <a:gd name="f11" fmla="val 276"/>
              <a:gd name="f12" fmla="val 278"/>
              <a:gd name="f13" fmla="val 176"/>
              <a:gd name="f14" fmla="val 315"/>
              <a:gd name="f15" fmla="val 154"/>
              <a:gd name="f16" fmla="val 322"/>
              <a:gd name="f17" fmla="val 162"/>
              <a:gd name="f18" fmla="val 333"/>
              <a:gd name="f19" fmla="val 167"/>
              <a:gd name="f20" fmla="val 345"/>
              <a:gd name="f21" fmla="val 366"/>
              <a:gd name="f22" fmla="val 150"/>
              <a:gd name="f23" fmla="val 128"/>
              <a:gd name="f24" fmla="val 106"/>
              <a:gd name="f25" fmla="val 88"/>
              <a:gd name="f26" fmla="val 323"/>
              <a:gd name="f27" fmla="val 305"/>
              <a:gd name="f28" fmla="val 132"/>
              <a:gd name="f29" fmla="val 306"/>
              <a:gd name="f30" fmla="val 137"/>
              <a:gd name="f31" fmla="val 307"/>
              <a:gd name="f32" fmla="val 141"/>
              <a:gd name="f33" fmla="val 270"/>
              <a:gd name="f34" fmla="val 266"/>
              <a:gd name="f35" fmla="val 164"/>
              <a:gd name="f36" fmla="val 265"/>
              <a:gd name="f37" fmla="val 169"/>
              <a:gd name="f38" fmla="val 267"/>
              <a:gd name="f39" fmla="val 173"/>
              <a:gd name="f40" fmla="val 268"/>
              <a:gd name="f41" fmla="val 271"/>
              <a:gd name="f42" fmla="val 104"/>
              <a:gd name="f43" fmla="val 358"/>
              <a:gd name="f44" fmla="val 368"/>
              <a:gd name="f45" fmla="val 115"/>
              <a:gd name="f46" fmla="val 151"/>
              <a:gd name="f47" fmla="val 332"/>
              <a:gd name="f48" fmla="val 321"/>
              <a:gd name="f49" fmla="val 264"/>
              <a:gd name="f50" fmla="val 269"/>
              <a:gd name="f51" fmla="val 277"/>
              <a:gd name="f52" fmla="val 248"/>
              <a:gd name="f53" fmla="val 238"/>
              <a:gd name="f54" fmla="val 228"/>
              <a:gd name="f55" fmla="val 218"/>
              <a:gd name="f56" fmla="val 210"/>
              <a:gd name="f57" fmla="val 202"/>
              <a:gd name="f58" fmla="val 194"/>
              <a:gd name="f59" fmla="val 189"/>
              <a:gd name="f60" fmla="val 261"/>
              <a:gd name="f61" fmla="val 187"/>
              <a:gd name="f62" fmla="val 257"/>
              <a:gd name="f63" fmla="val 188"/>
              <a:gd name="f64" fmla="val 253"/>
              <a:gd name="f65" fmla="val 251"/>
              <a:gd name="f66" fmla="val 252"/>
              <a:gd name="f67" fmla="val 198"/>
              <a:gd name="f68" fmla="val 254"/>
              <a:gd name="f69" fmla="val 204"/>
              <a:gd name="f70" fmla="val 255"/>
              <a:gd name="f71" fmla="val 211"/>
              <a:gd name="f72" fmla="val 217"/>
              <a:gd name="f73" fmla="val 246"/>
              <a:gd name="f74" fmla="val 247"/>
              <a:gd name="f75" fmla="val 243"/>
              <a:gd name="f76" fmla="val 239"/>
              <a:gd name="f77" fmla="val 235"/>
              <a:gd name="f78" fmla="val 223"/>
              <a:gd name="f79" fmla="val 272"/>
              <a:gd name="f80" fmla="val 207"/>
              <a:gd name="f81" fmla="val 191"/>
              <a:gd name="f82" fmla="val 156"/>
              <a:gd name="f83" fmla="val 129"/>
              <a:gd name="f84" fmla="val 130"/>
              <a:gd name="f85" fmla="val 214"/>
              <a:gd name="f86" fmla="val 133"/>
              <a:gd name="f87" fmla="val 138"/>
              <a:gd name="f88" fmla="val 185"/>
              <a:gd name="f89" fmla="val 145"/>
              <a:gd name="f90" fmla="val 175"/>
              <a:gd name="f91" fmla="val 149"/>
              <a:gd name="f92" fmla="val 171"/>
              <a:gd name="f93" fmla="val 159"/>
              <a:gd name="f94" fmla="val 153"/>
              <a:gd name="f95" fmla="val 226"/>
              <a:gd name="f96" fmla="val 161"/>
              <a:gd name="f97" fmla="val 174"/>
              <a:gd name="f98" fmla="val 241"/>
              <a:gd name="f99" fmla="val 249"/>
              <a:gd name="f100" fmla="val 166"/>
              <a:gd name="f101" fmla="val 250"/>
              <a:gd name="f102" fmla="val 163"/>
              <a:gd name="f103" fmla="val 237"/>
              <a:gd name="f104" fmla="val 219"/>
              <a:gd name="f105" fmla="val 140"/>
              <a:gd name="f106" fmla="val 200"/>
              <a:gd name="f107" fmla="val 79"/>
              <a:gd name="f108" fmla="val 75"/>
              <a:gd name="f109" fmla="val 232"/>
              <a:gd name="f110" fmla="val 59"/>
              <a:gd name="f111" fmla="val 40"/>
              <a:gd name="f112" fmla="val 18"/>
              <a:gd name="f113" fmla="val 192"/>
              <a:gd name="f114" fmla="val 170"/>
              <a:gd name="f115" fmla="val 184"/>
              <a:gd name="f116" fmla="val 147"/>
              <a:gd name="f117" fmla="val 135"/>
              <a:gd name="f118" fmla="val 77"/>
              <a:gd name="f119" fmla="val 62"/>
              <a:gd name="f120" fmla="val 51"/>
              <a:gd name="f121" fmla="val 69"/>
              <a:gd name="f122" fmla="val 121"/>
              <a:gd name="f123" fmla="val 117"/>
              <a:gd name="f124" fmla="val 193"/>
              <a:gd name="f125" fmla="val 114"/>
              <a:gd name="f126" fmla="val 203"/>
              <a:gd name="f127" fmla="val 116"/>
              <a:gd name="f128" fmla="val 282"/>
              <a:gd name="f129" fmla="val 304"/>
              <a:gd name="f130" fmla="val 326"/>
              <a:gd name="f131" fmla="val 343"/>
              <a:gd name="f132" fmla="val 299"/>
              <a:gd name="f133" fmla="val 295"/>
              <a:gd name="f134" fmla="val 291"/>
              <a:gd name="f135" fmla="val 262"/>
              <a:gd name="f136" fmla="val 142"/>
              <a:gd name="f137" fmla="val 279"/>
              <a:gd name="f138" fmla="val 293"/>
              <a:gd name="f139" fmla="val 353"/>
              <a:gd name="f140" fmla="val 357"/>
              <a:gd name="f141" fmla="val 373"/>
              <a:gd name="f142" fmla="val 392"/>
              <a:gd name="f143" fmla="val 414"/>
              <a:gd name="f144" fmla="val 294"/>
              <a:gd name="f145" fmla="val 292"/>
              <a:gd name="f146" fmla="val 233"/>
              <a:gd name="f147" fmla="val 285"/>
              <a:gd name="f148" fmla="val 273"/>
              <a:gd name="f149" fmla="val 256"/>
              <a:gd name="f150" fmla="val 27"/>
              <a:gd name="f151" fmla="val 179"/>
              <a:gd name="f152" fmla="val 16"/>
              <a:gd name="f153" fmla="val 205"/>
              <a:gd name="f154" fmla="val 216"/>
              <a:gd name="f155" fmla="val 53"/>
              <a:gd name="f156" fmla="val 64"/>
              <a:gd name="f157" fmla="val 63"/>
              <a:gd name="f158" fmla="val 327"/>
              <a:gd name="f159" fmla="val 317"/>
              <a:gd name="f160" fmla="val 280"/>
              <a:gd name="f161" fmla="val 405"/>
              <a:gd name="f162" fmla="val 415"/>
              <a:gd name="f163" fmla="val 379"/>
              <a:gd name="f164" fmla="+- 0 0 -90"/>
              <a:gd name="f165" fmla="*/ f3 1 384"/>
              <a:gd name="f166" fmla="*/ f4 1 431"/>
              <a:gd name="f167" fmla="+- f7 0 f5"/>
              <a:gd name="f168" fmla="+- f6 0 f5"/>
              <a:gd name="f169" fmla="*/ f164 f0 1"/>
              <a:gd name="f170" fmla="*/ f168 1 384"/>
              <a:gd name="f171" fmla="*/ f167 1 431"/>
              <a:gd name="f172" fmla="*/ 2147483646 f168 1"/>
              <a:gd name="f173" fmla="*/ 2147483646 f167 1"/>
              <a:gd name="f174" fmla="*/ 0 f167 1"/>
              <a:gd name="f175" fmla="*/ f169 1 f2"/>
              <a:gd name="f176" fmla="*/ f172 1 384"/>
              <a:gd name="f177" fmla="*/ f173 1 431"/>
              <a:gd name="f178" fmla="*/ f174 1 431"/>
              <a:gd name="f179" fmla="*/ 0 1 f170"/>
              <a:gd name="f180" fmla="*/ f6 1 f170"/>
              <a:gd name="f181" fmla="*/ 0 1 f171"/>
              <a:gd name="f182" fmla="*/ f7 1 f171"/>
              <a:gd name="f183" fmla="+- f175 0 f1"/>
              <a:gd name="f184" fmla="*/ f176 1 f170"/>
              <a:gd name="f185" fmla="*/ f177 1 f171"/>
              <a:gd name="f186" fmla="*/ f178 1 f171"/>
              <a:gd name="f187" fmla="*/ f179 f165 1"/>
              <a:gd name="f188" fmla="*/ f180 f165 1"/>
              <a:gd name="f189" fmla="*/ f182 f166 1"/>
              <a:gd name="f190" fmla="*/ f181 f166 1"/>
              <a:gd name="f191" fmla="*/ f184 f165 1"/>
              <a:gd name="f192" fmla="*/ f185 f166 1"/>
              <a:gd name="f193" fmla="*/ f186 f166 1"/>
            </a:gdLst>
            <a:ahLst/>
            <a:cxnLst>
              <a:cxn ang="3cd4">
                <a:pos x="hc" y="t"/>
              </a:cxn>
              <a:cxn ang="0">
                <a:pos x="r" y="vc"/>
              </a:cxn>
              <a:cxn ang="cd4">
                <a:pos x="hc" y="b"/>
              </a:cxn>
              <a:cxn ang="cd2">
                <a:pos x="l" y="vc"/>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3"/>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 ang="f183">
                <a:pos x="f191" y="f192"/>
              </a:cxn>
            </a:cxnLst>
            <a:rect l="f187" t="f190" r="f188" b="f189"/>
            <a:pathLst>
              <a:path w="384" h="431">
                <a:moveTo>
                  <a:pt x="f8" y="f9"/>
                </a:moveTo>
                <a:cubicBezTo>
                  <a:pt x="f10" y="f9"/>
                  <a:pt x="f11" y="f9"/>
                  <a:pt x="f12" y="f13"/>
                </a:cubicBezTo>
                <a:cubicBezTo>
                  <a:pt x="f14" y="f15"/>
                  <a:pt x="f14" y="f15"/>
                  <a:pt x="f14" y="f15"/>
                </a:cubicBezTo>
                <a:cubicBezTo>
                  <a:pt x="f16" y="f17"/>
                  <a:pt x="f18" y="f19"/>
                  <a:pt x="f20" y="f19"/>
                </a:cubicBezTo>
                <a:cubicBezTo>
                  <a:pt x="f21" y="f19"/>
                  <a:pt x="f6" y="f22"/>
                  <a:pt x="f6" y="f23"/>
                </a:cubicBezTo>
                <a:cubicBezTo>
                  <a:pt x="f6" y="f24"/>
                  <a:pt x="f21" y="f25"/>
                  <a:pt x="f20" y="f25"/>
                </a:cubicBezTo>
                <a:cubicBezTo>
                  <a:pt x="f26" y="f25"/>
                  <a:pt x="f27" y="f24"/>
                  <a:pt x="f27" y="f23"/>
                </a:cubicBezTo>
                <a:cubicBezTo>
                  <a:pt x="f27" y="f28"/>
                  <a:pt x="f29" y="f30"/>
                  <a:pt x="f31" y="f32"/>
                </a:cubicBezTo>
                <a:cubicBezTo>
                  <a:pt x="f33" y="f17"/>
                  <a:pt x="f33" y="f17"/>
                  <a:pt x="f33" y="f17"/>
                </a:cubicBezTo>
                <a:cubicBezTo>
                  <a:pt x="f34" y="f35"/>
                  <a:pt x="f36" y="f37"/>
                  <a:pt x="f38" y="f39"/>
                </a:cubicBezTo>
                <a:cubicBezTo>
                  <a:pt x="f40" y="f13"/>
                  <a:pt x="f41" y="f9"/>
                  <a:pt x="f8" y="f9"/>
                </a:cubicBezTo>
                <a:close/>
                <a:moveTo>
                  <a:pt x="f20" y="f42"/>
                </a:moveTo>
                <a:cubicBezTo>
                  <a:pt x="f43" y="f42"/>
                  <a:pt x="f44" y="f45"/>
                  <a:pt x="f44" y="f23"/>
                </a:cubicBezTo>
                <a:cubicBezTo>
                  <a:pt x="f44" y="f32"/>
                  <a:pt x="f43" y="f46"/>
                  <a:pt x="f20" y="f46"/>
                </a:cubicBezTo>
                <a:cubicBezTo>
                  <a:pt x="f47" y="f46"/>
                  <a:pt x="f48" y="f32"/>
                  <a:pt x="f48" y="f23"/>
                </a:cubicBezTo>
                <a:cubicBezTo>
                  <a:pt x="f48" y="f45"/>
                  <a:pt x="f47" y="f42"/>
                  <a:pt x="f20" y="f42"/>
                </a:cubicBezTo>
                <a:close/>
                <a:moveTo>
                  <a:pt x="f20" y="f49"/>
                </a:moveTo>
                <a:cubicBezTo>
                  <a:pt x="f18" y="f49"/>
                  <a:pt x="f16" y="f50"/>
                  <a:pt x="f14" y="f51"/>
                </a:cubicBezTo>
                <a:cubicBezTo>
                  <a:pt x="f49" y="f52"/>
                  <a:pt x="f49" y="f52"/>
                  <a:pt x="f49" y="f52"/>
                </a:cubicBezTo>
                <a:cubicBezTo>
                  <a:pt x="f40" y="f53"/>
                  <a:pt x="f33" y="f54"/>
                  <a:pt x="f33" y="f55"/>
                </a:cubicBezTo>
                <a:cubicBezTo>
                  <a:pt x="f41" y="f56"/>
                  <a:pt x="f50" y="f57"/>
                  <a:pt x="f38" y="f58"/>
                </a:cubicBezTo>
                <a:cubicBezTo>
                  <a:pt x="f34" y="f59"/>
                  <a:pt x="f60" y="f61"/>
                  <a:pt x="f62" y="f63"/>
                </a:cubicBezTo>
                <a:cubicBezTo>
                  <a:pt x="f64" y="f59"/>
                  <a:pt x="f65" y="f58"/>
                  <a:pt x="f66" y="f67"/>
                </a:cubicBezTo>
                <a:cubicBezTo>
                  <a:pt x="f68" y="f69"/>
                  <a:pt x="f70" y="f71"/>
                  <a:pt x="f68" y="f72"/>
                </a:cubicBezTo>
                <a:cubicBezTo>
                  <a:pt x="f68" y="f54"/>
                  <a:pt x="f65" y="f53"/>
                  <a:pt x="f73" y="f74"/>
                </a:cubicBezTo>
                <a:cubicBezTo>
                  <a:pt x="f73" y="f74"/>
                  <a:pt x="f73" y="f74"/>
                  <a:pt x="f73" y="f74"/>
                </a:cubicBezTo>
                <a:cubicBezTo>
                  <a:pt x="f73" y="f74"/>
                  <a:pt x="f73" y="f74"/>
                  <a:pt x="f73" y="f74"/>
                </a:cubicBezTo>
                <a:cubicBezTo>
                  <a:pt x="f75" y="f66"/>
                  <a:pt x="f76" y="f62"/>
                  <a:pt x="f77" y="f60"/>
                </a:cubicBezTo>
                <a:cubicBezTo>
                  <a:pt x="f78" y="f79"/>
                  <a:pt x="f80" y="f12"/>
                  <a:pt x="f81" y="f12"/>
                </a:cubicBezTo>
                <a:cubicBezTo>
                  <a:pt x="f82" y="f51"/>
                  <a:pt x="f83" y="f52"/>
                  <a:pt x="f84" y="f85"/>
                </a:cubicBezTo>
                <a:cubicBezTo>
                  <a:pt x="f84" y="f69"/>
                  <a:pt x="f86" y="f58"/>
                  <a:pt x="f87" y="f88"/>
                </a:cubicBezTo>
                <a:cubicBezTo>
                  <a:pt x="f87" y="f88"/>
                  <a:pt x="f87" y="f88"/>
                  <a:pt x="f87" y="f88"/>
                </a:cubicBezTo>
                <a:cubicBezTo>
                  <a:pt x="f87" y="f88"/>
                  <a:pt x="f87" y="f88"/>
                  <a:pt x="f87" y="f88"/>
                </a:cubicBezTo>
                <a:cubicBezTo>
                  <a:pt x="f32" y="f2"/>
                  <a:pt x="f89" y="f90"/>
                  <a:pt x="f91" y="f92"/>
                </a:cubicBezTo>
                <a:cubicBezTo>
                  <a:pt x="f17" y="f93"/>
                  <a:pt x="f9" y="f94"/>
                  <a:pt x="f58" y="f15"/>
                </a:cubicBezTo>
                <a:cubicBezTo>
                  <a:pt x="f71" y="f15"/>
                  <a:pt x="f95" y="f96"/>
                  <a:pt x="f53" y="f97"/>
                </a:cubicBezTo>
                <a:cubicBezTo>
                  <a:pt x="f98" y="f9"/>
                  <a:pt x="f73" y="f9"/>
                  <a:pt x="f99" y="f97"/>
                </a:cubicBezTo>
                <a:cubicBezTo>
                  <a:pt x="f66" y="f92"/>
                  <a:pt x="f64" y="f100"/>
                  <a:pt x="f101" y="f102"/>
                </a:cubicBezTo>
                <a:cubicBezTo>
                  <a:pt x="f103" y="f91"/>
                  <a:pt x="f104" y="f105"/>
                  <a:pt x="f106" y="f87"/>
                </a:cubicBezTo>
                <a:cubicBezTo>
                  <a:pt x="f106" y="f107"/>
                  <a:pt x="f106" y="f107"/>
                  <a:pt x="f106" y="f107"/>
                </a:cubicBezTo>
                <a:cubicBezTo>
                  <a:pt x="f55" y="f108"/>
                  <a:pt x="f109" y="f110"/>
                  <a:pt x="f109" y="f111"/>
                </a:cubicBezTo>
                <a:cubicBezTo>
                  <a:pt x="f109" y="f112"/>
                  <a:pt x="f85" y="f5"/>
                  <a:pt x="f113" y="f5"/>
                </a:cubicBezTo>
                <a:cubicBezTo>
                  <a:pt x="f114" y="f5"/>
                  <a:pt x="f94" y="f112"/>
                  <a:pt x="f94" y="f111"/>
                </a:cubicBezTo>
                <a:cubicBezTo>
                  <a:pt x="f94" y="f110"/>
                  <a:pt x="f100" y="f108"/>
                  <a:pt x="f115" y="f107"/>
                </a:cubicBezTo>
                <a:cubicBezTo>
                  <a:pt x="f115" y="f87"/>
                  <a:pt x="f115" y="f87"/>
                  <a:pt x="f115" y="f87"/>
                </a:cubicBezTo>
                <a:cubicBezTo>
                  <a:pt x="f19" y="f105"/>
                  <a:pt x="f46" y="f116"/>
                  <a:pt x="f87" y="f93"/>
                </a:cubicBezTo>
                <a:cubicBezTo>
                  <a:pt x="f117" y="f17"/>
                  <a:pt x="f28" y="f100"/>
                  <a:pt x="f83" y="f114"/>
                </a:cubicBezTo>
                <a:cubicBezTo>
                  <a:pt x="f118" y="f32"/>
                  <a:pt x="f118" y="f32"/>
                  <a:pt x="f118" y="f32"/>
                </a:cubicBezTo>
                <a:cubicBezTo>
                  <a:pt x="f107" y="f30"/>
                  <a:pt x="f107" y="f28"/>
                  <a:pt x="f107" y="f23"/>
                </a:cubicBezTo>
                <a:cubicBezTo>
                  <a:pt x="f107" y="f24"/>
                  <a:pt x="f119" y="f25"/>
                  <a:pt x="f111" y="f25"/>
                </a:cubicBezTo>
                <a:cubicBezTo>
                  <a:pt x="f112" y="f25"/>
                  <a:pt x="f5" y="f24"/>
                  <a:pt x="f5" y="f23"/>
                </a:cubicBezTo>
                <a:cubicBezTo>
                  <a:pt x="f5" y="f22"/>
                  <a:pt x="f112" y="f19"/>
                  <a:pt x="f111" y="f19"/>
                </a:cubicBezTo>
                <a:cubicBezTo>
                  <a:pt x="f120" y="f19"/>
                  <a:pt x="f119" y="f17"/>
                  <a:pt x="f121" y="f15"/>
                </a:cubicBezTo>
                <a:cubicBezTo>
                  <a:pt x="f122" y="f115"/>
                  <a:pt x="f122" y="f115"/>
                  <a:pt x="f122" y="f115"/>
                </a:cubicBezTo>
                <a:cubicBezTo>
                  <a:pt x="f123" y="f124"/>
                  <a:pt x="f125" y="f126"/>
                  <a:pt x="f125" y="f85"/>
                </a:cubicBezTo>
                <a:cubicBezTo>
                  <a:pt x="f125" y="f95"/>
                  <a:pt x="f127" y="f103"/>
                  <a:pt x="f122" y="f52"/>
                </a:cubicBezTo>
                <a:cubicBezTo>
                  <a:pt x="f121" y="f51"/>
                  <a:pt x="f121" y="f51"/>
                  <a:pt x="f121" y="f51"/>
                </a:cubicBezTo>
                <a:cubicBezTo>
                  <a:pt x="f119" y="f50"/>
                  <a:pt x="f120" y="f49"/>
                  <a:pt x="f111" y="f49"/>
                </a:cubicBezTo>
                <a:cubicBezTo>
                  <a:pt x="f112" y="f49"/>
                  <a:pt x="f5" y="f128"/>
                  <a:pt x="f5" y="f129"/>
                </a:cubicBezTo>
                <a:cubicBezTo>
                  <a:pt x="f5" y="f130"/>
                  <a:pt x="f112" y="f131"/>
                  <a:pt x="f111" y="f131"/>
                </a:cubicBezTo>
                <a:cubicBezTo>
                  <a:pt x="f119" y="f131"/>
                  <a:pt x="f107" y="f130"/>
                  <a:pt x="f107" y="f129"/>
                </a:cubicBezTo>
                <a:cubicBezTo>
                  <a:pt x="f107" y="f132"/>
                  <a:pt x="f107" y="f133"/>
                  <a:pt x="f118" y="f134"/>
                </a:cubicBezTo>
                <a:cubicBezTo>
                  <a:pt x="f83" y="f135"/>
                  <a:pt x="f83" y="f135"/>
                  <a:pt x="f83" y="f135"/>
                </a:cubicBezTo>
                <a:cubicBezTo>
                  <a:pt x="f136" y="f137"/>
                  <a:pt x="f96" y="f134"/>
                  <a:pt x="f115" y="f138"/>
                </a:cubicBezTo>
                <a:cubicBezTo>
                  <a:pt x="f115" y="f139"/>
                  <a:pt x="f115" y="f139"/>
                  <a:pt x="f115" y="f139"/>
                </a:cubicBezTo>
                <a:cubicBezTo>
                  <a:pt x="f100" y="f140"/>
                  <a:pt x="f94" y="f141"/>
                  <a:pt x="f94" y="f142"/>
                </a:cubicBezTo>
                <a:cubicBezTo>
                  <a:pt x="f94" y="f143"/>
                  <a:pt x="f114" y="f7"/>
                  <a:pt x="f113" y="f7"/>
                </a:cubicBezTo>
                <a:cubicBezTo>
                  <a:pt x="f85" y="f7"/>
                  <a:pt x="f109" y="f143"/>
                  <a:pt x="f109" y="f142"/>
                </a:cubicBezTo>
                <a:cubicBezTo>
                  <a:pt x="f109" y="f141"/>
                  <a:pt x="f55" y="f140"/>
                  <a:pt x="f106" y="f139"/>
                </a:cubicBezTo>
                <a:cubicBezTo>
                  <a:pt x="f106" y="f144"/>
                  <a:pt x="f106" y="f144"/>
                  <a:pt x="f106" y="f144"/>
                </a:cubicBezTo>
                <a:cubicBezTo>
                  <a:pt x="f72" y="f145"/>
                  <a:pt x="f146" y="f147"/>
                  <a:pt x="f73" y="f148"/>
                </a:cubicBezTo>
                <a:cubicBezTo>
                  <a:pt x="f101" y="f50"/>
                  <a:pt x="f64" y="f36"/>
                  <a:pt x="f149" y="f135"/>
                </a:cubicBezTo>
                <a:cubicBezTo>
                  <a:pt x="f31" y="f134"/>
                  <a:pt x="f31" y="f134"/>
                  <a:pt x="f31" y="f134"/>
                </a:cubicBezTo>
                <a:cubicBezTo>
                  <a:pt x="f29" y="f133"/>
                  <a:pt x="f27" y="f132"/>
                  <a:pt x="f27" y="f129"/>
                </a:cubicBezTo>
                <a:cubicBezTo>
                  <a:pt x="f27" y="f130"/>
                  <a:pt x="f26" y="f131"/>
                  <a:pt x="f20" y="f131"/>
                </a:cubicBezTo>
                <a:cubicBezTo>
                  <a:pt x="f21" y="f131"/>
                  <a:pt x="f6" y="f130"/>
                  <a:pt x="f6" y="f129"/>
                </a:cubicBezTo>
                <a:cubicBezTo>
                  <a:pt x="f6" y="f128"/>
                  <a:pt x="f21" y="f49"/>
                  <a:pt x="f20" y="f49"/>
                </a:cubicBezTo>
                <a:close/>
                <a:moveTo>
                  <a:pt x="f37" y="f111"/>
                </a:moveTo>
                <a:cubicBezTo>
                  <a:pt x="f37" y="f150"/>
                  <a:pt x="f151" y="f152"/>
                  <a:pt x="f113" y="f152"/>
                </a:cubicBezTo>
                <a:cubicBezTo>
                  <a:pt x="f153" y="f152"/>
                  <a:pt x="f154" y="f150"/>
                  <a:pt x="f154" y="f111"/>
                </a:cubicBezTo>
                <a:cubicBezTo>
                  <a:pt x="f154" y="f155"/>
                  <a:pt x="f153" y="f156"/>
                  <a:pt x="f113" y="f156"/>
                </a:cubicBezTo>
                <a:cubicBezTo>
                  <a:pt x="f151" y="f156"/>
                  <a:pt x="f37" y="f155"/>
                  <a:pt x="f37" y="f111"/>
                </a:cubicBezTo>
                <a:close/>
                <a:moveTo>
                  <a:pt x="f111" y="f46"/>
                </a:moveTo>
                <a:cubicBezTo>
                  <a:pt x="f150" y="f46"/>
                  <a:pt x="f152" y="f32"/>
                  <a:pt x="f152" y="f23"/>
                </a:cubicBezTo>
                <a:cubicBezTo>
                  <a:pt x="f152" y="f45"/>
                  <a:pt x="f150" y="f42"/>
                  <a:pt x="f111" y="f42"/>
                </a:cubicBezTo>
                <a:cubicBezTo>
                  <a:pt x="f155" y="f42"/>
                  <a:pt x="f157" y="f45"/>
                  <a:pt x="f157" y="f23"/>
                </a:cubicBezTo>
                <a:cubicBezTo>
                  <a:pt x="f157" y="f32"/>
                  <a:pt x="f155" y="f46"/>
                  <a:pt x="f111" y="f46"/>
                </a:cubicBezTo>
                <a:close/>
                <a:moveTo>
                  <a:pt x="f111" y="f158"/>
                </a:moveTo>
                <a:cubicBezTo>
                  <a:pt x="f150" y="f158"/>
                  <a:pt x="f152" y="f159"/>
                  <a:pt x="f152" y="f129"/>
                </a:cubicBezTo>
                <a:cubicBezTo>
                  <a:pt x="f152" y="f134"/>
                  <a:pt x="f150" y="f160"/>
                  <a:pt x="f111" y="f160"/>
                </a:cubicBezTo>
                <a:cubicBezTo>
                  <a:pt x="f155" y="f160"/>
                  <a:pt x="f157" y="f134"/>
                  <a:pt x="f157" y="f129"/>
                </a:cubicBezTo>
                <a:cubicBezTo>
                  <a:pt x="f157" y="f159"/>
                  <a:pt x="f155" y="f158"/>
                  <a:pt x="f111" y="f158"/>
                </a:cubicBezTo>
                <a:close/>
                <a:moveTo>
                  <a:pt x="f154" y="f142"/>
                </a:moveTo>
                <a:cubicBezTo>
                  <a:pt x="f154" y="f161"/>
                  <a:pt x="f153" y="f162"/>
                  <a:pt x="f113" y="f162"/>
                </a:cubicBezTo>
                <a:cubicBezTo>
                  <a:pt x="f151" y="f162"/>
                  <a:pt x="f37" y="f161"/>
                  <a:pt x="f37" y="f142"/>
                </a:cubicBezTo>
                <a:cubicBezTo>
                  <a:pt x="f37" y="f163"/>
                  <a:pt x="f151" y="f44"/>
                  <a:pt x="f113" y="f44"/>
                </a:cubicBezTo>
                <a:cubicBezTo>
                  <a:pt x="f153" y="f44"/>
                  <a:pt x="f154" y="f163"/>
                  <a:pt x="f154" y="f142"/>
                </a:cubicBezTo>
                <a:close/>
                <a:moveTo>
                  <a:pt x="f20" y="f158"/>
                </a:moveTo>
                <a:cubicBezTo>
                  <a:pt x="f47" y="f158"/>
                  <a:pt x="f48" y="f159"/>
                  <a:pt x="f48" y="f129"/>
                </a:cubicBezTo>
                <a:cubicBezTo>
                  <a:pt x="f48" y="f134"/>
                  <a:pt x="f47" y="f160"/>
                  <a:pt x="f20" y="f160"/>
                </a:cubicBezTo>
                <a:cubicBezTo>
                  <a:pt x="f43" y="f160"/>
                  <a:pt x="f44" y="f134"/>
                  <a:pt x="f44" y="f129"/>
                </a:cubicBezTo>
                <a:cubicBezTo>
                  <a:pt x="f44" y="f159"/>
                  <a:pt x="f43" y="f158"/>
                  <a:pt x="f20" y="f158"/>
                </a:cubicBezTo>
                <a:close/>
              </a:path>
            </a:pathLst>
          </a:custGeom>
          <a:solidFill>
            <a:srgbClr val="FFFFFF"/>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58585A"/>
              </a:solidFill>
              <a:uFillTx/>
              <a:latin typeface="Arial"/>
            </a:endParaRPr>
          </a:p>
        </p:txBody>
      </p:sp>
      <p:sp>
        <p:nvSpPr>
          <p:cNvPr id="23" name="Freeform 3">
            <a:extLst>
              <a:ext uri="{FF2B5EF4-FFF2-40B4-BE49-F238E27FC236}">
                <a16:creationId xmlns:a16="http://schemas.microsoft.com/office/drawing/2014/main" id="{9796FD58-DD36-4E38-B150-E2BFE5F7410E}"/>
              </a:ext>
            </a:extLst>
          </p:cNvPr>
          <p:cNvSpPr/>
          <p:nvPr/>
        </p:nvSpPr>
        <p:spPr>
          <a:xfrm>
            <a:off x="2026471" y="5597024"/>
            <a:ext cx="530169" cy="425388"/>
          </a:xfrm>
          <a:custGeom>
            <a:avLst/>
            <a:gdLst>
              <a:gd name="f0" fmla="val 10800000"/>
              <a:gd name="f1" fmla="val 5400000"/>
              <a:gd name="f2" fmla="val 180"/>
              <a:gd name="f3" fmla="val w"/>
              <a:gd name="f4" fmla="val h"/>
              <a:gd name="f5" fmla="val 0"/>
              <a:gd name="f6" fmla="val 465"/>
              <a:gd name="f7" fmla="val 373"/>
              <a:gd name="f8" fmla="val 186"/>
              <a:gd name="f9" fmla="val 178"/>
              <a:gd name="f10" fmla="val 459"/>
              <a:gd name="f11" fmla="val 171"/>
              <a:gd name="f12" fmla="val 451"/>
              <a:gd name="f13" fmla="val 168"/>
              <a:gd name="f14" fmla="val 447"/>
              <a:gd name="f15" fmla="val 166"/>
              <a:gd name="f16" fmla="val 153"/>
              <a:gd name="f17" fmla="val 462"/>
              <a:gd name="f18" fmla="val 148"/>
              <a:gd name="f19" fmla="val 143"/>
              <a:gd name="f20" fmla="val 138"/>
              <a:gd name="f21" fmla="val 130"/>
              <a:gd name="f22" fmla="val 123"/>
              <a:gd name="f23" fmla="val 120"/>
              <a:gd name="f24" fmla="val 427"/>
              <a:gd name="f25" fmla="val 111"/>
              <a:gd name="f26" fmla="val 423"/>
              <a:gd name="f27" fmla="val 109"/>
              <a:gd name="f28" fmla="val 419"/>
              <a:gd name="f29" fmla="val 417"/>
              <a:gd name="f30" fmla="val 115"/>
              <a:gd name="f31" fmla="val 415"/>
              <a:gd name="f32" fmla="val 418"/>
              <a:gd name="f33" fmla="val 124"/>
              <a:gd name="f34" fmla="val 422"/>
              <a:gd name="f35" fmla="val 126"/>
              <a:gd name="f36" fmla="val 446"/>
              <a:gd name="f37" fmla="val 135"/>
              <a:gd name="f38" fmla="val 448"/>
              <a:gd name="f39" fmla="val 136"/>
              <a:gd name="f40" fmla="val 137"/>
              <a:gd name="f41" fmla="val 449"/>
              <a:gd name="f42" fmla="val 139"/>
              <a:gd name="f43" fmla="val 140"/>
              <a:gd name="f44" fmla="val 142"/>
              <a:gd name="f45" fmla="val 350"/>
              <a:gd name="f46" fmla="val 255"/>
              <a:gd name="f47" fmla="val 347"/>
              <a:gd name="f48" fmla="val 258"/>
              <a:gd name="f49" fmla="val 340"/>
              <a:gd name="f50" fmla="val 261"/>
              <a:gd name="f51" fmla="val 335"/>
              <a:gd name="f52" fmla="val 333"/>
              <a:gd name="f53" fmla="val 332"/>
              <a:gd name="f54" fmla="val 330"/>
              <a:gd name="f55" fmla="val 260"/>
              <a:gd name="f56" fmla="val 19"/>
              <a:gd name="f57" fmla="val 16"/>
              <a:gd name="f58" fmla="val 141"/>
              <a:gd name="f59" fmla="val 18"/>
              <a:gd name="f60" fmla="val 23"/>
              <a:gd name="f61" fmla="val 118"/>
              <a:gd name="f62" fmla="val 129"/>
              <a:gd name="f63" fmla="val 131"/>
              <a:gd name="f64" fmla="val 133"/>
              <a:gd name="f65" fmla="val 17"/>
              <a:gd name="f66" fmla="val 134"/>
              <a:gd name="f67" fmla="val 390"/>
              <a:gd name="f68" fmla="val 114"/>
              <a:gd name="f69" fmla="val 394"/>
              <a:gd name="f70" fmla="val 116"/>
              <a:gd name="f71" fmla="val 399"/>
              <a:gd name="f72" fmla="val 400"/>
              <a:gd name="f73" fmla="val 402"/>
              <a:gd name="f74" fmla="val 105"/>
              <a:gd name="f75" fmla="val 101"/>
              <a:gd name="f76" fmla="val 396"/>
              <a:gd name="f77" fmla="val 99"/>
              <a:gd name="f78" fmla="val 2"/>
              <a:gd name="f79" fmla="val 1"/>
              <a:gd name="f80" fmla="val 119"/>
              <a:gd name="f81" fmla="val 5"/>
              <a:gd name="f82" fmla="val 103"/>
              <a:gd name="f83" fmla="val 12"/>
              <a:gd name="f84" fmla="val 6"/>
              <a:gd name="f85" fmla="val 125"/>
              <a:gd name="f86" fmla="val 155"/>
              <a:gd name="f87" fmla="val 13"/>
              <a:gd name="f88" fmla="val 158"/>
              <a:gd name="f89" fmla="val 159"/>
              <a:gd name="f90" fmla="val 173"/>
              <a:gd name="f91" fmla="val 177"/>
              <a:gd name="f92" fmla="val 182"/>
              <a:gd name="f93" fmla="val 188"/>
              <a:gd name="f94" fmla="val 196"/>
              <a:gd name="f95" fmla="val 203"/>
              <a:gd name="f96" fmla="val 206"/>
              <a:gd name="f97" fmla="val 207"/>
              <a:gd name="f98" fmla="val 221"/>
              <a:gd name="f99" fmla="val 225"/>
              <a:gd name="f100" fmla="val 230"/>
              <a:gd name="f101" fmla="val 236"/>
              <a:gd name="f102" fmla="val 244"/>
              <a:gd name="f103" fmla="val 251"/>
              <a:gd name="f104" fmla="val 254"/>
              <a:gd name="f105" fmla="val 325"/>
              <a:gd name="f106" fmla="val 371"/>
              <a:gd name="f107" fmla="val 328"/>
              <a:gd name="f108" fmla="val 345"/>
              <a:gd name="f109" fmla="val 355"/>
              <a:gd name="f110" fmla="val 369"/>
              <a:gd name="f111" fmla="val 362"/>
              <a:gd name="f112" fmla="val 361"/>
              <a:gd name="f113" fmla="val 249"/>
              <a:gd name="f114" fmla="val 239"/>
              <a:gd name="f115" fmla="val 234"/>
              <a:gd name="f116" fmla="val 226"/>
              <a:gd name="f117" fmla="val 219"/>
              <a:gd name="f118" fmla="val 216"/>
              <a:gd name="f119" fmla="val 214"/>
              <a:gd name="f120" fmla="val 201"/>
              <a:gd name="f121" fmla="val 191"/>
              <a:gd name="f122" fmla="val 235"/>
              <a:gd name="f123" fmla="val 238"/>
              <a:gd name="f124" fmla="val 351"/>
              <a:gd name="f125" fmla="val 354"/>
              <a:gd name="f126" fmla="val 357"/>
              <a:gd name="f127" fmla="val 356"/>
              <a:gd name="f128" fmla="val 237"/>
              <a:gd name="f129" fmla="val 233"/>
              <a:gd name="f130" fmla="val 231"/>
              <a:gd name="f131" fmla="val 33"/>
              <a:gd name="f132" fmla="val 213"/>
              <a:gd name="f133" fmla="val 323"/>
              <a:gd name="f134" fmla="val 321"/>
              <a:gd name="f135" fmla="val 313"/>
              <a:gd name="f136" fmla="val 436"/>
              <a:gd name="f137" fmla="val 227"/>
              <a:gd name="f138" fmla="val 232"/>
              <a:gd name="f139" fmla="val 190"/>
              <a:gd name="f140" fmla="val 303"/>
              <a:gd name="f141" fmla="val 306"/>
              <a:gd name="f142" fmla="val 309"/>
              <a:gd name="f143" fmla="val 308"/>
              <a:gd name="f144" fmla="val 189"/>
              <a:gd name="f145" fmla="val 187"/>
              <a:gd name="f146" fmla="val 185"/>
              <a:gd name="f147" fmla="val 183"/>
              <a:gd name="f148" fmla="val 165"/>
              <a:gd name="f149" fmla="val 275"/>
              <a:gd name="f150" fmla="val 277"/>
              <a:gd name="f151" fmla="val 273"/>
              <a:gd name="f152" fmla="val 265"/>
              <a:gd name="f153" fmla="val 179"/>
              <a:gd name="f154" fmla="val 184"/>
              <a:gd name="f155" fmla="val 245"/>
              <a:gd name="f156" fmla="val 248"/>
              <a:gd name="f157" fmla="val 253"/>
              <a:gd name="f158" fmla="val 256"/>
              <a:gd name="f159" fmla="val 117"/>
              <a:gd name="f160" fmla="val 262"/>
              <a:gd name="f161" fmla="val 264"/>
              <a:gd name="f162" fmla="val 121"/>
              <a:gd name="f163" fmla="val 122"/>
              <a:gd name="f164" fmla="val 268"/>
              <a:gd name="f165" fmla="val 128"/>
              <a:gd name="f166" fmla="val 274"/>
              <a:gd name="f167" fmla="val 280"/>
              <a:gd name="f168" fmla="val 286"/>
              <a:gd name="f169" fmla="val 290"/>
              <a:gd name="f170" fmla="val 288"/>
              <a:gd name="f171" fmla="val 113"/>
              <a:gd name="f172" fmla="val 285"/>
              <a:gd name="f173" fmla="val 108"/>
              <a:gd name="f174" fmla="val 279"/>
              <a:gd name="f175" fmla="val 283"/>
              <a:gd name="f176" fmla="val 98"/>
              <a:gd name="f177" fmla="val 90"/>
              <a:gd name="f178" fmla="val 278"/>
              <a:gd name="f179" fmla="val 86"/>
              <a:gd name="f180" fmla="val 82"/>
              <a:gd name="f181" fmla="val 87"/>
              <a:gd name="f182" fmla="val 257"/>
              <a:gd name="f183" fmla="val 92"/>
              <a:gd name="f184" fmla="val 91"/>
              <a:gd name="f185" fmla="val 224"/>
              <a:gd name="f186" fmla="val 93"/>
              <a:gd name="f187" fmla="val 215"/>
              <a:gd name="f188" fmla="val 104"/>
              <a:gd name="f189" fmla="val 210"/>
              <a:gd name="f190" fmla="val 212"/>
              <a:gd name="f191" fmla="val 217"/>
              <a:gd name="f192" fmla="val 144"/>
              <a:gd name="f193" fmla="val 147"/>
              <a:gd name="f194" fmla="val 150"/>
              <a:gd name="f195" fmla="val 152"/>
              <a:gd name="f196" fmla="val 154"/>
              <a:gd name="f197" fmla="val 156"/>
              <a:gd name="f198" fmla="val 157"/>
              <a:gd name="f199" fmla="val 162"/>
              <a:gd name="f200" fmla="val 163"/>
              <a:gd name="f201" fmla="val 222"/>
              <a:gd name="f202" fmla="val 218"/>
              <a:gd name="f203" fmla="val 211"/>
              <a:gd name="f204" fmla="val 161"/>
              <a:gd name="f205" fmla="val 209"/>
              <a:gd name="f206" fmla="val 204"/>
              <a:gd name="f207" fmla="val 199"/>
              <a:gd name="f208" fmla="val 198"/>
              <a:gd name="f209" fmla="val 151"/>
              <a:gd name="f210" fmla="val 197"/>
              <a:gd name="f211" fmla="val 149"/>
              <a:gd name="f212" fmla="val 195"/>
              <a:gd name="f213" fmla="val 181"/>
              <a:gd name="f214" fmla="val 175"/>
              <a:gd name="f215" fmla="val 145"/>
              <a:gd name="f216" fmla="val 172"/>
              <a:gd name="f217" fmla="val 174"/>
              <a:gd name="f218" fmla="val 167"/>
              <a:gd name="f219" fmla="val 192"/>
              <a:gd name="f220" fmla="val 194"/>
              <a:gd name="f221" fmla="val 193"/>
              <a:gd name="f222" fmla="val 208"/>
              <a:gd name="f223" fmla="val 170"/>
              <a:gd name="f224" fmla="val 259"/>
              <a:gd name="f225" fmla="val 247"/>
              <a:gd name="f226" fmla="val 132"/>
              <a:gd name="f227" fmla="val 243"/>
              <a:gd name="f228" fmla="val 241"/>
              <a:gd name="f229" fmla="+- 0 0 -90"/>
              <a:gd name="f230" fmla="*/ f3 1 465"/>
              <a:gd name="f231" fmla="*/ f4 1 373"/>
              <a:gd name="f232" fmla="+- f7 0 f5"/>
              <a:gd name="f233" fmla="+- f6 0 f5"/>
              <a:gd name="f234" fmla="*/ f229 f0 1"/>
              <a:gd name="f235" fmla="*/ f233 1 465"/>
              <a:gd name="f236" fmla="*/ f232 1 373"/>
              <a:gd name="f237" fmla="*/ 2147483646 f233 1"/>
              <a:gd name="f238" fmla="*/ 2147483646 f232 1"/>
              <a:gd name="f239" fmla="*/ 0 f232 1"/>
              <a:gd name="f240" fmla="*/ 0 f233 1"/>
              <a:gd name="f241" fmla="*/ f234 1 f2"/>
              <a:gd name="f242" fmla="*/ f237 1 465"/>
              <a:gd name="f243" fmla="*/ f238 1 373"/>
              <a:gd name="f244" fmla="*/ f239 1 373"/>
              <a:gd name="f245" fmla="*/ f240 1 465"/>
              <a:gd name="f246" fmla="*/ 0 1 f235"/>
              <a:gd name="f247" fmla="*/ f6 1 f235"/>
              <a:gd name="f248" fmla="*/ 0 1 f236"/>
              <a:gd name="f249" fmla="*/ f7 1 f236"/>
              <a:gd name="f250" fmla="+- f241 0 f1"/>
              <a:gd name="f251" fmla="*/ f242 1 f235"/>
              <a:gd name="f252" fmla="*/ f243 1 f236"/>
              <a:gd name="f253" fmla="*/ f244 1 f236"/>
              <a:gd name="f254" fmla="*/ f245 1 f235"/>
              <a:gd name="f255" fmla="*/ f246 f230 1"/>
              <a:gd name="f256" fmla="*/ f247 f230 1"/>
              <a:gd name="f257" fmla="*/ f249 f231 1"/>
              <a:gd name="f258" fmla="*/ f248 f231 1"/>
              <a:gd name="f259" fmla="*/ f251 f230 1"/>
              <a:gd name="f260" fmla="*/ f252 f231 1"/>
              <a:gd name="f261" fmla="*/ f253 f231 1"/>
              <a:gd name="f262" fmla="*/ f254 f230 1"/>
            </a:gdLst>
            <a:ahLst/>
            <a:cxnLst>
              <a:cxn ang="3cd4">
                <a:pos x="hc" y="t"/>
              </a:cxn>
              <a:cxn ang="0">
                <a:pos x="r" y="vc"/>
              </a:cxn>
              <a:cxn ang="cd4">
                <a:pos x="hc" y="b"/>
              </a:cxn>
              <a:cxn ang="cd2">
                <a:pos x="l" y="vc"/>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1"/>
              </a:cxn>
              <a:cxn ang="f250">
                <a:pos x="f262"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 ang="f250">
                <a:pos x="f259" y="f260"/>
              </a:cxn>
            </a:cxnLst>
            <a:rect l="f255" t="f258" r="f256" b="f257"/>
            <a:pathLst>
              <a:path w="465" h="373">
                <a:moveTo>
                  <a:pt x="f6" y="f8"/>
                </a:moveTo>
                <a:cubicBezTo>
                  <a:pt x="f6" y="f9"/>
                  <a:pt x="f10" y="f11"/>
                  <a:pt x="f12" y="f13"/>
                </a:cubicBezTo>
                <a:cubicBezTo>
                  <a:pt x="f14" y="f15"/>
                  <a:pt x="f14" y="f15"/>
                  <a:pt x="f14" y="f15"/>
                </a:cubicBezTo>
                <a:cubicBezTo>
                  <a:pt x="f10" y="f16"/>
                  <a:pt x="f10" y="f16"/>
                  <a:pt x="f10" y="f16"/>
                </a:cubicBezTo>
                <a:cubicBezTo>
                  <a:pt x="f17" y="f18"/>
                  <a:pt x="f6" y="f19"/>
                  <a:pt x="f6" y="f20"/>
                </a:cubicBezTo>
                <a:cubicBezTo>
                  <a:pt x="f6" y="f21"/>
                  <a:pt x="f10" y="f22"/>
                  <a:pt x="f12" y="f23"/>
                </a:cubicBezTo>
                <a:cubicBezTo>
                  <a:pt x="f24" y="f25"/>
                  <a:pt x="f24" y="f25"/>
                  <a:pt x="f24" y="f25"/>
                </a:cubicBezTo>
                <a:cubicBezTo>
                  <a:pt x="f26" y="f27"/>
                  <a:pt x="f28" y="f25"/>
                  <a:pt x="f29" y="f30"/>
                </a:cubicBezTo>
                <a:cubicBezTo>
                  <a:pt x="f31" y="f23"/>
                  <a:pt x="f32" y="f33"/>
                  <a:pt x="f34" y="f35"/>
                </a:cubicBezTo>
                <a:cubicBezTo>
                  <a:pt x="f34" y="f35"/>
                  <a:pt x="f34" y="f35"/>
                  <a:pt x="f34" y="f35"/>
                </a:cubicBezTo>
                <a:cubicBezTo>
                  <a:pt x="f36" y="f37"/>
                  <a:pt x="f36" y="f37"/>
                  <a:pt x="f36" y="f37"/>
                </a:cubicBezTo>
                <a:cubicBezTo>
                  <a:pt x="f38" y="f39"/>
                  <a:pt x="f38" y="f40"/>
                  <a:pt x="f41" y="f20"/>
                </a:cubicBezTo>
                <a:cubicBezTo>
                  <a:pt x="f41" y="f42"/>
                  <a:pt x="f38" y="f43"/>
                  <a:pt x="f14" y="f44"/>
                </a:cubicBezTo>
                <a:cubicBezTo>
                  <a:pt x="f45" y="f46"/>
                  <a:pt x="f45" y="f46"/>
                  <a:pt x="f45" y="f46"/>
                </a:cubicBezTo>
                <a:cubicBezTo>
                  <a:pt x="f47" y="f48"/>
                  <a:pt x="f49" y="f50"/>
                  <a:pt x="f51" y="f50"/>
                </a:cubicBezTo>
                <a:cubicBezTo>
                  <a:pt x="f52" y="f50"/>
                  <a:pt x="f53" y="f50"/>
                  <a:pt x="f54" y="f55"/>
                </a:cubicBezTo>
                <a:cubicBezTo>
                  <a:pt x="f56" y="f19"/>
                  <a:pt x="f56" y="f19"/>
                  <a:pt x="f56" y="f19"/>
                </a:cubicBezTo>
                <a:cubicBezTo>
                  <a:pt x="f57" y="f58"/>
                  <a:pt x="f57" y="f58"/>
                  <a:pt x="f57" y="f43"/>
                </a:cubicBezTo>
                <a:cubicBezTo>
                  <a:pt x="f57" y="f42"/>
                  <a:pt x="f57" y="f40"/>
                  <a:pt x="f59" y="f37"/>
                </a:cubicBezTo>
                <a:cubicBezTo>
                  <a:pt x="f30" y="f60"/>
                  <a:pt x="f30" y="f60"/>
                  <a:pt x="f30" y="f60"/>
                </a:cubicBezTo>
                <a:cubicBezTo>
                  <a:pt x="f61" y="f56"/>
                  <a:pt x="f33" y="f57"/>
                  <a:pt x="f62" y="f57"/>
                </a:cubicBezTo>
                <a:cubicBezTo>
                  <a:pt x="f63" y="f57"/>
                  <a:pt x="f64" y="f65"/>
                  <a:pt x="f66" y="f65"/>
                </a:cubicBezTo>
                <a:cubicBezTo>
                  <a:pt x="f67" y="f68"/>
                  <a:pt x="f67" y="f68"/>
                  <a:pt x="f67" y="f68"/>
                </a:cubicBezTo>
                <a:cubicBezTo>
                  <a:pt x="f69" y="f70"/>
                  <a:pt x="f71" y="f68"/>
                  <a:pt x="f72" y="f27"/>
                </a:cubicBezTo>
                <a:cubicBezTo>
                  <a:pt x="f73" y="f74"/>
                  <a:pt x="f72" y="f75"/>
                  <a:pt x="f76" y="f77"/>
                </a:cubicBezTo>
                <a:cubicBezTo>
                  <a:pt x="f43" y="f78"/>
                  <a:pt x="f43" y="f78"/>
                  <a:pt x="f43" y="f78"/>
                </a:cubicBezTo>
                <a:cubicBezTo>
                  <a:pt x="f39" y="f79"/>
                  <a:pt x="f64" y="f5"/>
                  <a:pt x="f62" y="f5"/>
                </a:cubicBezTo>
                <a:cubicBezTo>
                  <a:pt x="f80" y="f79"/>
                  <a:pt x="f27" y="f81"/>
                  <a:pt x="f82" y="f83"/>
                </a:cubicBezTo>
                <a:cubicBezTo>
                  <a:pt x="f84" y="f85"/>
                  <a:pt x="f84" y="f85"/>
                  <a:pt x="f84" y="f85"/>
                </a:cubicBezTo>
                <a:cubicBezTo>
                  <a:pt x="f78" y="f62"/>
                  <a:pt x="f5" y="f66"/>
                  <a:pt x="f5" y="f43"/>
                </a:cubicBezTo>
                <a:cubicBezTo>
                  <a:pt x="f5" y="f18"/>
                  <a:pt x="f81" y="f86"/>
                  <a:pt x="f87" y="f88"/>
                </a:cubicBezTo>
                <a:cubicBezTo>
                  <a:pt x="f65" y="f89"/>
                  <a:pt x="f65" y="f89"/>
                  <a:pt x="f65" y="f89"/>
                </a:cubicBezTo>
                <a:cubicBezTo>
                  <a:pt x="f84" y="f90"/>
                  <a:pt x="f84" y="f90"/>
                  <a:pt x="f84" y="f90"/>
                </a:cubicBezTo>
                <a:cubicBezTo>
                  <a:pt x="f78" y="f91"/>
                  <a:pt x="f5" y="f92"/>
                  <a:pt x="f5" y="f93"/>
                </a:cubicBezTo>
                <a:cubicBezTo>
                  <a:pt x="f5" y="f94"/>
                  <a:pt x="f81" y="f95"/>
                  <a:pt x="f87" y="f96"/>
                </a:cubicBezTo>
                <a:cubicBezTo>
                  <a:pt x="f65" y="f97"/>
                  <a:pt x="f65" y="f97"/>
                  <a:pt x="f65" y="f97"/>
                </a:cubicBezTo>
                <a:cubicBezTo>
                  <a:pt x="f84" y="f98"/>
                  <a:pt x="f84" y="f98"/>
                  <a:pt x="f84" y="f98"/>
                </a:cubicBezTo>
                <a:cubicBezTo>
                  <a:pt x="f78" y="f99"/>
                  <a:pt x="f5" y="f100"/>
                  <a:pt x="f5" y="f101"/>
                </a:cubicBezTo>
                <a:cubicBezTo>
                  <a:pt x="f5" y="f102"/>
                  <a:pt x="f81" y="f103"/>
                  <a:pt x="f87" y="f104"/>
                </a:cubicBezTo>
                <a:cubicBezTo>
                  <a:pt x="f105" y="f106"/>
                  <a:pt x="f105" y="f106"/>
                  <a:pt x="f105" y="f106"/>
                </a:cubicBezTo>
                <a:cubicBezTo>
                  <a:pt x="f107" y="f7"/>
                  <a:pt x="f53" y="f7"/>
                  <a:pt x="f51" y="f7"/>
                </a:cubicBezTo>
                <a:cubicBezTo>
                  <a:pt x="f108" y="f7"/>
                  <a:pt x="f109" y="f110"/>
                  <a:pt x="f111" y="f112"/>
                </a:cubicBezTo>
                <a:cubicBezTo>
                  <a:pt x="f10" y="f113"/>
                  <a:pt x="f10" y="f113"/>
                  <a:pt x="f10" y="f113"/>
                </a:cubicBezTo>
                <a:cubicBezTo>
                  <a:pt x="f17" y="f102"/>
                  <a:pt x="f6" y="f114"/>
                  <a:pt x="f6" y="f115"/>
                </a:cubicBezTo>
                <a:cubicBezTo>
                  <a:pt x="f6" y="f116"/>
                  <a:pt x="f10" y="f117"/>
                  <a:pt x="f12" y="f118"/>
                </a:cubicBezTo>
                <a:cubicBezTo>
                  <a:pt x="f14" y="f119"/>
                  <a:pt x="f14" y="f119"/>
                  <a:pt x="f14" y="f119"/>
                </a:cubicBezTo>
                <a:cubicBezTo>
                  <a:pt x="f10" y="f120"/>
                  <a:pt x="f10" y="f120"/>
                  <a:pt x="f10" y="f120"/>
                </a:cubicBezTo>
                <a:cubicBezTo>
                  <a:pt x="f17" y="f94"/>
                  <a:pt x="f6" y="f121"/>
                  <a:pt x="f6" y="f8"/>
                </a:cubicBezTo>
                <a:close/>
                <a:moveTo>
                  <a:pt x="f41" y="f115"/>
                </a:moveTo>
                <a:cubicBezTo>
                  <a:pt x="f41" y="f122"/>
                  <a:pt x="f38" y="f101"/>
                  <a:pt x="f14" y="f123"/>
                </a:cubicBezTo>
                <a:cubicBezTo>
                  <a:pt x="f45" y="f124"/>
                  <a:pt x="f45" y="f124"/>
                  <a:pt x="f45" y="f124"/>
                </a:cubicBezTo>
                <a:cubicBezTo>
                  <a:pt x="f47" y="f125"/>
                  <a:pt x="f49" y="f126"/>
                  <a:pt x="f51" y="f126"/>
                </a:cubicBezTo>
                <a:cubicBezTo>
                  <a:pt x="f52" y="f126"/>
                  <a:pt x="f53" y="f126"/>
                  <a:pt x="f54" y="f127"/>
                </a:cubicBezTo>
                <a:cubicBezTo>
                  <a:pt x="f56" y="f114"/>
                  <a:pt x="f56" y="f114"/>
                  <a:pt x="f56" y="f114"/>
                </a:cubicBezTo>
                <a:cubicBezTo>
                  <a:pt x="f57" y="f123"/>
                  <a:pt x="f57" y="f128"/>
                  <a:pt x="f57" y="f101"/>
                </a:cubicBezTo>
                <a:cubicBezTo>
                  <a:pt x="f57" y="f122"/>
                  <a:pt x="f57" y="f129"/>
                  <a:pt x="f59" y="f130"/>
                </a:cubicBezTo>
                <a:cubicBezTo>
                  <a:pt x="f131" y="f132"/>
                  <a:pt x="f131" y="f132"/>
                  <a:pt x="f131" y="f132"/>
                </a:cubicBezTo>
                <a:cubicBezTo>
                  <a:pt x="f105" y="f133"/>
                  <a:pt x="f105" y="f133"/>
                  <a:pt x="f105" y="f133"/>
                </a:cubicBezTo>
                <a:cubicBezTo>
                  <a:pt x="f107" y="f105"/>
                  <a:pt x="f53" y="f105"/>
                  <a:pt x="f51" y="f105"/>
                </a:cubicBezTo>
                <a:cubicBezTo>
                  <a:pt x="f108" y="f105"/>
                  <a:pt x="f109" y="f134"/>
                  <a:pt x="f111" y="f135"/>
                </a:cubicBezTo>
                <a:cubicBezTo>
                  <a:pt x="f136" y="f137"/>
                  <a:pt x="f136" y="f137"/>
                  <a:pt x="f136" y="f137"/>
                </a:cubicBezTo>
                <a:cubicBezTo>
                  <a:pt x="f36" y="f130"/>
                  <a:pt x="f36" y="f130"/>
                  <a:pt x="f36" y="f130"/>
                </a:cubicBezTo>
                <a:cubicBezTo>
                  <a:pt x="f38" y="f138"/>
                  <a:pt x="f38" y="f129"/>
                  <a:pt x="f41" y="f115"/>
                </a:cubicBezTo>
                <a:close/>
                <a:moveTo>
                  <a:pt x="f14" y="f139"/>
                </a:moveTo>
                <a:cubicBezTo>
                  <a:pt x="f45" y="f140"/>
                  <a:pt x="f45" y="f140"/>
                  <a:pt x="f45" y="f140"/>
                </a:cubicBezTo>
                <a:cubicBezTo>
                  <a:pt x="f47" y="f141"/>
                  <a:pt x="f49" y="f142"/>
                  <a:pt x="f51" y="f142"/>
                </a:cubicBezTo>
                <a:cubicBezTo>
                  <a:pt x="f52" y="f142"/>
                  <a:pt x="f53" y="f142"/>
                  <a:pt x="f54" y="f143"/>
                </a:cubicBezTo>
                <a:cubicBezTo>
                  <a:pt x="f56" y="f121"/>
                  <a:pt x="f56" y="f121"/>
                  <a:pt x="f56" y="f121"/>
                </a:cubicBezTo>
                <a:cubicBezTo>
                  <a:pt x="f57" y="f144"/>
                  <a:pt x="f57" y="f144"/>
                  <a:pt x="f57" y="f93"/>
                </a:cubicBezTo>
                <a:cubicBezTo>
                  <a:pt x="f57" y="f145"/>
                  <a:pt x="f57" y="f146"/>
                  <a:pt x="f59" y="f147"/>
                </a:cubicBezTo>
                <a:cubicBezTo>
                  <a:pt x="f131" y="f148"/>
                  <a:pt x="f131" y="f148"/>
                  <a:pt x="f131" y="f148"/>
                </a:cubicBezTo>
                <a:cubicBezTo>
                  <a:pt x="f105" y="f149"/>
                  <a:pt x="f105" y="f149"/>
                  <a:pt x="f105" y="f149"/>
                </a:cubicBezTo>
                <a:cubicBezTo>
                  <a:pt x="f107" y="f150"/>
                  <a:pt x="f53" y="f150"/>
                  <a:pt x="f51" y="f150"/>
                </a:cubicBezTo>
                <a:cubicBezTo>
                  <a:pt x="f108" y="f150"/>
                  <a:pt x="f109" y="f151"/>
                  <a:pt x="f111" y="f152"/>
                </a:cubicBezTo>
                <a:cubicBezTo>
                  <a:pt x="f136" y="f153"/>
                  <a:pt x="f136" y="f153"/>
                  <a:pt x="f136" y="f153"/>
                </a:cubicBezTo>
                <a:cubicBezTo>
                  <a:pt x="f36" y="f147"/>
                  <a:pt x="f36" y="f147"/>
                  <a:pt x="f36" y="f147"/>
                </a:cubicBezTo>
                <a:cubicBezTo>
                  <a:pt x="f38" y="f154"/>
                  <a:pt x="f38" y="f146"/>
                  <a:pt x="f41" y="f8"/>
                </a:cubicBezTo>
                <a:cubicBezTo>
                  <a:pt x="f41" y="f145"/>
                  <a:pt x="f38" y="f93"/>
                  <a:pt x="f14" y="f139"/>
                </a:cubicBezTo>
                <a:close/>
                <a:moveTo>
                  <a:pt x="f155" y="f30"/>
                </a:moveTo>
                <a:cubicBezTo>
                  <a:pt x="f156" y="f30"/>
                  <a:pt x="f103" y="f30"/>
                  <a:pt x="f157" y="f70"/>
                </a:cubicBezTo>
                <a:cubicBezTo>
                  <a:pt x="f104" y="f70"/>
                  <a:pt x="f46" y="f70"/>
                  <a:pt x="f158" y="f159"/>
                </a:cubicBezTo>
                <a:cubicBezTo>
                  <a:pt x="f158" y="f159"/>
                  <a:pt x="f158" y="f159"/>
                  <a:pt x="f158" y="f159"/>
                </a:cubicBezTo>
                <a:cubicBezTo>
                  <a:pt x="f158" y="f159"/>
                  <a:pt x="f158" y="f159"/>
                  <a:pt x="f158" y="f159"/>
                </a:cubicBezTo>
                <a:cubicBezTo>
                  <a:pt x="f160" y="f80"/>
                  <a:pt x="f161" y="f162"/>
                  <a:pt x="f152" y="f163"/>
                </a:cubicBezTo>
                <a:cubicBezTo>
                  <a:pt x="f152" y="f163"/>
                  <a:pt x="f152" y="f163"/>
                  <a:pt x="f152" y="f22"/>
                </a:cubicBezTo>
                <a:cubicBezTo>
                  <a:pt x="f164" y="f165"/>
                  <a:pt x="f166" y="f63"/>
                  <a:pt x="f167" y="f21"/>
                </a:cubicBezTo>
                <a:cubicBezTo>
                  <a:pt x="f168" y="f165"/>
                  <a:pt x="f169" y="f162"/>
                  <a:pt x="f170" y="f30"/>
                </a:cubicBezTo>
                <a:cubicBezTo>
                  <a:pt x="f170" y="f30"/>
                  <a:pt x="f170" y="f30"/>
                  <a:pt x="f170" y="f30"/>
                </a:cubicBezTo>
                <a:cubicBezTo>
                  <a:pt x="f170" y="f171"/>
                  <a:pt x="f172" y="f173"/>
                  <a:pt x="f174" y="f82"/>
                </a:cubicBezTo>
                <a:cubicBezTo>
                  <a:pt x="f175" y="f176"/>
                  <a:pt x="f175" y="f177"/>
                  <a:pt x="f178" y="f179"/>
                </a:cubicBezTo>
                <a:cubicBezTo>
                  <a:pt x="f151" y="f180"/>
                  <a:pt x="f152" y="f180"/>
                  <a:pt x="f50" y="f181"/>
                </a:cubicBezTo>
                <a:cubicBezTo>
                  <a:pt x="f182" y="f183"/>
                  <a:pt x="f182" y="f183"/>
                  <a:pt x="f182" y="f183"/>
                </a:cubicBezTo>
                <a:cubicBezTo>
                  <a:pt x="f157" y="f184"/>
                  <a:pt x="f113" y="f184"/>
                  <a:pt x="f155" y="f184"/>
                </a:cubicBezTo>
                <a:cubicBezTo>
                  <a:pt x="f101" y="f184"/>
                  <a:pt x="f185" y="f186"/>
                  <a:pt x="f187" y="f188"/>
                </a:cubicBezTo>
                <a:cubicBezTo>
                  <a:pt x="f189" y="f27"/>
                  <a:pt x="f97" y="f30"/>
                  <a:pt x="f97" y="f163"/>
                </a:cubicBezTo>
                <a:cubicBezTo>
                  <a:pt x="f97" y="f63"/>
                  <a:pt x="f190" y="f40"/>
                  <a:pt x="f191" y="f58"/>
                </a:cubicBezTo>
                <a:cubicBezTo>
                  <a:pt x="f98" y="f192"/>
                  <a:pt x="f99" y="f193"/>
                  <a:pt x="f137" y="f18"/>
                </a:cubicBezTo>
                <a:cubicBezTo>
                  <a:pt x="f100" y="f194"/>
                  <a:pt x="f129" y="f195"/>
                  <a:pt x="f122" y="f196"/>
                </a:cubicBezTo>
                <a:cubicBezTo>
                  <a:pt x="f101" y="f86"/>
                  <a:pt x="f101" y="f86"/>
                  <a:pt x="f101" y="f197"/>
                </a:cubicBezTo>
                <a:cubicBezTo>
                  <a:pt x="f101" y="f197"/>
                  <a:pt x="f101" y="f197"/>
                  <a:pt x="f101" y="f197"/>
                </a:cubicBezTo>
                <a:cubicBezTo>
                  <a:pt x="f101" y="f197"/>
                  <a:pt x="f101" y="f197"/>
                  <a:pt x="f101" y="f197"/>
                </a:cubicBezTo>
                <a:cubicBezTo>
                  <a:pt x="f101" y="f197"/>
                  <a:pt x="f101" y="f198"/>
                  <a:pt x="f122" y="f88"/>
                </a:cubicBezTo>
                <a:cubicBezTo>
                  <a:pt x="f138" y="f199"/>
                  <a:pt x="f137" y="f200"/>
                  <a:pt x="f201" y="f200"/>
                </a:cubicBezTo>
                <a:cubicBezTo>
                  <a:pt x="f202" y="f200"/>
                  <a:pt x="f187" y="f199"/>
                  <a:pt x="f190" y="f199"/>
                </a:cubicBezTo>
                <a:cubicBezTo>
                  <a:pt x="f203" y="f204"/>
                  <a:pt x="f189" y="f204"/>
                  <a:pt x="f205" y="f204"/>
                </a:cubicBezTo>
                <a:cubicBezTo>
                  <a:pt x="f205" y="f204"/>
                  <a:pt x="f205" y="f204"/>
                  <a:pt x="f205" y="f204"/>
                </a:cubicBezTo>
                <a:cubicBezTo>
                  <a:pt x="f205" y="f204"/>
                  <a:pt x="f205" y="f204"/>
                  <a:pt x="f205" y="f204"/>
                </a:cubicBezTo>
                <a:cubicBezTo>
                  <a:pt x="f206" y="f89"/>
                  <a:pt x="f120" y="f197"/>
                  <a:pt x="f207" y="f196"/>
                </a:cubicBezTo>
                <a:cubicBezTo>
                  <a:pt x="f208" y="f195"/>
                  <a:pt x="f208" y="f209"/>
                  <a:pt x="f210" y="f194"/>
                </a:cubicBezTo>
                <a:cubicBezTo>
                  <a:pt x="f210" y="f194"/>
                  <a:pt x="f210" y="f211"/>
                  <a:pt x="f210" y="f211"/>
                </a:cubicBezTo>
                <a:cubicBezTo>
                  <a:pt x="f210" y="f211"/>
                  <a:pt x="f210" y="f211"/>
                  <a:pt x="f210" y="f211"/>
                </a:cubicBezTo>
                <a:cubicBezTo>
                  <a:pt x="f212" y="f19"/>
                  <a:pt x="f93" y="f43"/>
                  <a:pt x="f213" y="f44"/>
                </a:cubicBezTo>
                <a:cubicBezTo>
                  <a:pt x="f214" y="f215"/>
                  <a:pt x="f216" y="f209"/>
                  <a:pt x="f217" y="f88"/>
                </a:cubicBezTo>
                <a:cubicBezTo>
                  <a:pt x="f214" y="f88"/>
                  <a:pt x="f9" y="f218"/>
                  <a:pt x="f8" y="f217"/>
                </a:cubicBezTo>
                <a:cubicBezTo>
                  <a:pt x="f8" y="f214"/>
                  <a:pt x="f8" y="f214"/>
                  <a:pt x="f8" y="f214"/>
                </a:cubicBezTo>
                <a:cubicBezTo>
                  <a:pt x="f213" y="f2"/>
                  <a:pt x="f92" y="f93"/>
                  <a:pt x="f145" y="f219"/>
                </a:cubicBezTo>
                <a:cubicBezTo>
                  <a:pt x="f144" y="f220"/>
                  <a:pt x="f219" y="f212"/>
                  <a:pt x="f212" y="f212"/>
                </a:cubicBezTo>
                <a:cubicBezTo>
                  <a:pt x="f208" y="f212"/>
                  <a:pt x="f120" y="f221"/>
                  <a:pt x="f206" y="f121"/>
                </a:cubicBezTo>
                <a:cubicBezTo>
                  <a:pt x="f222" y="f146"/>
                  <a:pt x="f222" y="f146"/>
                  <a:pt x="f222" y="f146"/>
                </a:cubicBezTo>
                <a:cubicBezTo>
                  <a:pt x="f190" y="f8"/>
                  <a:pt x="f191" y="f145"/>
                  <a:pt x="f201" y="f145"/>
                </a:cubicBezTo>
                <a:cubicBezTo>
                  <a:pt x="f201" y="f145"/>
                  <a:pt x="f201" y="f145"/>
                  <a:pt x="f201" y="f145"/>
                </a:cubicBezTo>
                <a:cubicBezTo>
                  <a:pt x="f138" y="f145"/>
                  <a:pt x="f102" y="f154"/>
                  <a:pt x="f157" y="f217"/>
                </a:cubicBezTo>
                <a:cubicBezTo>
                  <a:pt x="f158" y="f223"/>
                  <a:pt x="f48" y="f218"/>
                  <a:pt x="f224" y="f200"/>
                </a:cubicBezTo>
                <a:cubicBezTo>
                  <a:pt x="f55" y="f204"/>
                  <a:pt x="f55" y="f88"/>
                  <a:pt x="f55" y="f197"/>
                </a:cubicBezTo>
                <a:cubicBezTo>
                  <a:pt x="f55" y="f193"/>
                  <a:pt x="f46" y="f43"/>
                  <a:pt x="f103" y="f40"/>
                </a:cubicBezTo>
                <a:cubicBezTo>
                  <a:pt x="f225" y="f226"/>
                  <a:pt x="f227" y="f21"/>
                  <a:pt x="f228" y="f165"/>
                </a:cubicBezTo>
                <a:cubicBezTo>
                  <a:pt x="f128" y="f35"/>
                  <a:pt x="f115" y="f33"/>
                  <a:pt x="f138" y="f163"/>
                </a:cubicBezTo>
                <a:cubicBezTo>
                  <a:pt x="f138" y="f163"/>
                  <a:pt x="f138" y="f163"/>
                  <a:pt x="f130" y="f162"/>
                </a:cubicBezTo>
                <a:cubicBezTo>
                  <a:pt x="f138" y="f162"/>
                  <a:pt x="f138" y="f23"/>
                  <a:pt x="f129" y="f80"/>
                </a:cubicBezTo>
                <a:cubicBezTo>
                  <a:pt x="f122" y="f70"/>
                  <a:pt x="f114" y="f30"/>
                  <a:pt x="f155" y="f30"/>
                </a:cubicBezTo>
                <a:close/>
              </a:path>
            </a:pathLst>
          </a:custGeom>
          <a:solidFill>
            <a:srgbClr val="FFFFFF"/>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58585A"/>
              </a:solidFill>
              <a:uFillTx/>
              <a:latin typeface="Arial"/>
            </a:endParaRPr>
          </a:p>
        </p:txBody>
      </p:sp>
      <p:sp>
        <p:nvSpPr>
          <p:cNvPr id="24" name="Title 1">
            <a:extLst>
              <a:ext uri="{FF2B5EF4-FFF2-40B4-BE49-F238E27FC236}">
                <a16:creationId xmlns:a16="http://schemas.microsoft.com/office/drawing/2014/main" id="{EB996B68-C352-4858-BA20-7B610E74E100}"/>
              </a:ext>
            </a:extLst>
          </p:cNvPr>
          <p:cNvSpPr txBox="1">
            <a:spLocks/>
          </p:cNvSpPr>
          <p:nvPr/>
        </p:nvSpPr>
        <p:spPr>
          <a:xfrm>
            <a:off x="448627" y="442288"/>
            <a:ext cx="7502471" cy="970450"/>
          </a:xfrm>
          <a:prstGeom prst="rect">
            <a:avLst/>
          </a:prstGeom>
          <a:effectLst>
            <a:outerShdw blurRad="50800" dir="14400000">
              <a:srgbClr val="000000">
                <a:alpha val="60000"/>
              </a:srgbClr>
            </a:outerShdw>
          </a:effectLst>
        </p:spPr>
        <p:txBody>
          <a:bodyPr vert="horz" lIns="91440" tIns="45720" rIns="91440" bIns="45720" rtlCol="0" anchor="b">
            <a:noAutofit/>
          </a:bodyPr>
          <a:lst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sv-SE" dirty="0"/>
              <a:t>Cellular Iot market outlook</a:t>
            </a:r>
          </a:p>
        </p:txBody>
      </p:sp>
    </p:spTree>
    <p:extLst>
      <p:ext uri="{BB962C8B-B14F-4D97-AF65-F5344CB8AC3E}">
        <p14:creationId xmlns:p14="http://schemas.microsoft.com/office/powerpoint/2010/main" val="4172650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14">
            <a:extLst>
              <a:ext uri="{FF2B5EF4-FFF2-40B4-BE49-F238E27FC236}">
                <a16:creationId xmlns:a16="http://schemas.microsoft.com/office/drawing/2014/main" id="{7225164A-57CA-45F9-8D1D-6A5404BEB1DD}"/>
              </a:ext>
            </a:extLst>
          </p:cNvPr>
          <p:cNvSpPr/>
          <p:nvPr/>
        </p:nvSpPr>
        <p:spPr>
          <a:xfrm>
            <a:off x="3442103" y="2056214"/>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5" name="Freeform 14">
            <a:extLst>
              <a:ext uri="{FF2B5EF4-FFF2-40B4-BE49-F238E27FC236}">
                <a16:creationId xmlns:a16="http://schemas.microsoft.com/office/drawing/2014/main" id="{C11DB89E-3969-4179-A2E4-6FAEFD5ED3DB}"/>
              </a:ext>
            </a:extLst>
          </p:cNvPr>
          <p:cNvSpPr/>
          <p:nvPr/>
        </p:nvSpPr>
        <p:spPr>
          <a:xfrm>
            <a:off x="2448415" y="2632204"/>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6" name="Freeform 14">
            <a:extLst>
              <a:ext uri="{FF2B5EF4-FFF2-40B4-BE49-F238E27FC236}">
                <a16:creationId xmlns:a16="http://schemas.microsoft.com/office/drawing/2014/main" id="{09389E2A-DA7D-4C8A-BB0D-F9D1E5234D4E}"/>
              </a:ext>
            </a:extLst>
          </p:cNvPr>
          <p:cNvSpPr/>
          <p:nvPr/>
        </p:nvSpPr>
        <p:spPr>
          <a:xfrm>
            <a:off x="1444514" y="3208020"/>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7" name="Freeform 14">
            <a:extLst>
              <a:ext uri="{FF2B5EF4-FFF2-40B4-BE49-F238E27FC236}">
                <a16:creationId xmlns:a16="http://schemas.microsoft.com/office/drawing/2014/main" id="{FC674B1E-2BA8-4C05-8BA5-7661D04FA5D0}"/>
              </a:ext>
            </a:extLst>
          </p:cNvPr>
          <p:cNvSpPr/>
          <p:nvPr/>
        </p:nvSpPr>
        <p:spPr>
          <a:xfrm>
            <a:off x="3461570" y="3205588"/>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8" name="Freeform 14">
            <a:extLst>
              <a:ext uri="{FF2B5EF4-FFF2-40B4-BE49-F238E27FC236}">
                <a16:creationId xmlns:a16="http://schemas.microsoft.com/office/drawing/2014/main" id="{FD3466D1-6A86-4F33-BC35-ACAEDF217390}"/>
              </a:ext>
            </a:extLst>
          </p:cNvPr>
          <p:cNvSpPr/>
          <p:nvPr/>
        </p:nvSpPr>
        <p:spPr>
          <a:xfrm>
            <a:off x="4461979" y="2612416"/>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dirty="0">
              <a:solidFill>
                <a:srgbClr val="FFFFFF"/>
              </a:solidFill>
              <a:uFillTx/>
              <a:latin typeface="Arial"/>
            </a:endParaRPr>
          </a:p>
        </p:txBody>
      </p:sp>
      <p:sp>
        <p:nvSpPr>
          <p:cNvPr id="9" name="Freeform 14">
            <a:extLst>
              <a:ext uri="{FF2B5EF4-FFF2-40B4-BE49-F238E27FC236}">
                <a16:creationId xmlns:a16="http://schemas.microsoft.com/office/drawing/2014/main" id="{677D126F-0DCC-4AA4-BAD7-39C6D26DF8C5}"/>
              </a:ext>
            </a:extLst>
          </p:cNvPr>
          <p:cNvSpPr/>
          <p:nvPr/>
        </p:nvSpPr>
        <p:spPr>
          <a:xfrm flipH="1">
            <a:off x="6523887" y="2629159"/>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10" name="Freeform 14">
            <a:extLst>
              <a:ext uri="{FF2B5EF4-FFF2-40B4-BE49-F238E27FC236}">
                <a16:creationId xmlns:a16="http://schemas.microsoft.com/office/drawing/2014/main" id="{B1BFC3AC-2848-48AB-B6FD-3F0233AD1888}"/>
              </a:ext>
            </a:extLst>
          </p:cNvPr>
          <p:cNvSpPr/>
          <p:nvPr/>
        </p:nvSpPr>
        <p:spPr>
          <a:xfrm flipH="1">
            <a:off x="7524295" y="2063822"/>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11" name="Freeform 14">
            <a:extLst>
              <a:ext uri="{FF2B5EF4-FFF2-40B4-BE49-F238E27FC236}">
                <a16:creationId xmlns:a16="http://schemas.microsoft.com/office/drawing/2014/main" id="{DF292D02-6F99-422F-9098-EA5ACD7B50B0}"/>
              </a:ext>
            </a:extLst>
          </p:cNvPr>
          <p:cNvSpPr/>
          <p:nvPr/>
        </p:nvSpPr>
        <p:spPr>
          <a:xfrm flipH="1">
            <a:off x="8529971" y="2629077"/>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12" name="Freeform 14">
            <a:extLst>
              <a:ext uri="{FF2B5EF4-FFF2-40B4-BE49-F238E27FC236}">
                <a16:creationId xmlns:a16="http://schemas.microsoft.com/office/drawing/2014/main" id="{E7BE3FC0-D37E-478D-B409-61850C4A55D9}"/>
              </a:ext>
            </a:extLst>
          </p:cNvPr>
          <p:cNvSpPr/>
          <p:nvPr/>
        </p:nvSpPr>
        <p:spPr>
          <a:xfrm flipH="1">
            <a:off x="7529562" y="3220749"/>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13" name="Freeform 14">
            <a:extLst>
              <a:ext uri="{FF2B5EF4-FFF2-40B4-BE49-F238E27FC236}">
                <a16:creationId xmlns:a16="http://schemas.microsoft.com/office/drawing/2014/main" id="{B35D3A27-0F90-4643-9C97-F1D07A32F9CA}"/>
              </a:ext>
            </a:extLst>
          </p:cNvPr>
          <p:cNvSpPr/>
          <p:nvPr/>
        </p:nvSpPr>
        <p:spPr>
          <a:xfrm flipH="1">
            <a:off x="9527142" y="3222138"/>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14" name="Rectangle 98">
            <a:extLst>
              <a:ext uri="{FF2B5EF4-FFF2-40B4-BE49-F238E27FC236}">
                <a16:creationId xmlns:a16="http://schemas.microsoft.com/office/drawing/2014/main" id="{D485784B-22F0-4F87-A646-014F90C85407}"/>
              </a:ext>
            </a:extLst>
          </p:cNvPr>
          <p:cNvSpPr/>
          <p:nvPr/>
        </p:nvSpPr>
        <p:spPr>
          <a:xfrm>
            <a:off x="6768873" y="3293242"/>
            <a:ext cx="758531" cy="230831"/>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rPr>
              <a:t>ITS</a:t>
            </a:r>
          </a:p>
        </p:txBody>
      </p:sp>
      <p:sp>
        <p:nvSpPr>
          <p:cNvPr id="15" name="Rectangle 99">
            <a:extLst>
              <a:ext uri="{FF2B5EF4-FFF2-40B4-BE49-F238E27FC236}">
                <a16:creationId xmlns:a16="http://schemas.microsoft.com/office/drawing/2014/main" id="{0854B9FE-DF99-4E60-A38F-6C7D3E61FE7D}"/>
              </a:ext>
            </a:extLst>
          </p:cNvPr>
          <p:cNvSpPr/>
          <p:nvPr/>
        </p:nvSpPr>
        <p:spPr>
          <a:xfrm>
            <a:off x="7524295" y="2556464"/>
            <a:ext cx="1248494" cy="369335"/>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ea typeface="MS PGothic" pitchFamily="34"/>
              </a:rPr>
              <a:t>FACTORY AUTOMATION</a:t>
            </a:r>
            <a:endParaRPr lang="en-US" sz="900" b="0" i="0" u="none" strike="noStrike" kern="1200" cap="none" spc="0" baseline="0">
              <a:solidFill>
                <a:srgbClr val="58585A"/>
              </a:solidFill>
              <a:uFillTx/>
              <a:latin typeface="Arial"/>
            </a:endParaRPr>
          </a:p>
        </p:txBody>
      </p:sp>
      <p:sp>
        <p:nvSpPr>
          <p:cNvPr id="16" name="Rectangle 99">
            <a:extLst>
              <a:ext uri="{FF2B5EF4-FFF2-40B4-BE49-F238E27FC236}">
                <a16:creationId xmlns:a16="http://schemas.microsoft.com/office/drawing/2014/main" id="{7D4E2C07-E3D5-4A6A-9C64-E0D6E7E8D23D}"/>
              </a:ext>
            </a:extLst>
          </p:cNvPr>
          <p:cNvSpPr/>
          <p:nvPr/>
        </p:nvSpPr>
        <p:spPr>
          <a:xfrm>
            <a:off x="8516611" y="3217173"/>
            <a:ext cx="1261862" cy="369335"/>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ea typeface="MS PGothic" pitchFamily="34"/>
              </a:rPr>
              <a:t>REMOTE OPERATION</a:t>
            </a:r>
            <a:endParaRPr lang="en-US" sz="900" b="0" i="0" u="none" strike="noStrike" kern="1200" cap="none" spc="0" baseline="0">
              <a:solidFill>
                <a:srgbClr val="58585A"/>
              </a:solidFill>
              <a:uFillTx/>
              <a:latin typeface="Arial"/>
            </a:endParaRPr>
          </a:p>
        </p:txBody>
      </p:sp>
      <p:sp>
        <p:nvSpPr>
          <p:cNvPr id="17" name="Title 3">
            <a:extLst>
              <a:ext uri="{FF2B5EF4-FFF2-40B4-BE49-F238E27FC236}">
                <a16:creationId xmlns:a16="http://schemas.microsoft.com/office/drawing/2014/main" id="{47347304-1DF9-4CF6-950D-A443E9B8BDC7}"/>
              </a:ext>
            </a:extLst>
          </p:cNvPr>
          <p:cNvSpPr txBox="1">
            <a:spLocks noGrp="1"/>
          </p:cNvSpPr>
          <p:nvPr>
            <p:ph type="title"/>
          </p:nvPr>
        </p:nvSpPr>
        <p:spPr/>
        <p:txBody>
          <a:bodyPr/>
          <a:lstStyle/>
          <a:p>
            <a:pPr lvl="0"/>
            <a:r>
              <a:rPr lang="en-US" dirty="0">
                <a:solidFill>
                  <a:srgbClr val="FFFFFF"/>
                </a:solidFill>
              </a:rPr>
              <a:t>5G </a:t>
            </a:r>
            <a:r>
              <a:rPr lang="en-US" dirty="0" smtClean="0">
                <a:solidFill>
                  <a:srgbClr val="FFFFFF"/>
                </a:solidFill>
              </a:rPr>
              <a:t>Enables New IoT Use Cases</a:t>
            </a:r>
            <a:endParaRPr lang="en-US" dirty="0">
              <a:solidFill>
                <a:srgbClr val="FFFFFF"/>
              </a:solidFill>
            </a:endParaRPr>
          </a:p>
        </p:txBody>
      </p:sp>
      <p:grpSp>
        <p:nvGrpSpPr>
          <p:cNvPr id="19" name="Grupp 8">
            <a:extLst>
              <a:ext uri="{FF2B5EF4-FFF2-40B4-BE49-F238E27FC236}">
                <a16:creationId xmlns:a16="http://schemas.microsoft.com/office/drawing/2014/main" id="{8CA4134C-208C-484F-8165-DFF417B7C4F3}"/>
              </a:ext>
            </a:extLst>
          </p:cNvPr>
          <p:cNvGrpSpPr/>
          <p:nvPr/>
        </p:nvGrpSpPr>
        <p:grpSpPr>
          <a:xfrm>
            <a:off x="989390" y="4490832"/>
            <a:ext cx="10213134" cy="724597"/>
            <a:chOff x="989390" y="4101358"/>
            <a:chExt cx="10213134" cy="724597"/>
          </a:xfrm>
        </p:grpSpPr>
        <p:sp>
          <p:nvSpPr>
            <p:cNvPr id="20" name="Freeform 6">
              <a:extLst>
                <a:ext uri="{FF2B5EF4-FFF2-40B4-BE49-F238E27FC236}">
                  <a16:creationId xmlns:a16="http://schemas.microsoft.com/office/drawing/2014/main" id="{BC1DDFF9-4604-480C-B3FB-8FA88A1484D8}"/>
                </a:ext>
              </a:extLst>
            </p:cNvPr>
            <p:cNvSpPr/>
            <p:nvPr/>
          </p:nvSpPr>
          <p:spPr>
            <a:xfrm rot="10799991">
              <a:off x="989390" y="4101358"/>
              <a:ext cx="2889055" cy="724597"/>
            </a:xfrm>
            <a:custGeom>
              <a:avLst/>
              <a:gdLst>
                <a:gd name="f0" fmla="val 10800000"/>
                <a:gd name="f1" fmla="val 5400000"/>
                <a:gd name="f2" fmla="val 180"/>
                <a:gd name="f3" fmla="val w"/>
                <a:gd name="f4" fmla="val h"/>
                <a:gd name="f5" fmla="val 0"/>
                <a:gd name="f6" fmla="val 1098"/>
                <a:gd name="f7" fmla="val 211"/>
                <a:gd name="f8" fmla="val 1002"/>
                <a:gd name="f9" fmla="val 10"/>
                <a:gd name="f10" fmla="val 1087"/>
                <a:gd name="f11" fmla="val 95"/>
                <a:gd name="f12" fmla="val 105"/>
                <a:gd name="f13" fmla="val 116"/>
                <a:gd name="f14" fmla="val 1075"/>
                <a:gd name="f15" fmla="val 128"/>
                <a:gd name="f16" fmla="val 201"/>
                <a:gd name="f17" fmla="val 991"/>
                <a:gd name="f18" fmla="val 976"/>
                <a:gd name="f19" fmla="val 969"/>
                <a:gd name="f20" fmla="val 21"/>
                <a:gd name="f21" fmla="val 9"/>
                <a:gd name="f22" fmla="val 202"/>
                <a:gd name="f23" fmla="val 190"/>
                <a:gd name="f24" fmla="val 992"/>
                <a:gd name="f25" fmla="+- 0 0 -90"/>
                <a:gd name="f26" fmla="*/ f3 1 1098"/>
                <a:gd name="f27" fmla="*/ f4 1 211"/>
                <a:gd name="f28" fmla="+- f7 0 f5"/>
                <a:gd name="f29" fmla="+- f6 0 f5"/>
                <a:gd name="f30" fmla="*/ f25 f0 1"/>
                <a:gd name="f31" fmla="*/ f29 1 1098"/>
                <a:gd name="f32" fmla="*/ f28 1 211"/>
                <a:gd name="f33" fmla="*/ 2147483647 f29 1"/>
                <a:gd name="f34" fmla="*/ 2147483647 f28 1"/>
                <a:gd name="f35" fmla="*/ 0 f29 1"/>
                <a:gd name="f36" fmla="*/ 0 f28 1"/>
                <a:gd name="f37" fmla="*/ 1098 f29 1"/>
                <a:gd name="f38" fmla="*/ 211 f28 1"/>
                <a:gd name="f39" fmla="*/ f30 1 f2"/>
                <a:gd name="f40" fmla="*/ f33 1 1098"/>
                <a:gd name="f41" fmla="*/ f34 1 211"/>
                <a:gd name="f42" fmla="*/ f35 1 1098"/>
                <a:gd name="f43" fmla="*/ f36 1 211"/>
                <a:gd name="f44" fmla="*/ f37 1 1098"/>
                <a:gd name="f45" fmla="*/ f38 1 211"/>
                <a:gd name="f46" fmla="+- f39 0 f1"/>
                <a:gd name="f47" fmla="*/ f40 1 f31"/>
                <a:gd name="f48" fmla="*/ f41 1 f32"/>
                <a:gd name="f49" fmla="*/ f42 1 f31"/>
                <a:gd name="f50" fmla="*/ f43 1 f32"/>
                <a:gd name="f51" fmla="*/ f44 1 f31"/>
                <a:gd name="f52" fmla="*/ f45 1 f32"/>
                <a:gd name="f53" fmla="*/ f49 f26 1"/>
                <a:gd name="f54" fmla="*/ f51 f26 1"/>
                <a:gd name="f55" fmla="*/ f52 f27 1"/>
                <a:gd name="f56" fmla="*/ f50 f27 1"/>
                <a:gd name="f57" fmla="*/ f47 f26 1"/>
                <a:gd name="f58" fmla="*/ f48 f27 1"/>
              </a:gdLst>
              <a:ahLst/>
              <a:cxnLst>
                <a:cxn ang="3cd4">
                  <a:pos x="hc" y="t"/>
                </a:cxn>
                <a:cxn ang="0">
                  <a:pos x="r" y="vc"/>
                </a:cxn>
                <a:cxn ang="cd4">
                  <a:pos x="hc" y="b"/>
                </a:cxn>
                <a:cxn ang="cd2">
                  <a:pos x="l" y="vc"/>
                </a:cxn>
                <a:cxn ang="f46">
                  <a:pos x="f57" y="f58"/>
                </a:cxn>
                <a:cxn ang="f46">
                  <a:pos x="f57" y="f58"/>
                </a:cxn>
                <a:cxn ang="f46">
                  <a:pos x="f57" y="f58"/>
                </a:cxn>
                <a:cxn ang="f46">
                  <a:pos x="f57" y="f58"/>
                </a:cxn>
                <a:cxn ang="f46">
                  <a:pos x="f57" y="f58"/>
                </a:cxn>
                <a:cxn ang="f46">
                  <a:pos x="f57" y="f58"/>
                </a:cxn>
                <a:cxn ang="f46">
                  <a:pos x="f53" y="f58"/>
                </a:cxn>
                <a:cxn ang="f46">
                  <a:pos x="f53" y="f58"/>
                </a:cxn>
                <a:cxn ang="f46">
                  <a:pos x="f57" y="f56"/>
                </a:cxn>
                <a:cxn ang="f46">
                  <a:pos x="f57" y="f56"/>
                </a:cxn>
                <a:cxn ang="f46">
                  <a:pos x="f57" y="f58"/>
                </a:cxn>
              </a:cxnLst>
              <a:rect l="f53" t="f56" r="f54" b="f55"/>
              <a:pathLst>
                <a:path w="1098" h="211">
                  <a:moveTo>
                    <a:pt x="f8" y="f9"/>
                  </a:moveTo>
                  <a:cubicBezTo>
                    <a:pt x="f10" y="f11"/>
                    <a:pt x="f10" y="f11"/>
                    <a:pt x="f10" y="f11"/>
                  </a:cubicBezTo>
                  <a:cubicBezTo>
                    <a:pt x="f10" y="f11"/>
                    <a:pt x="f6" y="f12"/>
                    <a:pt x="f10" y="f13"/>
                  </a:cubicBezTo>
                  <a:cubicBezTo>
                    <a:pt x="f14" y="f15"/>
                    <a:pt x="f8" y="f16"/>
                    <a:pt x="f8" y="f16"/>
                  </a:cubicBezTo>
                  <a:cubicBezTo>
                    <a:pt x="f8" y="f16"/>
                    <a:pt x="f17" y="f7"/>
                    <a:pt x="f18" y="f7"/>
                  </a:cubicBezTo>
                  <a:cubicBezTo>
                    <a:pt x="f19" y="f7"/>
                    <a:pt x="f20" y="f7"/>
                    <a:pt x="f20" y="f7"/>
                  </a:cubicBezTo>
                  <a:cubicBezTo>
                    <a:pt x="f21" y="f7"/>
                    <a:pt x="f5" y="f22"/>
                    <a:pt x="f5" y="f23"/>
                  </a:cubicBezTo>
                  <a:cubicBezTo>
                    <a:pt x="f5" y="f20"/>
                    <a:pt x="f5" y="f20"/>
                    <a:pt x="f5" y="f20"/>
                  </a:cubicBezTo>
                  <a:cubicBezTo>
                    <a:pt x="f5" y="f21"/>
                    <a:pt x="f21" y="f5"/>
                    <a:pt x="f20" y="f5"/>
                  </a:cubicBezTo>
                  <a:cubicBezTo>
                    <a:pt x="f20" y="f5"/>
                    <a:pt x="f19" y="f5"/>
                    <a:pt x="f18" y="f5"/>
                  </a:cubicBezTo>
                  <a:cubicBezTo>
                    <a:pt x="f24" y="f5"/>
                    <a:pt x="f8" y="f9"/>
                    <a:pt x="f8" y="f9"/>
                  </a:cubicBezTo>
                  <a:close/>
                </a:path>
              </a:pathLst>
            </a:custGeom>
            <a:gradFill>
              <a:gsLst>
                <a:gs pos="0">
                  <a:srgbClr val="FFFFFF">
                    <a:alpha val="0"/>
                  </a:srgbClr>
                </a:gs>
                <a:gs pos="100000">
                  <a:srgbClr val="FFFFFF">
                    <a:alpha val="36000"/>
                  </a:srgbClr>
                </a:gs>
              </a:gsLst>
              <a:lin ang="0"/>
            </a:gradFill>
            <a:ln cap="flat">
              <a:noFill/>
              <a:prstDash val="solid"/>
            </a:ln>
          </p:spPr>
          <p:txBody>
            <a:bodyPr vert="horz" wrap="square" lIns="91440" tIns="45720" rIns="91440" bIns="45720" anchor="ctr"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1" i="0" u="none" strike="noStrike" kern="1200" cap="none" spc="0" baseline="0">
                <a:solidFill>
                  <a:srgbClr val="58585A"/>
                </a:solidFill>
                <a:uFillTx/>
                <a:latin typeface="Arial"/>
                <a:ea typeface="MS PGothic"/>
                <a:cs typeface="Arial"/>
              </a:endParaRPr>
            </a:p>
          </p:txBody>
        </p:sp>
        <p:sp>
          <p:nvSpPr>
            <p:cNvPr id="21" name="Freeform 6">
              <a:extLst>
                <a:ext uri="{FF2B5EF4-FFF2-40B4-BE49-F238E27FC236}">
                  <a16:creationId xmlns:a16="http://schemas.microsoft.com/office/drawing/2014/main" id="{A7BFB1B5-68A0-4A50-B34A-98639BDACB6F}"/>
                </a:ext>
              </a:extLst>
            </p:cNvPr>
            <p:cNvSpPr/>
            <p:nvPr/>
          </p:nvSpPr>
          <p:spPr>
            <a:xfrm rot="10800009" flipH="1">
              <a:off x="8313469" y="4101358"/>
              <a:ext cx="2889055" cy="724597"/>
            </a:xfrm>
            <a:custGeom>
              <a:avLst/>
              <a:gdLst>
                <a:gd name="f0" fmla="val 10800000"/>
                <a:gd name="f1" fmla="val 5400000"/>
                <a:gd name="f2" fmla="val 180"/>
                <a:gd name="f3" fmla="val w"/>
                <a:gd name="f4" fmla="val h"/>
                <a:gd name="f5" fmla="val 0"/>
                <a:gd name="f6" fmla="val 1098"/>
                <a:gd name="f7" fmla="val 211"/>
                <a:gd name="f8" fmla="val 1002"/>
                <a:gd name="f9" fmla="val 10"/>
                <a:gd name="f10" fmla="val 1087"/>
                <a:gd name="f11" fmla="val 95"/>
                <a:gd name="f12" fmla="val 105"/>
                <a:gd name="f13" fmla="val 116"/>
                <a:gd name="f14" fmla="val 1075"/>
                <a:gd name="f15" fmla="val 128"/>
                <a:gd name="f16" fmla="val 201"/>
                <a:gd name="f17" fmla="val 991"/>
                <a:gd name="f18" fmla="val 976"/>
                <a:gd name="f19" fmla="val 969"/>
                <a:gd name="f20" fmla="val 21"/>
                <a:gd name="f21" fmla="val 9"/>
                <a:gd name="f22" fmla="val 202"/>
                <a:gd name="f23" fmla="val 190"/>
                <a:gd name="f24" fmla="val 992"/>
                <a:gd name="f25" fmla="+- 0 0 -90"/>
                <a:gd name="f26" fmla="*/ f3 1 1098"/>
                <a:gd name="f27" fmla="*/ f4 1 211"/>
                <a:gd name="f28" fmla="+- f7 0 f5"/>
                <a:gd name="f29" fmla="+- f6 0 f5"/>
                <a:gd name="f30" fmla="*/ f25 f0 1"/>
                <a:gd name="f31" fmla="*/ f29 1 1098"/>
                <a:gd name="f32" fmla="*/ f28 1 211"/>
                <a:gd name="f33" fmla="*/ 2147483647 f29 1"/>
                <a:gd name="f34" fmla="*/ 2147483647 f28 1"/>
                <a:gd name="f35" fmla="*/ 0 f29 1"/>
                <a:gd name="f36" fmla="*/ 0 f28 1"/>
                <a:gd name="f37" fmla="*/ 1098 f29 1"/>
                <a:gd name="f38" fmla="*/ 211 f28 1"/>
                <a:gd name="f39" fmla="*/ f30 1 f2"/>
                <a:gd name="f40" fmla="*/ f33 1 1098"/>
                <a:gd name="f41" fmla="*/ f34 1 211"/>
                <a:gd name="f42" fmla="*/ f35 1 1098"/>
                <a:gd name="f43" fmla="*/ f36 1 211"/>
                <a:gd name="f44" fmla="*/ f37 1 1098"/>
                <a:gd name="f45" fmla="*/ f38 1 211"/>
                <a:gd name="f46" fmla="+- f39 0 f1"/>
                <a:gd name="f47" fmla="*/ f40 1 f31"/>
                <a:gd name="f48" fmla="*/ f41 1 f32"/>
                <a:gd name="f49" fmla="*/ f42 1 f31"/>
                <a:gd name="f50" fmla="*/ f43 1 f32"/>
                <a:gd name="f51" fmla="*/ f44 1 f31"/>
                <a:gd name="f52" fmla="*/ f45 1 f32"/>
                <a:gd name="f53" fmla="*/ f49 f26 1"/>
                <a:gd name="f54" fmla="*/ f51 f26 1"/>
                <a:gd name="f55" fmla="*/ f52 f27 1"/>
                <a:gd name="f56" fmla="*/ f50 f27 1"/>
                <a:gd name="f57" fmla="*/ f47 f26 1"/>
                <a:gd name="f58" fmla="*/ f48 f27 1"/>
              </a:gdLst>
              <a:ahLst/>
              <a:cxnLst>
                <a:cxn ang="3cd4">
                  <a:pos x="hc" y="t"/>
                </a:cxn>
                <a:cxn ang="0">
                  <a:pos x="r" y="vc"/>
                </a:cxn>
                <a:cxn ang="cd4">
                  <a:pos x="hc" y="b"/>
                </a:cxn>
                <a:cxn ang="cd2">
                  <a:pos x="l" y="vc"/>
                </a:cxn>
                <a:cxn ang="f46">
                  <a:pos x="f57" y="f58"/>
                </a:cxn>
                <a:cxn ang="f46">
                  <a:pos x="f57" y="f58"/>
                </a:cxn>
                <a:cxn ang="f46">
                  <a:pos x="f57" y="f58"/>
                </a:cxn>
                <a:cxn ang="f46">
                  <a:pos x="f57" y="f58"/>
                </a:cxn>
                <a:cxn ang="f46">
                  <a:pos x="f57" y="f58"/>
                </a:cxn>
                <a:cxn ang="f46">
                  <a:pos x="f57" y="f58"/>
                </a:cxn>
                <a:cxn ang="f46">
                  <a:pos x="f53" y="f58"/>
                </a:cxn>
                <a:cxn ang="f46">
                  <a:pos x="f53" y="f58"/>
                </a:cxn>
                <a:cxn ang="f46">
                  <a:pos x="f57" y="f56"/>
                </a:cxn>
                <a:cxn ang="f46">
                  <a:pos x="f57" y="f56"/>
                </a:cxn>
                <a:cxn ang="f46">
                  <a:pos x="f57" y="f58"/>
                </a:cxn>
              </a:cxnLst>
              <a:rect l="f53" t="f56" r="f54" b="f55"/>
              <a:pathLst>
                <a:path w="1098" h="211">
                  <a:moveTo>
                    <a:pt x="f8" y="f9"/>
                  </a:moveTo>
                  <a:cubicBezTo>
                    <a:pt x="f10" y="f11"/>
                    <a:pt x="f10" y="f11"/>
                    <a:pt x="f10" y="f11"/>
                  </a:cubicBezTo>
                  <a:cubicBezTo>
                    <a:pt x="f10" y="f11"/>
                    <a:pt x="f6" y="f12"/>
                    <a:pt x="f10" y="f13"/>
                  </a:cubicBezTo>
                  <a:cubicBezTo>
                    <a:pt x="f14" y="f15"/>
                    <a:pt x="f8" y="f16"/>
                    <a:pt x="f8" y="f16"/>
                  </a:cubicBezTo>
                  <a:cubicBezTo>
                    <a:pt x="f8" y="f16"/>
                    <a:pt x="f17" y="f7"/>
                    <a:pt x="f18" y="f7"/>
                  </a:cubicBezTo>
                  <a:cubicBezTo>
                    <a:pt x="f19" y="f7"/>
                    <a:pt x="f20" y="f7"/>
                    <a:pt x="f20" y="f7"/>
                  </a:cubicBezTo>
                  <a:cubicBezTo>
                    <a:pt x="f21" y="f7"/>
                    <a:pt x="f5" y="f22"/>
                    <a:pt x="f5" y="f23"/>
                  </a:cubicBezTo>
                  <a:cubicBezTo>
                    <a:pt x="f5" y="f20"/>
                    <a:pt x="f5" y="f20"/>
                    <a:pt x="f5" y="f20"/>
                  </a:cubicBezTo>
                  <a:cubicBezTo>
                    <a:pt x="f5" y="f21"/>
                    <a:pt x="f21" y="f5"/>
                    <a:pt x="f20" y="f5"/>
                  </a:cubicBezTo>
                  <a:cubicBezTo>
                    <a:pt x="f20" y="f5"/>
                    <a:pt x="f19" y="f5"/>
                    <a:pt x="f18" y="f5"/>
                  </a:cubicBezTo>
                  <a:cubicBezTo>
                    <a:pt x="f24" y="f5"/>
                    <a:pt x="f8" y="f9"/>
                    <a:pt x="f8" y="f9"/>
                  </a:cubicBezTo>
                  <a:close/>
                </a:path>
              </a:pathLst>
            </a:custGeom>
            <a:gradFill>
              <a:gsLst>
                <a:gs pos="0">
                  <a:srgbClr val="FFFFFF">
                    <a:alpha val="0"/>
                  </a:srgbClr>
                </a:gs>
                <a:gs pos="100000">
                  <a:srgbClr val="FFFFFF">
                    <a:alpha val="36000"/>
                  </a:srgbClr>
                </a:gs>
              </a:gsLst>
              <a:lin ang="0"/>
            </a:gradFill>
            <a:ln cap="flat">
              <a:noFill/>
              <a:prstDash val="solid"/>
            </a:ln>
          </p:spPr>
          <p:txBody>
            <a:bodyPr vert="horz" wrap="square" lIns="91440" tIns="45720" rIns="91440" bIns="45720" anchor="ctr"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1" i="0" u="none" strike="noStrike" kern="1200" cap="none" spc="0" baseline="0">
                <a:solidFill>
                  <a:srgbClr val="58585A"/>
                </a:solidFill>
                <a:uFillTx/>
                <a:latin typeface="Arial"/>
                <a:ea typeface="MS PGothic"/>
                <a:cs typeface="Arial"/>
              </a:endParaRPr>
            </a:p>
          </p:txBody>
        </p:sp>
        <p:sp>
          <p:nvSpPr>
            <p:cNvPr id="22" name="TextBox 34">
              <a:extLst>
                <a:ext uri="{FF2B5EF4-FFF2-40B4-BE49-F238E27FC236}">
                  <a16:creationId xmlns:a16="http://schemas.microsoft.com/office/drawing/2014/main" id="{9B02D76A-0ED5-407D-89B4-A821F67A2910}"/>
                </a:ext>
              </a:extLst>
            </p:cNvPr>
            <p:cNvSpPr txBox="1"/>
            <p:nvPr/>
          </p:nvSpPr>
          <p:spPr>
            <a:xfrm>
              <a:off x="1450677" y="4124584"/>
              <a:ext cx="2171672" cy="697056"/>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70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FFFFFF"/>
                  </a:solidFill>
                  <a:uFillTx/>
                  <a:latin typeface="Arial"/>
                  <a:cs typeface="Arial"/>
                </a:rPr>
                <a:t>LOW COST, LOW ENERGY</a:t>
              </a:r>
              <a:br>
                <a:rPr lang="en-US" sz="1200" b="0" i="0" u="none" strike="noStrike" kern="1200" cap="none" spc="0" baseline="0">
                  <a:solidFill>
                    <a:srgbClr val="FFFFFF"/>
                  </a:solidFill>
                  <a:uFillTx/>
                  <a:latin typeface="Arial"/>
                  <a:cs typeface="Arial"/>
                </a:rPr>
              </a:br>
              <a:r>
                <a:rPr lang="en-US" sz="1200" b="0" i="0" u="none" strike="noStrike" kern="1200" cap="none" spc="0" baseline="0">
                  <a:solidFill>
                    <a:srgbClr val="FFFFFF"/>
                  </a:solidFill>
                  <a:uFillTx/>
                  <a:latin typeface="Arial"/>
                  <a:cs typeface="Arial"/>
                </a:rPr>
                <a:t>SMALL DATA VOLUMES</a:t>
              </a:r>
              <a:br>
                <a:rPr lang="en-US" sz="1200" b="0" i="0" u="none" strike="noStrike" kern="1200" cap="none" spc="0" baseline="0">
                  <a:solidFill>
                    <a:srgbClr val="FFFFFF"/>
                  </a:solidFill>
                  <a:uFillTx/>
                  <a:latin typeface="Arial"/>
                  <a:cs typeface="Arial"/>
                </a:rPr>
              </a:br>
              <a:r>
                <a:rPr lang="en-US" sz="1200" b="0" i="0" u="none" strike="noStrike" kern="1200" cap="none" spc="0" baseline="0">
                  <a:solidFill>
                    <a:srgbClr val="FFFFFF"/>
                  </a:solidFill>
                  <a:uFillTx/>
                  <a:latin typeface="Arial"/>
                  <a:cs typeface="Arial"/>
                </a:rPr>
                <a:t>MASSIVE NUMBERS</a:t>
              </a:r>
            </a:p>
          </p:txBody>
        </p:sp>
        <p:sp>
          <p:nvSpPr>
            <p:cNvPr id="23" name="TextBox 90">
              <a:extLst>
                <a:ext uri="{FF2B5EF4-FFF2-40B4-BE49-F238E27FC236}">
                  <a16:creationId xmlns:a16="http://schemas.microsoft.com/office/drawing/2014/main" id="{1F5D5B48-FB62-45CF-A923-A2EA8C74B451}"/>
                </a:ext>
              </a:extLst>
            </p:cNvPr>
            <p:cNvSpPr txBox="1"/>
            <p:nvPr/>
          </p:nvSpPr>
          <p:spPr>
            <a:xfrm>
              <a:off x="8751685" y="4124584"/>
              <a:ext cx="2113937" cy="697056"/>
            </a:xfrm>
            <a:prstGeom prst="rect">
              <a:avLst/>
            </a:prstGeom>
            <a:noFill/>
            <a:ln cap="flat">
              <a:noFill/>
            </a:ln>
          </p:spPr>
          <p:txBody>
            <a:bodyPr vert="horz" wrap="square" lIns="91440" tIns="45720" rIns="91440" bIns="45720" anchor="t" anchorCtr="0" compatLnSpc="1">
              <a:spAutoFit/>
            </a:bodyPr>
            <a:lstStyle/>
            <a:p>
              <a:pPr marL="0" marR="0" lvl="0" indent="0" algn="r" defTabSz="914400" rtl="0" fontAlgn="auto" hangingPunct="1">
                <a:lnSpc>
                  <a:spcPct val="100000"/>
                </a:lnSpc>
                <a:spcBef>
                  <a:spcPts val="700"/>
                </a:spcBef>
                <a:spcAft>
                  <a:spcPts val="0"/>
                </a:spcAft>
                <a:buNone/>
                <a:tabLst/>
                <a:defRPr sz="1800" b="0" i="0" u="none" strike="noStrike" kern="0" cap="none" spc="0" baseline="0">
                  <a:solidFill>
                    <a:srgbClr val="000000"/>
                  </a:solidFill>
                  <a:uFillTx/>
                </a:defRPr>
              </a:pPr>
              <a:r>
                <a:rPr lang="en-US" sz="1200" b="0" i="0" u="none" strike="noStrike" kern="1200" cap="none" spc="0" baseline="0">
                  <a:solidFill>
                    <a:srgbClr val="FFFFFF"/>
                  </a:solidFill>
                  <a:uFillTx/>
                  <a:latin typeface="Arial"/>
                  <a:cs typeface="Arial"/>
                </a:rPr>
                <a:t>ULTRA RELIABLE</a:t>
              </a:r>
              <a:br>
                <a:rPr lang="en-US" sz="1200" b="0" i="0" u="none" strike="noStrike" kern="1200" cap="none" spc="0" baseline="0">
                  <a:solidFill>
                    <a:srgbClr val="FFFFFF"/>
                  </a:solidFill>
                  <a:uFillTx/>
                  <a:latin typeface="Arial"/>
                  <a:cs typeface="Arial"/>
                </a:rPr>
              </a:br>
              <a:r>
                <a:rPr lang="en-US" sz="1200" b="0" i="0" u="none" strike="noStrike" kern="1200" cap="none" spc="0" baseline="0">
                  <a:solidFill>
                    <a:srgbClr val="FFFFFF"/>
                  </a:solidFill>
                  <a:uFillTx/>
                  <a:latin typeface="Arial"/>
                  <a:cs typeface="Arial"/>
                </a:rPr>
                <a:t>VERY LOW LATENCY</a:t>
              </a:r>
              <a:br>
                <a:rPr lang="en-US" sz="1200" b="0" i="0" u="none" strike="noStrike" kern="1200" cap="none" spc="0" baseline="0">
                  <a:solidFill>
                    <a:srgbClr val="FFFFFF"/>
                  </a:solidFill>
                  <a:uFillTx/>
                  <a:latin typeface="Arial"/>
                  <a:cs typeface="Arial"/>
                </a:rPr>
              </a:br>
              <a:r>
                <a:rPr lang="en-US" sz="1200" b="0" i="0" u="none" strike="noStrike" kern="1200" cap="none" spc="0" baseline="0">
                  <a:solidFill>
                    <a:srgbClr val="FFFFFF"/>
                  </a:solidFill>
                  <a:uFillTx/>
                  <a:latin typeface="Arial"/>
                  <a:cs typeface="Arial"/>
                </a:rPr>
                <a:t>VERY HIGH AVAILABILITY</a:t>
              </a:r>
            </a:p>
          </p:txBody>
        </p:sp>
      </p:grpSp>
      <p:sp>
        <p:nvSpPr>
          <p:cNvPr id="24" name="Rounded Rectangle 54">
            <a:extLst>
              <a:ext uri="{FF2B5EF4-FFF2-40B4-BE49-F238E27FC236}">
                <a16:creationId xmlns:a16="http://schemas.microsoft.com/office/drawing/2014/main" id="{D1EDB6BD-8B2C-4E07-A85A-184B1FE63FDB}"/>
              </a:ext>
            </a:extLst>
          </p:cNvPr>
          <p:cNvSpPr/>
          <p:nvPr/>
        </p:nvSpPr>
        <p:spPr>
          <a:xfrm>
            <a:off x="9346750" y="2411586"/>
            <a:ext cx="2378610" cy="357182"/>
          </a:xfrm>
          <a:custGeom>
            <a:avLst/>
            <a:gdLst>
              <a:gd name="f0" fmla="val 10800000"/>
              <a:gd name="f1" fmla="val 5400000"/>
              <a:gd name="f2" fmla="val 16200000"/>
              <a:gd name="f3" fmla="val w"/>
              <a:gd name="f4" fmla="val h"/>
              <a:gd name="f5" fmla="val ss"/>
              <a:gd name="f6" fmla="val 0"/>
              <a:gd name="f7" fmla="*/ 5419351 1 1725033"/>
              <a:gd name="f8" fmla="val 45"/>
              <a:gd name="f9" fmla="val 3600"/>
              <a:gd name="f10" fmla="abs f3"/>
              <a:gd name="f11" fmla="abs f4"/>
              <a:gd name="f12" fmla="abs f5"/>
              <a:gd name="f13" fmla="*/ f7 1 180"/>
              <a:gd name="f14" fmla="+- 0 0 f1"/>
              <a:gd name="f15" fmla="+- f6 f9 0"/>
              <a:gd name="f16" fmla="?: f10 f3 1"/>
              <a:gd name="f17" fmla="?: f11 f4 1"/>
              <a:gd name="f18" fmla="?: f12 f5 1"/>
              <a:gd name="f19" fmla="*/ f8 f13 1"/>
              <a:gd name="f20" fmla="+- f6 0 f15"/>
              <a:gd name="f21" fmla="+- f15 0 f6"/>
              <a:gd name="f22" fmla="*/ f16 1 21600"/>
              <a:gd name="f23" fmla="*/ f17 1 21600"/>
              <a:gd name="f24" fmla="*/ 21600 f16 1"/>
              <a:gd name="f25" fmla="*/ 21600 f17 1"/>
              <a:gd name="f26" fmla="+- 0 0 f19"/>
              <a:gd name="f27" fmla="abs f20"/>
              <a:gd name="f28" fmla="abs f21"/>
              <a:gd name="f29" fmla="?: f20 f14 f1"/>
              <a:gd name="f30" fmla="?: f20 f1 f14"/>
              <a:gd name="f31" fmla="?: f20 f2 f1"/>
              <a:gd name="f32" fmla="?: f20 f1 f2"/>
              <a:gd name="f33" fmla="?: f21 f14 f1"/>
              <a:gd name="f34" fmla="?: f21 f1 f14"/>
              <a:gd name="f35" fmla="?: f20 0 f0"/>
              <a:gd name="f36" fmla="?: f20 f0 0"/>
              <a:gd name="f37" fmla="min f23 f22"/>
              <a:gd name="f38" fmla="*/ f24 1 f18"/>
              <a:gd name="f39" fmla="*/ f25 1 f18"/>
              <a:gd name="f40" fmla="*/ f26 f0 1"/>
              <a:gd name="f41" fmla="?: f20 f32 f31"/>
              <a:gd name="f42" fmla="?: f20 f31 f32"/>
              <a:gd name="f43" fmla="?: f21 f30 f29"/>
              <a:gd name="f44" fmla="val f38"/>
              <a:gd name="f45" fmla="val f39"/>
              <a:gd name="f46" fmla="*/ f40 1 f7"/>
              <a:gd name="f47" fmla="?: f21 f42 f41"/>
              <a:gd name="f48" fmla="*/ f15 f37 1"/>
              <a:gd name="f49" fmla="*/ f6 f37 1"/>
              <a:gd name="f50" fmla="*/ f27 f37 1"/>
              <a:gd name="f51" fmla="*/ f28 f37 1"/>
              <a:gd name="f52" fmla="+- f45 0 f9"/>
              <a:gd name="f53" fmla="+- f44 0 f9"/>
              <a:gd name="f54" fmla="+- f46 0 f1"/>
              <a:gd name="f55" fmla="*/ f45 f37 1"/>
              <a:gd name="f56" fmla="*/ f44 f37 1"/>
              <a:gd name="f57" fmla="+- f45 0 f52"/>
              <a:gd name="f58" fmla="+- f44 0 f53"/>
              <a:gd name="f59" fmla="+- f52 0 f45"/>
              <a:gd name="f60" fmla="+- f53 0 f44"/>
              <a:gd name="f61" fmla="+- f54 f1 0"/>
              <a:gd name="f62" fmla="*/ f52 f37 1"/>
              <a:gd name="f63" fmla="*/ f53 f37 1"/>
              <a:gd name="f64" fmla="abs f57"/>
              <a:gd name="f65" fmla="?: f57 0 f0"/>
              <a:gd name="f66" fmla="?: f57 f0 0"/>
              <a:gd name="f67" fmla="?: f57 f33 f34"/>
              <a:gd name="f68" fmla="abs f58"/>
              <a:gd name="f69" fmla="abs f59"/>
              <a:gd name="f70" fmla="?: f58 f14 f1"/>
              <a:gd name="f71" fmla="?: f58 f1 f14"/>
              <a:gd name="f72" fmla="?: f58 f2 f1"/>
              <a:gd name="f73" fmla="?: f58 f1 f2"/>
              <a:gd name="f74" fmla="abs f60"/>
              <a:gd name="f75" fmla="?: f60 f14 f1"/>
              <a:gd name="f76" fmla="?: f60 f1 f14"/>
              <a:gd name="f77" fmla="?: f60 f36 f35"/>
              <a:gd name="f78" fmla="?: f60 f35 f36"/>
              <a:gd name="f79" fmla="*/ f61 f7 1"/>
              <a:gd name="f80" fmla="?: f21 f66 f65"/>
              <a:gd name="f81" fmla="?: f21 f65 f66"/>
              <a:gd name="f82" fmla="?: f58 f73 f72"/>
              <a:gd name="f83" fmla="?: f58 f72 f73"/>
              <a:gd name="f84" fmla="?: f59 f71 f70"/>
              <a:gd name="f85" fmla="?: f20 f77 f78"/>
              <a:gd name="f86" fmla="?: f20 f75 f76"/>
              <a:gd name="f87" fmla="*/ f79 1 f0"/>
              <a:gd name="f88" fmla="*/ f64 f37 1"/>
              <a:gd name="f89" fmla="*/ f68 f37 1"/>
              <a:gd name="f90" fmla="*/ f69 f37 1"/>
              <a:gd name="f91" fmla="*/ f74 f37 1"/>
              <a:gd name="f92" fmla="?: f57 f80 f81"/>
              <a:gd name="f93" fmla="?: f59 f83 f82"/>
              <a:gd name="f94" fmla="+- 0 0 f87"/>
              <a:gd name="f95" fmla="+- 0 0 f94"/>
              <a:gd name="f96" fmla="*/ f95 f0 1"/>
              <a:gd name="f97" fmla="*/ f96 1 f7"/>
              <a:gd name="f98" fmla="+- f97 0 f1"/>
              <a:gd name="f99" fmla="cos 1 f98"/>
              <a:gd name="f100" fmla="+- 0 0 f99"/>
              <a:gd name="f101" fmla="+- 0 0 f100"/>
              <a:gd name="f102" fmla="val f101"/>
              <a:gd name="f103" fmla="+- 0 0 f102"/>
              <a:gd name="f104" fmla="*/ f9 f103 1"/>
              <a:gd name="f105" fmla="*/ f104 3163 1"/>
              <a:gd name="f106" fmla="*/ f105 1 7636"/>
              <a:gd name="f107" fmla="+- f6 f106 0"/>
              <a:gd name="f108" fmla="+- f44 0 f106"/>
              <a:gd name="f109" fmla="+- f45 0 f106"/>
              <a:gd name="f110" fmla="*/ f107 f37 1"/>
              <a:gd name="f111" fmla="*/ f108 f37 1"/>
              <a:gd name="f112" fmla="*/ f109 f37 1"/>
            </a:gdLst>
            <a:ahLst/>
            <a:cxnLst>
              <a:cxn ang="3cd4">
                <a:pos x="hc" y="t"/>
              </a:cxn>
              <a:cxn ang="0">
                <a:pos x="r" y="vc"/>
              </a:cxn>
              <a:cxn ang="cd4">
                <a:pos x="hc" y="b"/>
              </a:cxn>
              <a:cxn ang="cd2">
                <a:pos x="l" y="vc"/>
              </a:cxn>
            </a:cxnLst>
            <a:rect l="f110" t="f110" r="f111" b="f112"/>
            <a:pathLst>
              <a:path>
                <a:moveTo>
                  <a:pt x="f48" y="f49"/>
                </a:moveTo>
                <a:arcTo wR="f50" hR="f51" stAng="f47" swAng="f43"/>
                <a:lnTo>
                  <a:pt x="f49" y="f62"/>
                </a:lnTo>
                <a:arcTo wR="f51" hR="f88" stAng="f92" swAng="f67"/>
                <a:lnTo>
                  <a:pt x="f63" y="f55"/>
                </a:lnTo>
                <a:arcTo wR="f89" hR="f90" stAng="f93" swAng="f84"/>
                <a:lnTo>
                  <a:pt x="f56" y="f48"/>
                </a:lnTo>
                <a:arcTo wR="f91" hR="f50" stAng="f85" swAng="f86"/>
                <a:close/>
              </a:path>
            </a:pathLst>
          </a:custGeom>
          <a:noFill/>
          <a:ln cap="flat">
            <a:noFill/>
            <a:prstDash val="solid"/>
          </a:ln>
        </p:spPr>
        <p:txBody>
          <a:bodyPr vert="horz" wrap="none" lIns="0" tIns="0" rIns="0" bIns="0" anchor="ctr" anchorCtr="1" compatLnSpc="1">
            <a:noAutofit/>
          </a:bodyPr>
          <a:lstStyle/>
          <a:p>
            <a:pPr marL="0" marR="0" lvl="0" indent="0" algn="l" defTabSz="914400" rtl="0" fontAlgn="auto" hangingPunct="1">
              <a:lnSpc>
                <a:spcPct val="100000"/>
              </a:lnSpc>
              <a:spcBef>
                <a:spcPts val="1400"/>
              </a:spcBef>
              <a:spcAft>
                <a:spcPts val="0"/>
              </a:spcAft>
              <a:buNone/>
              <a:tabLst/>
              <a:defRPr sz="1800" b="0" i="0" u="none" strike="noStrike" kern="0" cap="none" spc="0" baseline="0">
                <a:solidFill>
                  <a:srgbClr val="000000"/>
                </a:solidFill>
                <a:uFillTx/>
              </a:defRPr>
            </a:pPr>
            <a:r>
              <a:rPr lang="en-US" sz="2400" b="0" i="0" u="none" strike="noStrike" kern="1200" cap="none" spc="0" baseline="0" dirty="0">
                <a:solidFill>
                  <a:srgbClr val="FFFFFF"/>
                </a:solidFill>
                <a:uFillTx/>
                <a:latin typeface="Arial"/>
                <a:ea typeface="Ericsson Capital"/>
                <a:cs typeface="Arial"/>
              </a:rPr>
              <a:t>Critical IoT</a:t>
            </a:r>
          </a:p>
        </p:txBody>
      </p:sp>
      <p:sp>
        <p:nvSpPr>
          <p:cNvPr id="25" name="Rounded Rectangle 80">
            <a:extLst>
              <a:ext uri="{FF2B5EF4-FFF2-40B4-BE49-F238E27FC236}">
                <a16:creationId xmlns:a16="http://schemas.microsoft.com/office/drawing/2014/main" id="{AA3D9990-2CD4-4D90-817F-48187241B231}"/>
              </a:ext>
            </a:extLst>
          </p:cNvPr>
          <p:cNvSpPr/>
          <p:nvPr/>
        </p:nvSpPr>
        <p:spPr>
          <a:xfrm>
            <a:off x="92702" y="2425442"/>
            <a:ext cx="3018919" cy="357182"/>
          </a:xfrm>
          <a:custGeom>
            <a:avLst/>
            <a:gdLst>
              <a:gd name="f0" fmla="val 10800000"/>
              <a:gd name="f1" fmla="val 5400000"/>
              <a:gd name="f2" fmla="val 16200000"/>
              <a:gd name="f3" fmla="val w"/>
              <a:gd name="f4" fmla="val h"/>
              <a:gd name="f5" fmla="val ss"/>
              <a:gd name="f6" fmla="val 0"/>
              <a:gd name="f7" fmla="*/ 5419351 1 1725033"/>
              <a:gd name="f8" fmla="val 45"/>
              <a:gd name="f9" fmla="val 3600"/>
              <a:gd name="f10" fmla="abs f3"/>
              <a:gd name="f11" fmla="abs f4"/>
              <a:gd name="f12" fmla="abs f5"/>
              <a:gd name="f13" fmla="*/ f7 1 180"/>
              <a:gd name="f14" fmla="+- 0 0 f1"/>
              <a:gd name="f15" fmla="+- f6 f9 0"/>
              <a:gd name="f16" fmla="?: f10 f3 1"/>
              <a:gd name="f17" fmla="?: f11 f4 1"/>
              <a:gd name="f18" fmla="?: f12 f5 1"/>
              <a:gd name="f19" fmla="*/ f8 f13 1"/>
              <a:gd name="f20" fmla="+- f6 0 f15"/>
              <a:gd name="f21" fmla="+- f15 0 f6"/>
              <a:gd name="f22" fmla="*/ f16 1 21600"/>
              <a:gd name="f23" fmla="*/ f17 1 21600"/>
              <a:gd name="f24" fmla="*/ 21600 f16 1"/>
              <a:gd name="f25" fmla="*/ 21600 f17 1"/>
              <a:gd name="f26" fmla="+- 0 0 f19"/>
              <a:gd name="f27" fmla="abs f20"/>
              <a:gd name="f28" fmla="abs f21"/>
              <a:gd name="f29" fmla="?: f20 f14 f1"/>
              <a:gd name="f30" fmla="?: f20 f1 f14"/>
              <a:gd name="f31" fmla="?: f20 f2 f1"/>
              <a:gd name="f32" fmla="?: f20 f1 f2"/>
              <a:gd name="f33" fmla="?: f21 f14 f1"/>
              <a:gd name="f34" fmla="?: f21 f1 f14"/>
              <a:gd name="f35" fmla="?: f20 0 f0"/>
              <a:gd name="f36" fmla="?: f20 f0 0"/>
              <a:gd name="f37" fmla="min f23 f22"/>
              <a:gd name="f38" fmla="*/ f24 1 f18"/>
              <a:gd name="f39" fmla="*/ f25 1 f18"/>
              <a:gd name="f40" fmla="*/ f26 f0 1"/>
              <a:gd name="f41" fmla="?: f20 f32 f31"/>
              <a:gd name="f42" fmla="?: f20 f31 f32"/>
              <a:gd name="f43" fmla="?: f21 f30 f29"/>
              <a:gd name="f44" fmla="val f38"/>
              <a:gd name="f45" fmla="val f39"/>
              <a:gd name="f46" fmla="*/ f40 1 f7"/>
              <a:gd name="f47" fmla="?: f21 f42 f41"/>
              <a:gd name="f48" fmla="*/ f15 f37 1"/>
              <a:gd name="f49" fmla="*/ f6 f37 1"/>
              <a:gd name="f50" fmla="*/ f27 f37 1"/>
              <a:gd name="f51" fmla="*/ f28 f37 1"/>
              <a:gd name="f52" fmla="+- f45 0 f9"/>
              <a:gd name="f53" fmla="+- f44 0 f9"/>
              <a:gd name="f54" fmla="+- f46 0 f1"/>
              <a:gd name="f55" fmla="*/ f45 f37 1"/>
              <a:gd name="f56" fmla="*/ f44 f37 1"/>
              <a:gd name="f57" fmla="+- f45 0 f52"/>
              <a:gd name="f58" fmla="+- f44 0 f53"/>
              <a:gd name="f59" fmla="+- f52 0 f45"/>
              <a:gd name="f60" fmla="+- f53 0 f44"/>
              <a:gd name="f61" fmla="+- f54 f1 0"/>
              <a:gd name="f62" fmla="*/ f52 f37 1"/>
              <a:gd name="f63" fmla="*/ f53 f37 1"/>
              <a:gd name="f64" fmla="abs f57"/>
              <a:gd name="f65" fmla="?: f57 0 f0"/>
              <a:gd name="f66" fmla="?: f57 f0 0"/>
              <a:gd name="f67" fmla="?: f57 f33 f34"/>
              <a:gd name="f68" fmla="abs f58"/>
              <a:gd name="f69" fmla="abs f59"/>
              <a:gd name="f70" fmla="?: f58 f14 f1"/>
              <a:gd name="f71" fmla="?: f58 f1 f14"/>
              <a:gd name="f72" fmla="?: f58 f2 f1"/>
              <a:gd name="f73" fmla="?: f58 f1 f2"/>
              <a:gd name="f74" fmla="abs f60"/>
              <a:gd name="f75" fmla="?: f60 f14 f1"/>
              <a:gd name="f76" fmla="?: f60 f1 f14"/>
              <a:gd name="f77" fmla="?: f60 f36 f35"/>
              <a:gd name="f78" fmla="?: f60 f35 f36"/>
              <a:gd name="f79" fmla="*/ f61 f7 1"/>
              <a:gd name="f80" fmla="?: f21 f66 f65"/>
              <a:gd name="f81" fmla="?: f21 f65 f66"/>
              <a:gd name="f82" fmla="?: f58 f73 f72"/>
              <a:gd name="f83" fmla="?: f58 f72 f73"/>
              <a:gd name="f84" fmla="?: f59 f71 f70"/>
              <a:gd name="f85" fmla="?: f20 f77 f78"/>
              <a:gd name="f86" fmla="?: f20 f75 f76"/>
              <a:gd name="f87" fmla="*/ f79 1 f0"/>
              <a:gd name="f88" fmla="*/ f64 f37 1"/>
              <a:gd name="f89" fmla="*/ f68 f37 1"/>
              <a:gd name="f90" fmla="*/ f69 f37 1"/>
              <a:gd name="f91" fmla="*/ f74 f37 1"/>
              <a:gd name="f92" fmla="?: f57 f80 f81"/>
              <a:gd name="f93" fmla="?: f59 f83 f82"/>
              <a:gd name="f94" fmla="+- 0 0 f87"/>
              <a:gd name="f95" fmla="+- 0 0 f94"/>
              <a:gd name="f96" fmla="*/ f95 f0 1"/>
              <a:gd name="f97" fmla="*/ f96 1 f7"/>
              <a:gd name="f98" fmla="+- f97 0 f1"/>
              <a:gd name="f99" fmla="cos 1 f98"/>
              <a:gd name="f100" fmla="+- 0 0 f99"/>
              <a:gd name="f101" fmla="+- 0 0 f100"/>
              <a:gd name="f102" fmla="val f101"/>
              <a:gd name="f103" fmla="+- 0 0 f102"/>
              <a:gd name="f104" fmla="*/ f9 f103 1"/>
              <a:gd name="f105" fmla="*/ f104 3163 1"/>
              <a:gd name="f106" fmla="*/ f105 1 7636"/>
              <a:gd name="f107" fmla="+- f6 f106 0"/>
              <a:gd name="f108" fmla="+- f44 0 f106"/>
              <a:gd name="f109" fmla="+- f45 0 f106"/>
              <a:gd name="f110" fmla="*/ f107 f37 1"/>
              <a:gd name="f111" fmla="*/ f108 f37 1"/>
              <a:gd name="f112" fmla="*/ f109 f37 1"/>
            </a:gdLst>
            <a:ahLst/>
            <a:cxnLst>
              <a:cxn ang="3cd4">
                <a:pos x="hc" y="t"/>
              </a:cxn>
              <a:cxn ang="0">
                <a:pos x="r" y="vc"/>
              </a:cxn>
              <a:cxn ang="cd4">
                <a:pos x="hc" y="b"/>
              </a:cxn>
              <a:cxn ang="cd2">
                <a:pos x="l" y="vc"/>
              </a:cxn>
            </a:cxnLst>
            <a:rect l="f110" t="f110" r="f111" b="f112"/>
            <a:pathLst>
              <a:path>
                <a:moveTo>
                  <a:pt x="f48" y="f49"/>
                </a:moveTo>
                <a:arcTo wR="f50" hR="f51" stAng="f47" swAng="f43"/>
                <a:lnTo>
                  <a:pt x="f49" y="f62"/>
                </a:lnTo>
                <a:arcTo wR="f51" hR="f88" stAng="f92" swAng="f67"/>
                <a:lnTo>
                  <a:pt x="f63" y="f55"/>
                </a:lnTo>
                <a:arcTo wR="f89" hR="f90" stAng="f93" swAng="f84"/>
                <a:lnTo>
                  <a:pt x="f56" y="f48"/>
                </a:lnTo>
                <a:arcTo wR="f91" hR="f50" stAng="f85" swAng="f86"/>
                <a:close/>
              </a:path>
            </a:pathLst>
          </a:custGeom>
          <a:noFill/>
          <a:ln cap="flat">
            <a:noFill/>
            <a:prstDash val="solid"/>
          </a:ln>
        </p:spPr>
        <p:txBody>
          <a:bodyPr vert="horz" wrap="none" lIns="0" tIns="0" rIns="0" bIns="0" anchor="ctr" anchorCtr="1" compatLnSpc="1">
            <a:noAutofit/>
          </a:bodyPr>
          <a:lstStyle/>
          <a:p>
            <a:pPr marL="0" marR="0" lvl="0" indent="0" algn="ctr" defTabSz="914400" rtl="0" fontAlgn="auto" hangingPunct="1">
              <a:lnSpc>
                <a:spcPct val="100000"/>
              </a:lnSpc>
              <a:spcBef>
                <a:spcPts val="1400"/>
              </a:spcBef>
              <a:spcAft>
                <a:spcPts val="0"/>
              </a:spcAft>
              <a:buNone/>
              <a:tabLst/>
              <a:defRPr sz="1800" b="0" i="0" u="none" strike="noStrike" kern="0" cap="none" spc="0" baseline="0">
                <a:solidFill>
                  <a:srgbClr val="000000"/>
                </a:solidFill>
                <a:uFillTx/>
              </a:defRPr>
            </a:pPr>
            <a:r>
              <a:rPr lang="en-US" sz="2400" b="0" i="0" u="none" strike="noStrike" kern="1200" cap="none" spc="0" baseline="0" dirty="0">
                <a:solidFill>
                  <a:srgbClr val="FFFFFF"/>
                </a:solidFill>
                <a:uFillTx/>
                <a:latin typeface="Arial"/>
                <a:ea typeface="Ericsson Capital"/>
                <a:cs typeface="Arial"/>
              </a:rPr>
              <a:t>Massive IoT</a:t>
            </a:r>
          </a:p>
        </p:txBody>
      </p:sp>
      <p:sp>
        <p:nvSpPr>
          <p:cNvPr id="26" name="Rectangle 99">
            <a:extLst>
              <a:ext uri="{FF2B5EF4-FFF2-40B4-BE49-F238E27FC236}">
                <a16:creationId xmlns:a16="http://schemas.microsoft.com/office/drawing/2014/main" id="{F77FAFFA-38AA-4E1B-AE0F-9B5915E845E5}"/>
              </a:ext>
            </a:extLst>
          </p:cNvPr>
          <p:cNvSpPr/>
          <p:nvPr/>
        </p:nvSpPr>
        <p:spPr>
          <a:xfrm>
            <a:off x="7529562" y="3797278"/>
            <a:ext cx="1248494" cy="369335"/>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ea typeface="MS PGothic" pitchFamily="34"/>
              </a:rPr>
              <a:t>SMART </a:t>
            </a:r>
            <a:br>
              <a:rPr lang="en-US" sz="900" b="0" i="0" u="none" strike="noStrike" kern="1200" cap="none" spc="0" baseline="0">
                <a:solidFill>
                  <a:srgbClr val="58585A"/>
                </a:solidFill>
                <a:uFillTx/>
                <a:latin typeface="Arial"/>
                <a:ea typeface="MS PGothic" pitchFamily="34"/>
              </a:rPr>
            </a:br>
            <a:r>
              <a:rPr lang="en-US" sz="900" b="0" i="0" u="none" strike="noStrike" kern="1200" cap="none" spc="0" baseline="0">
                <a:solidFill>
                  <a:srgbClr val="58585A"/>
                </a:solidFill>
                <a:uFillTx/>
                <a:latin typeface="Arial"/>
                <a:ea typeface="MS PGothic" pitchFamily="34"/>
              </a:rPr>
              <a:t>GRID</a:t>
            </a:r>
            <a:endParaRPr lang="en-US" sz="900" b="0" i="0" u="none" strike="noStrike" kern="1200" cap="none" spc="0" baseline="0">
              <a:solidFill>
                <a:srgbClr val="58585A"/>
              </a:solidFill>
              <a:uFillTx/>
              <a:latin typeface="Arial"/>
            </a:endParaRPr>
          </a:p>
        </p:txBody>
      </p:sp>
      <p:sp>
        <p:nvSpPr>
          <p:cNvPr id="27" name="Rectangle 91">
            <a:extLst>
              <a:ext uri="{FF2B5EF4-FFF2-40B4-BE49-F238E27FC236}">
                <a16:creationId xmlns:a16="http://schemas.microsoft.com/office/drawing/2014/main" id="{E279175D-51F9-47E5-AB19-29FFFDDBB5F8}"/>
              </a:ext>
            </a:extLst>
          </p:cNvPr>
          <p:cNvSpPr/>
          <p:nvPr/>
        </p:nvSpPr>
        <p:spPr>
          <a:xfrm>
            <a:off x="2452960" y="3172331"/>
            <a:ext cx="1248494" cy="369335"/>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rPr>
              <a:t>SMART</a:t>
            </a:r>
            <a:br>
              <a:rPr lang="en-US" sz="900" b="0" i="0" u="none" strike="noStrike" kern="1200" cap="none" spc="0" baseline="0">
                <a:solidFill>
                  <a:srgbClr val="58585A"/>
                </a:solidFill>
                <a:uFillTx/>
                <a:latin typeface="Arial"/>
              </a:rPr>
            </a:br>
            <a:r>
              <a:rPr lang="en-US" sz="900" b="0" i="0" u="none" strike="noStrike" kern="1200" cap="none" spc="0" baseline="0">
                <a:solidFill>
                  <a:srgbClr val="58585A"/>
                </a:solidFill>
                <a:uFillTx/>
                <a:latin typeface="Arial"/>
              </a:rPr>
              <a:t>AGRICULTURE</a:t>
            </a:r>
          </a:p>
        </p:txBody>
      </p:sp>
      <p:sp>
        <p:nvSpPr>
          <p:cNvPr id="28" name="Rectangle 98">
            <a:extLst>
              <a:ext uri="{FF2B5EF4-FFF2-40B4-BE49-F238E27FC236}">
                <a16:creationId xmlns:a16="http://schemas.microsoft.com/office/drawing/2014/main" id="{DE47028E-75DB-4128-9FC4-772D8BED44A9}"/>
              </a:ext>
            </a:extLst>
          </p:cNvPr>
          <p:cNvSpPr/>
          <p:nvPr/>
        </p:nvSpPr>
        <p:spPr>
          <a:xfrm>
            <a:off x="1453310" y="3757328"/>
            <a:ext cx="1248494" cy="369335"/>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rPr>
              <a:t>SMART </a:t>
            </a:r>
            <a:br>
              <a:rPr lang="en-US" sz="900" b="0" i="0" u="none" strike="noStrike" kern="1200" cap="none" spc="0" baseline="0">
                <a:solidFill>
                  <a:srgbClr val="58585A"/>
                </a:solidFill>
                <a:uFillTx/>
                <a:latin typeface="Arial"/>
              </a:rPr>
            </a:br>
            <a:r>
              <a:rPr lang="en-US" sz="900" b="0" i="0" u="none" strike="noStrike" kern="1200" cap="none" spc="0" baseline="0">
                <a:solidFill>
                  <a:srgbClr val="58585A"/>
                </a:solidFill>
                <a:uFillTx/>
                <a:latin typeface="Arial"/>
              </a:rPr>
              <a:t>METER</a:t>
            </a:r>
          </a:p>
        </p:txBody>
      </p:sp>
      <p:sp>
        <p:nvSpPr>
          <p:cNvPr id="29" name="Rectangle 90">
            <a:extLst>
              <a:ext uri="{FF2B5EF4-FFF2-40B4-BE49-F238E27FC236}">
                <a16:creationId xmlns:a16="http://schemas.microsoft.com/office/drawing/2014/main" id="{D13CEC6A-ACB9-42C9-976F-FCB61A87B07C}"/>
              </a:ext>
            </a:extLst>
          </p:cNvPr>
          <p:cNvSpPr/>
          <p:nvPr/>
        </p:nvSpPr>
        <p:spPr>
          <a:xfrm>
            <a:off x="3510107" y="2655540"/>
            <a:ext cx="1112486" cy="369335"/>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rPr>
              <a:t>SMART LOGISTICS</a:t>
            </a:r>
          </a:p>
        </p:txBody>
      </p:sp>
      <p:sp>
        <p:nvSpPr>
          <p:cNvPr id="30" name="Rectangle 90">
            <a:extLst>
              <a:ext uri="{FF2B5EF4-FFF2-40B4-BE49-F238E27FC236}">
                <a16:creationId xmlns:a16="http://schemas.microsoft.com/office/drawing/2014/main" id="{1AE9533B-94A9-43AC-BC20-D635E9F1F38D}"/>
              </a:ext>
            </a:extLst>
          </p:cNvPr>
          <p:cNvSpPr/>
          <p:nvPr/>
        </p:nvSpPr>
        <p:spPr>
          <a:xfrm>
            <a:off x="3459550" y="3801374"/>
            <a:ext cx="1249234" cy="230831"/>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rPr>
              <a:t>TRACKING</a:t>
            </a:r>
          </a:p>
        </p:txBody>
      </p:sp>
      <p:sp>
        <p:nvSpPr>
          <p:cNvPr id="31" name="Rectangle 98">
            <a:extLst>
              <a:ext uri="{FF2B5EF4-FFF2-40B4-BE49-F238E27FC236}">
                <a16:creationId xmlns:a16="http://schemas.microsoft.com/office/drawing/2014/main" id="{DC735E70-FB24-4237-837F-E76A7C4B39D3}"/>
              </a:ext>
            </a:extLst>
          </p:cNvPr>
          <p:cNvSpPr/>
          <p:nvPr/>
        </p:nvSpPr>
        <p:spPr>
          <a:xfrm>
            <a:off x="4470775" y="3170511"/>
            <a:ext cx="1248494" cy="369335"/>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rPr>
              <a:t>SMART </a:t>
            </a:r>
            <a:br>
              <a:rPr lang="en-US" sz="900" b="0" i="0" u="none" strike="noStrike" kern="1200" cap="none" spc="0" baseline="0">
                <a:solidFill>
                  <a:srgbClr val="58585A"/>
                </a:solidFill>
                <a:uFillTx/>
                <a:latin typeface="Arial"/>
              </a:rPr>
            </a:br>
            <a:r>
              <a:rPr lang="en-US" sz="900" b="0" i="0" u="none" strike="noStrike" kern="1200" cap="none" spc="0" baseline="0">
                <a:solidFill>
                  <a:srgbClr val="58585A"/>
                </a:solidFill>
                <a:uFillTx/>
                <a:latin typeface="Arial"/>
              </a:rPr>
              <a:t>CITIES</a:t>
            </a:r>
          </a:p>
        </p:txBody>
      </p:sp>
      <p:sp>
        <p:nvSpPr>
          <p:cNvPr id="32" name="Rectangle 99">
            <a:extLst>
              <a:ext uri="{FF2B5EF4-FFF2-40B4-BE49-F238E27FC236}">
                <a16:creationId xmlns:a16="http://schemas.microsoft.com/office/drawing/2014/main" id="{E4198ED0-F3C7-4B0D-850F-31613517BFC8}"/>
              </a:ext>
            </a:extLst>
          </p:cNvPr>
          <p:cNvSpPr/>
          <p:nvPr/>
        </p:nvSpPr>
        <p:spPr>
          <a:xfrm>
            <a:off x="9527142" y="3745916"/>
            <a:ext cx="1248494" cy="369335"/>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ea typeface="MS PGothic" pitchFamily="34"/>
              </a:rPr>
              <a:t>REMOTE</a:t>
            </a:r>
            <a:br>
              <a:rPr lang="en-US" sz="900" b="0" i="0" u="none" strike="noStrike" kern="1200" cap="none" spc="0" baseline="0">
                <a:solidFill>
                  <a:srgbClr val="58585A"/>
                </a:solidFill>
                <a:uFillTx/>
                <a:latin typeface="Arial"/>
                <a:ea typeface="MS PGothic" pitchFamily="34"/>
              </a:rPr>
            </a:br>
            <a:r>
              <a:rPr lang="en-US" sz="900" b="0" i="0" u="none" strike="noStrike" kern="1200" cap="none" spc="0" baseline="0">
                <a:solidFill>
                  <a:srgbClr val="58585A"/>
                </a:solidFill>
                <a:uFillTx/>
                <a:latin typeface="Arial"/>
                <a:ea typeface="MS PGothic" pitchFamily="34"/>
              </a:rPr>
              <a:t>SURGERY</a:t>
            </a:r>
            <a:endParaRPr lang="en-US" sz="900" b="0" i="0" u="none" strike="noStrike" kern="1200" cap="none" spc="0" baseline="0">
              <a:solidFill>
                <a:srgbClr val="58585A"/>
              </a:solidFill>
              <a:uFillTx/>
              <a:latin typeface="Arial"/>
            </a:endParaRPr>
          </a:p>
        </p:txBody>
      </p:sp>
      <p:sp>
        <p:nvSpPr>
          <p:cNvPr id="33" name="Freeform 14">
            <a:extLst>
              <a:ext uri="{FF2B5EF4-FFF2-40B4-BE49-F238E27FC236}">
                <a16:creationId xmlns:a16="http://schemas.microsoft.com/office/drawing/2014/main" id="{51B4E908-F577-40C7-ACEE-10DF13EF78F9}"/>
              </a:ext>
            </a:extLst>
          </p:cNvPr>
          <p:cNvSpPr/>
          <p:nvPr/>
        </p:nvSpPr>
        <p:spPr>
          <a:xfrm>
            <a:off x="5483327" y="5061244"/>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34" name="Freeform 14">
            <a:extLst>
              <a:ext uri="{FF2B5EF4-FFF2-40B4-BE49-F238E27FC236}">
                <a16:creationId xmlns:a16="http://schemas.microsoft.com/office/drawing/2014/main" id="{83D75FAC-E531-45AD-8F02-2AE5164C7C57}"/>
              </a:ext>
            </a:extLst>
          </p:cNvPr>
          <p:cNvSpPr/>
          <p:nvPr/>
        </p:nvSpPr>
        <p:spPr>
          <a:xfrm>
            <a:off x="7488039" y="5048177"/>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35" name="Freeform 14">
            <a:extLst>
              <a:ext uri="{FF2B5EF4-FFF2-40B4-BE49-F238E27FC236}">
                <a16:creationId xmlns:a16="http://schemas.microsoft.com/office/drawing/2014/main" id="{087AE44B-56EE-4B6C-8B36-9FAAE2370694}"/>
              </a:ext>
            </a:extLst>
          </p:cNvPr>
          <p:cNvSpPr/>
          <p:nvPr/>
        </p:nvSpPr>
        <p:spPr>
          <a:xfrm>
            <a:off x="6481184" y="4480947"/>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36" name="Freeform 14">
            <a:extLst>
              <a:ext uri="{FF2B5EF4-FFF2-40B4-BE49-F238E27FC236}">
                <a16:creationId xmlns:a16="http://schemas.microsoft.com/office/drawing/2014/main" id="{F5ADF355-BA9B-47DF-8CED-C008B9D1816F}"/>
              </a:ext>
            </a:extLst>
          </p:cNvPr>
          <p:cNvSpPr/>
          <p:nvPr/>
        </p:nvSpPr>
        <p:spPr>
          <a:xfrm>
            <a:off x="3480663" y="5062926"/>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37" name="Freeform 14">
            <a:extLst>
              <a:ext uri="{FF2B5EF4-FFF2-40B4-BE49-F238E27FC236}">
                <a16:creationId xmlns:a16="http://schemas.microsoft.com/office/drawing/2014/main" id="{15BEBD40-12F1-4EAA-A5A5-67F206D73F2D}"/>
              </a:ext>
            </a:extLst>
          </p:cNvPr>
          <p:cNvSpPr/>
          <p:nvPr/>
        </p:nvSpPr>
        <p:spPr>
          <a:xfrm>
            <a:off x="5465844" y="3898374"/>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38" name="Rectangle 90">
            <a:extLst>
              <a:ext uri="{FF2B5EF4-FFF2-40B4-BE49-F238E27FC236}">
                <a16:creationId xmlns:a16="http://schemas.microsoft.com/office/drawing/2014/main" id="{62960807-2CE8-40D9-843E-FE343C70A354}"/>
              </a:ext>
            </a:extLst>
          </p:cNvPr>
          <p:cNvSpPr/>
          <p:nvPr/>
        </p:nvSpPr>
        <p:spPr>
          <a:xfrm>
            <a:off x="5577318" y="4464397"/>
            <a:ext cx="1025545" cy="369335"/>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rPr>
              <a:t>CONNECTED CAR</a:t>
            </a:r>
          </a:p>
        </p:txBody>
      </p:sp>
      <p:sp>
        <p:nvSpPr>
          <p:cNvPr id="39" name="Freeform 3">
            <a:extLst>
              <a:ext uri="{FF2B5EF4-FFF2-40B4-BE49-F238E27FC236}">
                <a16:creationId xmlns:a16="http://schemas.microsoft.com/office/drawing/2014/main" id="{BF37E4B8-964F-4D35-9881-DE7733DC6A1F}"/>
              </a:ext>
            </a:extLst>
          </p:cNvPr>
          <p:cNvSpPr/>
          <p:nvPr/>
        </p:nvSpPr>
        <p:spPr>
          <a:xfrm rot="16200004">
            <a:off x="5728127" y="4219068"/>
            <a:ext cx="141777" cy="108685"/>
          </a:xfrm>
          <a:custGeom>
            <a:avLst/>
            <a:gdLst>
              <a:gd name="f0" fmla="val 10800000"/>
              <a:gd name="f1" fmla="val 5400000"/>
              <a:gd name="f2" fmla="val 180"/>
              <a:gd name="f3" fmla="val w"/>
              <a:gd name="f4" fmla="val h"/>
              <a:gd name="f5" fmla="val 0"/>
              <a:gd name="f6" fmla="val 339"/>
              <a:gd name="f7" fmla="val 293"/>
              <a:gd name="f8" fmla="val 335"/>
              <a:gd name="f9" fmla="val 69"/>
              <a:gd name="f10" fmla="val 290"/>
              <a:gd name="f11" fmla="val 23"/>
              <a:gd name="f12" fmla="val 229"/>
              <a:gd name="f13" fmla="val 169"/>
              <a:gd name="f14" fmla="val 109"/>
              <a:gd name="f15" fmla="val 49"/>
              <a:gd name="f16" fmla="val 3"/>
              <a:gd name="f17" fmla="val 72"/>
              <a:gd name="f18" fmla="val 77"/>
              <a:gd name="f19" fmla="val 80"/>
              <a:gd name="f20" fmla="val 4"/>
              <a:gd name="f21" fmla="val 82"/>
              <a:gd name="f22" fmla="val 6"/>
              <a:gd name="f23" fmla="val 8"/>
              <a:gd name="f24" fmla="val 10"/>
              <a:gd name="f25" fmla="val 13"/>
              <a:gd name="f26" fmla="val 14"/>
              <a:gd name="f27" fmla="val 57"/>
              <a:gd name="f28" fmla="val 37"/>
              <a:gd name="f29" fmla="val 113"/>
              <a:gd name="f30" fmla="val 16"/>
              <a:gd name="f31" fmla="val 225"/>
              <a:gd name="f32" fmla="val 281"/>
              <a:gd name="f33" fmla="val 324"/>
              <a:gd name="f34" fmla="val 327"/>
              <a:gd name="f35" fmla="val 83"/>
              <a:gd name="f36" fmla="val 332"/>
              <a:gd name="f37" fmla="val 68"/>
              <a:gd name="f38" fmla="val 126"/>
              <a:gd name="f39" fmla="val 84"/>
              <a:gd name="f40" fmla="val 51"/>
              <a:gd name="f41" fmla="val 117"/>
              <a:gd name="f42" fmla="val 48"/>
              <a:gd name="f43" fmla="val 120"/>
              <a:gd name="f44" fmla="val 125"/>
              <a:gd name="f45" fmla="val 128"/>
              <a:gd name="f46" fmla="val 52"/>
              <a:gd name="f47" fmla="val 130"/>
              <a:gd name="f48" fmla="val 55"/>
              <a:gd name="f49" fmla="val 59"/>
              <a:gd name="f50" fmla="val 61"/>
              <a:gd name="f51" fmla="val 62"/>
              <a:gd name="f52" fmla="val 92"/>
              <a:gd name="f53" fmla="val 99"/>
              <a:gd name="f54" fmla="val 208"/>
              <a:gd name="f55" fmla="val 246"/>
              <a:gd name="f56" fmla="val 276"/>
              <a:gd name="f57" fmla="val 279"/>
              <a:gd name="f58" fmla="val 131"/>
              <a:gd name="f59" fmla="val 284"/>
              <a:gd name="f60" fmla="val 287"/>
              <a:gd name="f61" fmla="val 255"/>
              <a:gd name="f62" fmla="val 212"/>
              <a:gd name="f63" fmla="val 136"/>
              <a:gd name="f64" fmla="val 144"/>
              <a:gd name="f65" fmla="val 118"/>
              <a:gd name="f66" fmla="val 146"/>
              <a:gd name="f67" fmla="val 165"/>
              <a:gd name="f68" fmla="val 96"/>
              <a:gd name="f69" fmla="val 168"/>
              <a:gd name="f70" fmla="val 173"/>
              <a:gd name="f71" fmla="val 176"/>
              <a:gd name="f72" fmla="val 102"/>
              <a:gd name="f73" fmla="val 179"/>
              <a:gd name="f74" fmla="val 107"/>
              <a:gd name="f75" fmla="val 110"/>
              <a:gd name="f76" fmla="val 127"/>
              <a:gd name="f77" fmla="val 160"/>
              <a:gd name="f78" fmla="val 148"/>
              <a:gd name="f79" fmla="val 152"/>
              <a:gd name="f80" fmla="val 190"/>
              <a:gd name="f81" fmla="val 228"/>
              <a:gd name="f82" fmla="val 178"/>
              <a:gd name="f83" fmla="val 231"/>
              <a:gd name="f84" fmla="val 234"/>
              <a:gd name="f85" fmla="val 236"/>
              <a:gd name="f86" fmla="val 238"/>
              <a:gd name="f87" fmla="val 239"/>
              <a:gd name="f88" fmla="val 242"/>
              <a:gd name="f89" fmla="val 220"/>
              <a:gd name="f90" fmla="val 194"/>
              <a:gd name="f91" fmla="val 139"/>
              <a:gd name="f92" fmla="val 217"/>
              <a:gd name="f93" fmla="val 123"/>
              <a:gd name="f94" fmla="val 260"/>
              <a:gd name="f95" fmla="val 277"/>
              <a:gd name="f96" fmla="val 156"/>
              <a:gd name="f97" fmla="val 183"/>
              <a:gd name="f98" fmla="val 199"/>
              <a:gd name="f99" fmla="val 216"/>
              <a:gd name="f100" fmla="val 200"/>
              <a:gd name="f101" fmla="+- 0 0 -90"/>
              <a:gd name="f102" fmla="*/ f3 1 339"/>
              <a:gd name="f103" fmla="*/ f4 1 293"/>
              <a:gd name="f104" fmla="+- f7 0 f5"/>
              <a:gd name="f105" fmla="+- f6 0 f5"/>
              <a:gd name="f106" fmla="*/ f101 f0 1"/>
              <a:gd name="f107" fmla="*/ f105 1 339"/>
              <a:gd name="f108" fmla="*/ f104 1 293"/>
              <a:gd name="f109" fmla="*/ 2147483647 f105 1"/>
              <a:gd name="f110" fmla="*/ 2147483647 f104 1"/>
              <a:gd name="f111" fmla="*/ 0 f104 1"/>
              <a:gd name="f112" fmla="*/ 0 f105 1"/>
              <a:gd name="f113" fmla="*/ 339 f105 1"/>
              <a:gd name="f114" fmla="*/ 293 f104 1"/>
              <a:gd name="f115" fmla="*/ f106 1 f2"/>
              <a:gd name="f116" fmla="*/ f109 1 339"/>
              <a:gd name="f117" fmla="*/ f110 1 293"/>
              <a:gd name="f118" fmla="*/ f111 1 293"/>
              <a:gd name="f119" fmla="*/ f112 1 339"/>
              <a:gd name="f120" fmla="*/ f113 1 339"/>
              <a:gd name="f121" fmla="*/ f114 1 293"/>
              <a:gd name="f122" fmla="+- f115 0 f1"/>
              <a:gd name="f123" fmla="*/ f116 1 f107"/>
              <a:gd name="f124" fmla="*/ f117 1 f108"/>
              <a:gd name="f125" fmla="*/ f118 1 f108"/>
              <a:gd name="f126" fmla="*/ f119 1 f107"/>
              <a:gd name="f127" fmla="*/ f120 1 f107"/>
              <a:gd name="f128" fmla="*/ f121 1 f108"/>
              <a:gd name="f129" fmla="*/ f126 f102 1"/>
              <a:gd name="f130" fmla="*/ f127 f102 1"/>
              <a:gd name="f131" fmla="*/ f128 f103 1"/>
              <a:gd name="f132" fmla="*/ f125 f103 1"/>
              <a:gd name="f133" fmla="*/ f123 f102 1"/>
              <a:gd name="f134" fmla="*/ f124 f103 1"/>
            </a:gdLst>
            <a:ahLst/>
            <a:cxnLst>
              <a:cxn ang="3cd4">
                <a:pos x="hc" y="t"/>
              </a:cxn>
              <a:cxn ang="0">
                <a:pos x="r" y="vc"/>
              </a:cxn>
              <a:cxn ang="cd4">
                <a:pos x="hc" y="b"/>
              </a:cxn>
              <a:cxn ang="cd2">
                <a:pos x="l" y="vc"/>
              </a:cxn>
              <a:cxn ang="f122">
                <a:pos x="f133" y="f134"/>
              </a:cxn>
              <a:cxn ang="f122">
                <a:pos x="f133" y="f132"/>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Lst>
            <a:rect l="f129" t="f132" r="f130" b="f131"/>
            <a:pathLst>
              <a:path w="339" h="293">
                <a:moveTo>
                  <a:pt x="f8" y="f9"/>
                </a:moveTo>
                <a:cubicBezTo>
                  <a:pt x="f10" y="f11"/>
                  <a:pt x="f12" y="f5"/>
                  <a:pt x="f13" y="f5"/>
                </a:cubicBezTo>
                <a:cubicBezTo>
                  <a:pt x="f14" y="f5"/>
                  <a:pt x="f15" y="f11"/>
                  <a:pt x="f16" y="f9"/>
                </a:cubicBezTo>
                <a:cubicBezTo>
                  <a:pt x="f5" y="f17"/>
                  <a:pt x="f5" y="f18"/>
                  <a:pt x="f16" y="f19"/>
                </a:cubicBezTo>
                <a:cubicBezTo>
                  <a:pt x="f20" y="f21"/>
                  <a:pt x="f22" y="f21"/>
                  <a:pt x="f23" y="f21"/>
                </a:cubicBezTo>
                <a:cubicBezTo>
                  <a:pt x="f24" y="f21"/>
                  <a:pt x="f25" y="f21"/>
                  <a:pt x="f26" y="f19"/>
                </a:cubicBezTo>
                <a:cubicBezTo>
                  <a:pt x="f27" y="f28"/>
                  <a:pt x="f29" y="f30"/>
                  <a:pt x="f13" y="f30"/>
                </a:cubicBezTo>
                <a:cubicBezTo>
                  <a:pt x="f31" y="f30"/>
                  <a:pt x="f32" y="f28"/>
                  <a:pt x="f33" y="f19"/>
                </a:cubicBezTo>
                <a:cubicBezTo>
                  <a:pt x="f34" y="f35"/>
                  <a:pt x="f36" y="f35"/>
                  <a:pt x="f8" y="f19"/>
                </a:cubicBezTo>
                <a:cubicBezTo>
                  <a:pt x="f6" y="f18"/>
                  <a:pt x="f6" y="f17"/>
                  <a:pt x="f8" y="f9"/>
                </a:cubicBezTo>
                <a:close/>
                <a:moveTo>
                  <a:pt x="f13" y="f37"/>
                </a:moveTo>
                <a:cubicBezTo>
                  <a:pt x="f38" y="f37"/>
                  <a:pt x="f39" y="f39"/>
                  <a:pt x="f40" y="f41"/>
                </a:cubicBezTo>
                <a:cubicBezTo>
                  <a:pt x="f42" y="f43"/>
                  <a:pt x="f42" y="f44"/>
                  <a:pt x="f40" y="f45"/>
                </a:cubicBezTo>
                <a:cubicBezTo>
                  <a:pt x="f46" y="f47"/>
                  <a:pt x="f48" y="f47"/>
                  <a:pt x="f27" y="f47"/>
                </a:cubicBezTo>
                <a:cubicBezTo>
                  <a:pt x="f49" y="f47"/>
                  <a:pt x="f50" y="f47"/>
                  <a:pt x="f51" y="f45"/>
                </a:cubicBezTo>
                <a:cubicBezTo>
                  <a:pt x="f51" y="f45"/>
                  <a:pt x="f51" y="f45"/>
                  <a:pt x="f51" y="f45"/>
                </a:cubicBezTo>
                <a:cubicBezTo>
                  <a:pt x="f52" y="f53"/>
                  <a:pt x="f47" y="f39"/>
                  <a:pt x="f13" y="f39"/>
                </a:cubicBezTo>
                <a:cubicBezTo>
                  <a:pt x="f54" y="f39"/>
                  <a:pt x="f55" y="f53"/>
                  <a:pt x="f56" y="f45"/>
                </a:cubicBezTo>
                <a:cubicBezTo>
                  <a:pt x="f57" y="f58"/>
                  <a:pt x="f59" y="f58"/>
                  <a:pt x="f60" y="f45"/>
                </a:cubicBezTo>
                <a:cubicBezTo>
                  <a:pt x="f10" y="f44"/>
                  <a:pt x="f10" y="f43"/>
                  <a:pt x="f60" y="f41"/>
                </a:cubicBezTo>
                <a:cubicBezTo>
                  <a:pt x="f61" y="f39"/>
                  <a:pt x="f62" y="f37"/>
                  <a:pt x="f13" y="f37"/>
                </a:cubicBezTo>
                <a:close/>
                <a:moveTo>
                  <a:pt x="f13" y="f63"/>
                </a:moveTo>
                <a:cubicBezTo>
                  <a:pt x="f64" y="f63"/>
                  <a:pt x="f65" y="f66"/>
                  <a:pt x="f53" y="f67"/>
                </a:cubicBezTo>
                <a:cubicBezTo>
                  <a:pt x="f68" y="f69"/>
                  <a:pt x="f68" y="f70"/>
                  <a:pt x="f53" y="f71"/>
                </a:cubicBezTo>
                <a:cubicBezTo>
                  <a:pt x="f72" y="f73"/>
                  <a:pt x="f74" y="f73"/>
                  <a:pt x="f75" y="f71"/>
                </a:cubicBezTo>
                <a:cubicBezTo>
                  <a:pt x="f75" y="f71"/>
                  <a:pt x="f75" y="f71"/>
                  <a:pt x="f75" y="f71"/>
                </a:cubicBezTo>
                <a:cubicBezTo>
                  <a:pt x="f76" y="f77"/>
                  <a:pt x="f78" y="f79"/>
                  <a:pt x="f13" y="f79"/>
                </a:cubicBezTo>
                <a:cubicBezTo>
                  <a:pt x="f80" y="f79"/>
                  <a:pt x="f62" y="f77"/>
                  <a:pt x="f81" y="f71"/>
                </a:cubicBezTo>
                <a:cubicBezTo>
                  <a:pt x="f12" y="f82"/>
                  <a:pt x="f83" y="f73"/>
                  <a:pt x="f84" y="f73"/>
                </a:cubicBezTo>
                <a:cubicBezTo>
                  <a:pt x="f85" y="f73"/>
                  <a:pt x="f86" y="f82"/>
                  <a:pt x="f87" y="f71"/>
                </a:cubicBezTo>
                <a:cubicBezTo>
                  <a:pt x="f88" y="f70"/>
                  <a:pt x="f88" y="f69"/>
                  <a:pt x="f87" y="f67"/>
                </a:cubicBezTo>
                <a:cubicBezTo>
                  <a:pt x="f89" y="f66"/>
                  <a:pt x="f90" y="f63"/>
                  <a:pt x="f13" y="f63"/>
                </a:cubicBezTo>
                <a:close/>
                <a:moveTo>
                  <a:pt x="f91" y="f92"/>
                </a:moveTo>
                <a:cubicBezTo>
                  <a:pt x="f93" y="f84"/>
                  <a:pt x="f93" y="f94"/>
                  <a:pt x="f91" y="f95"/>
                </a:cubicBezTo>
                <a:cubicBezTo>
                  <a:pt x="f96" y="f7"/>
                  <a:pt x="f97" y="f7"/>
                  <a:pt x="f98" y="f95"/>
                </a:cubicBezTo>
                <a:cubicBezTo>
                  <a:pt x="f99" y="f94"/>
                  <a:pt x="f99" y="f84"/>
                  <a:pt x="f98" y="f92"/>
                </a:cubicBezTo>
                <a:cubicBezTo>
                  <a:pt x="f97" y="f100"/>
                  <a:pt x="f96" y="f100"/>
                  <a:pt x="f91" y="f92"/>
                </a:cubicBezTo>
                <a:close/>
              </a:path>
            </a:pathLst>
          </a:custGeom>
          <a:solidFill>
            <a:srgbClr val="00A9D4"/>
          </a:solidFill>
          <a:ln cap="flat">
            <a:noFill/>
            <a:prstDash val="solid"/>
          </a:ln>
        </p:spPr>
        <p:txBody>
          <a:bodyPr vert="horz" wrap="square" lIns="91440" tIns="45720" rIns="91440" bIns="45720" anchor="t" anchorCtr="1" compatLnSpc="1">
            <a:noAutofit/>
          </a:bodyPr>
          <a:lstStyle/>
          <a:p>
            <a:pPr marL="0" marR="0" lvl="0" indent="0" algn="ctr"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1" i="0" u="none" strike="noStrike" kern="1200" cap="none" spc="0" baseline="0">
              <a:solidFill>
                <a:srgbClr val="58585A"/>
              </a:solidFill>
              <a:uFillTx/>
              <a:latin typeface="Arial"/>
            </a:endParaRPr>
          </a:p>
        </p:txBody>
      </p:sp>
      <p:sp>
        <p:nvSpPr>
          <p:cNvPr id="40" name="Freeform 3">
            <a:extLst>
              <a:ext uri="{FF2B5EF4-FFF2-40B4-BE49-F238E27FC236}">
                <a16:creationId xmlns:a16="http://schemas.microsoft.com/office/drawing/2014/main" id="{0E027E68-B8FE-4E38-AF3B-876B8BD82F07}"/>
              </a:ext>
            </a:extLst>
          </p:cNvPr>
          <p:cNvSpPr/>
          <p:nvPr/>
        </p:nvSpPr>
        <p:spPr>
          <a:xfrm>
            <a:off x="5883624" y="4166659"/>
            <a:ext cx="459705" cy="213338"/>
          </a:xfrm>
          <a:custGeom>
            <a:avLst/>
            <a:gdLst>
              <a:gd name="f0" fmla="val 10800000"/>
              <a:gd name="f1" fmla="val 5400000"/>
              <a:gd name="f2" fmla="val 180"/>
              <a:gd name="f3" fmla="val w"/>
              <a:gd name="f4" fmla="val h"/>
              <a:gd name="f5" fmla="val 0"/>
              <a:gd name="f6" fmla="val 448"/>
              <a:gd name="f7" fmla="val 208"/>
              <a:gd name="f8" fmla="val 447"/>
              <a:gd name="f9" fmla="val 114"/>
              <a:gd name="f10" fmla="val 446"/>
              <a:gd name="f11" fmla="val 110"/>
              <a:gd name="f12" fmla="val 442"/>
              <a:gd name="f13" fmla="val 107"/>
              <a:gd name="f14" fmla="val 438"/>
              <a:gd name="f15" fmla="val 108"/>
              <a:gd name="f16" fmla="val 433"/>
              <a:gd name="f17" fmla="val 109"/>
              <a:gd name="f18" fmla="val 431"/>
              <a:gd name="f19" fmla="val 432"/>
              <a:gd name="f20" fmla="val 118"/>
              <a:gd name="f21" fmla="val 120"/>
              <a:gd name="f22" fmla="val 122"/>
              <a:gd name="f23" fmla="val 125"/>
              <a:gd name="f24" fmla="val 142"/>
              <a:gd name="f25" fmla="val 428"/>
              <a:gd name="f26" fmla="val 154"/>
              <a:gd name="f27" fmla="val 423"/>
              <a:gd name="f28" fmla="val 161"/>
              <a:gd name="f29" fmla="val 420"/>
              <a:gd name="f30" fmla="val 164"/>
              <a:gd name="f31" fmla="val 418"/>
              <a:gd name="f32" fmla="val 167"/>
              <a:gd name="f33" fmla="val 417"/>
              <a:gd name="f34" fmla="val 169"/>
              <a:gd name="f35" fmla="val 416"/>
              <a:gd name="f36" fmla="val 408"/>
              <a:gd name="f37" fmla="val 165"/>
              <a:gd name="f38" fmla="val 163"/>
              <a:gd name="f39" fmla="val 139"/>
              <a:gd name="f40" fmla="val 388"/>
              <a:gd name="f41" fmla="val 119"/>
              <a:gd name="f42" fmla="val 363"/>
              <a:gd name="f43" fmla="val 339"/>
              <a:gd name="f44" fmla="val 319"/>
              <a:gd name="f45" fmla="val 141"/>
              <a:gd name="f46" fmla="val 121"/>
              <a:gd name="f47" fmla="val 96"/>
              <a:gd name="f48" fmla="val 72"/>
              <a:gd name="f49" fmla="val 52"/>
              <a:gd name="f50" fmla="val 29"/>
              <a:gd name="f51" fmla="val 23"/>
              <a:gd name="f52" fmla="val 22"/>
              <a:gd name="f53" fmla="val 19"/>
              <a:gd name="f54" fmla="val 17"/>
              <a:gd name="f55" fmla="val 159"/>
              <a:gd name="f56" fmla="val 16"/>
              <a:gd name="f57" fmla="val 152"/>
              <a:gd name="f58" fmla="val 147"/>
              <a:gd name="f59" fmla="val 136"/>
              <a:gd name="f60" fmla="val 21"/>
              <a:gd name="f61" fmla="val 126"/>
              <a:gd name="f62" fmla="val 31"/>
              <a:gd name="f63" fmla="val 44"/>
              <a:gd name="f64" fmla="val 105"/>
              <a:gd name="f65" fmla="val 67"/>
              <a:gd name="f66" fmla="val 86"/>
              <a:gd name="f67" fmla="val 90"/>
              <a:gd name="f68" fmla="val 95"/>
              <a:gd name="f69" fmla="val 87"/>
              <a:gd name="f70" fmla="val 103"/>
              <a:gd name="f71" fmla="val 85"/>
              <a:gd name="f72" fmla="val 84"/>
              <a:gd name="f73" fmla="val 83"/>
              <a:gd name="f74" fmla="val 117"/>
              <a:gd name="f75" fmla="val 82"/>
              <a:gd name="f76" fmla="val 384"/>
              <a:gd name="f77" fmla="val 385"/>
              <a:gd name="f78" fmla="val 386"/>
              <a:gd name="f79" fmla="val 387"/>
              <a:gd name="f80" fmla="val 392"/>
              <a:gd name="f81" fmla="val 406"/>
              <a:gd name="f82" fmla="val 89"/>
              <a:gd name="f83" fmla="val 97"/>
              <a:gd name="f84" fmla="val 100"/>
              <a:gd name="f85" fmla="val 425"/>
              <a:gd name="f86" fmla="val 99"/>
              <a:gd name="f87" fmla="val 92"/>
              <a:gd name="f88" fmla="val 430"/>
              <a:gd name="f89" fmla="val 426"/>
              <a:gd name="f90" fmla="val 412"/>
              <a:gd name="f91" fmla="val 74"/>
              <a:gd name="f92" fmla="val 397"/>
              <a:gd name="f93" fmla="val 69"/>
              <a:gd name="f94" fmla="val 390"/>
              <a:gd name="f95" fmla="val 381"/>
              <a:gd name="f96" fmla="val 55"/>
              <a:gd name="f97" fmla="val 333"/>
              <a:gd name="f98" fmla="val 248"/>
              <a:gd name="f99" fmla="val 123"/>
              <a:gd name="f100" fmla="val 53"/>
              <a:gd name="f101" fmla="val 113"/>
              <a:gd name="f102" fmla="val 68"/>
              <a:gd name="f103" fmla="val 73"/>
              <a:gd name="f104" fmla="val 60"/>
              <a:gd name="f105" fmla="val 46"/>
              <a:gd name="f106" fmla="val 88"/>
              <a:gd name="f107" fmla="val 20"/>
              <a:gd name="f108" fmla="val 106"/>
              <a:gd name="f109" fmla="val 8"/>
              <a:gd name="f110" fmla="val 116"/>
              <a:gd name="f111" fmla="val 130"/>
              <a:gd name="f112" fmla="val 153"/>
              <a:gd name="f113" fmla="val 1"/>
              <a:gd name="f114" fmla="val 162"/>
              <a:gd name="f115" fmla="val 5"/>
              <a:gd name="f116" fmla="val 170"/>
              <a:gd name="f117" fmla="val 178"/>
              <a:gd name="f118" fmla="val 185"/>
              <a:gd name="f119" fmla="val 57"/>
              <a:gd name="f120" fmla="val 65"/>
              <a:gd name="f121" fmla="val 199"/>
              <a:gd name="f122" fmla="val 80"/>
              <a:gd name="f123" fmla="val 128"/>
              <a:gd name="f124" fmla="val 135"/>
              <a:gd name="f125" fmla="val 324"/>
              <a:gd name="f126" fmla="val 332"/>
              <a:gd name="f127" fmla="val 347"/>
              <a:gd name="f128" fmla="val 380"/>
              <a:gd name="f129" fmla="val 395"/>
              <a:gd name="f130" fmla="val 402"/>
              <a:gd name="f131" fmla="val 419"/>
              <a:gd name="f132" fmla="val 422"/>
              <a:gd name="f133" fmla="val 184"/>
              <a:gd name="f134" fmla="val 424"/>
              <a:gd name="f135" fmla="val 183"/>
              <a:gd name="f136" fmla="val 166"/>
              <a:gd name="f137" fmla="val 256"/>
              <a:gd name="f138" fmla="val 296"/>
              <a:gd name="f139" fmla="val 18"/>
              <a:gd name="f140" fmla="val 326"/>
              <a:gd name="f141" fmla="val 32"/>
              <a:gd name="f142" fmla="val 346"/>
              <a:gd name="f143" fmla="val 47"/>
              <a:gd name="f144" fmla="val 356"/>
              <a:gd name="f145" fmla="val 54"/>
              <a:gd name="f146" fmla="val 368"/>
              <a:gd name="f147" fmla="val 66"/>
              <a:gd name="f148" fmla="val 240"/>
              <a:gd name="f149" fmla="val 134"/>
              <a:gd name="f150" fmla="val 149"/>
              <a:gd name="f151" fmla="val 49"/>
              <a:gd name="f152" fmla="val 192"/>
              <a:gd name="f153" fmla="val 179"/>
              <a:gd name="f154" fmla="val 148"/>
              <a:gd name="f155" fmla="val 112"/>
              <a:gd name="f156" fmla="val 348"/>
              <a:gd name="f157" fmla="val 335"/>
              <a:gd name="f158" fmla="val 379"/>
              <a:gd name="f159" fmla="+- 0 0 -90"/>
              <a:gd name="f160" fmla="*/ f3 1 448"/>
              <a:gd name="f161" fmla="*/ f4 1 208"/>
              <a:gd name="f162" fmla="+- f7 0 f5"/>
              <a:gd name="f163" fmla="+- f6 0 f5"/>
              <a:gd name="f164" fmla="*/ f159 f0 1"/>
              <a:gd name="f165" fmla="*/ f163 1 448"/>
              <a:gd name="f166" fmla="*/ f162 1 208"/>
              <a:gd name="f167" fmla="*/ 2147483647 f163 1"/>
              <a:gd name="f168" fmla="*/ 2147483647 f162 1"/>
              <a:gd name="f169" fmla="*/ f164 1 f2"/>
              <a:gd name="f170" fmla="*/ f167 1 448"/>
              <a:gd name="f171" fmla="*/ f168 1 208"/>
              <a:gd name="f172" fmla="*/ 0 1 f165"/>
              <a:gd name="f173" fmla="*/ f6 1 f165"/>
              <a:gd name="f174" fmla="*/ 0 1 f166"/>
              <a:gd name="f175" fmla="*/ f7 1 f166"/>
              <a:gd name="f176" fmla="+- f169 0 f1"/>
              <a:gd name="f177" fmla="*/ f170 1 f165"/>
              <a:gd name="f178" fmla="*/ f171 1 f166"/>
              <a:gd name="f179" fmla="*/ f172 f160 1"/>
              <a:gd name="f180" fmla="*/ f173 f160 1"/>
              <a:gd name="f181" fmla="*/ f175 f161 1"/>
              <a:gd name="f182" fmla="*/ f174 f161 1"/>
              <a:gd name="f183" fmla="*/ f177 f160 1"/>
              <a:gd name="f184" fmla="*/ f178 f161 1"/>
            </a:gdLst>
            <a:ahLst/>
            <a:cxnLst>
              <a:cxn ang="3cd4">
                <a:pos x="hc" y="t"/>
              </a:cxn>
              <a:cxn ang="0">
                <a:pos x="r" y="vc"/>
              </a:cxn>
              <a:cxn ang="cd4">
                <a:pos x="hc" y="b"/>
              </a:cxn>
              <a:cxn ang="cd2">
                <a:pos x="l" y="vc"/>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Lst>
            <a:rect l="f179" t="f182" r="f180" b="f181"/>
            <a:pathLst>
              <a:path w="448" h="208">
                <a:moveTo>
                  <a:pt x="f8" y="f9"/>
                </a:moveTo>
                <a:cubicBezTo>
                  <a:pt x="f10" y="f11"/>
                  <a:pt x="f12" y="f13"/>
                  <a:pt x="f14" y="f15"/>
                </a:cubicBezTo>
                <a:cubicBezTo>
                  <a:pt x="f16" y="f17"/>
                  <a:pt x="f18" y="f9"/>
                  <a:pt x="f19" y="f20"/>
                </a:cubicBezTo>
                <a:cubicBezTo>
                  <a:pt x="f19" y="f21"/>
                  <a:pt x="f19" y="f22"/>
                  <a:pt x="f19" y="f23"/>
                </a:cubicBezTo>
                <a:cubicBezTo>
                  <a:pt x="f19" y="f24"/>
                  <a:pt x="f25" y="f26"/>
                  <a:pt x="f27" y="f28"/>
                </a:cubicBezTo>
                <a:cubicBezTo>
                  <a:pt x="f29" y="f30"/>
                  <a:pt x="f31" y="f32"/>
                  <a:pt x="f33" y="f34"/>
                </a:cubicBezTo>
                <a:cubicBezTo>
                  <a:pt x="f35" y="f34"/>
                  <a:pt x="f35" y="f34"/>
                  <a:pt x="f35" y="f34"/>
                </a:cubicBezTo>
                <a:cubicBezTo>
                  <a:pt x="f36" y="f34"/>
                  <a:pt x="f36" y="f34"/>
                  <a:pt x="f36" y="f34"/>
                </a:cubicBezTo>
                <a:cubicBezTo>
                  <a:pt x="f36" y="f32"/>
                  <a:pt x="f36" y="f37"/>
                  <a:pt x="f36" y="f38"/>
                </a:cubicBezTo>
                <a:cubicBezTo>
                  <a:pt x="f36" y="f39"/>
                  <a:pt x="f40" y="f41"/>
                  <a:pt x="f42" y="f41"/>
                </a:cubicBezTo>
                <a:cubicBezTo>
                  <a:pt x="f43" y="f41"/>
                  <a:pt x="f44" y="f39"/>
                  <a:pt x="f44" y="f38"/>
                </a:cubicBezTo>
                <a:cubicBezTo>
                  <a:pt x="f44" y="f37"/>
                  <a:pt x="f44" y="f32"/>
                  <a:pt x="f44" y="f34"/>
                </a:cubicBezTo>
                <a:cubicBezTo>
                  <a:pt x="f45" y="f34"/>
                  <a:pt x="f45" y="f34"/>
                  <a:pt x="f45" y="f34"/>
                </a:cubicBezTo>
                <a:cubicBezTo>
                  <a:pt x="f45" y="f32"/>
                  <a:pt x="f45" y="f37"/>
                  <a:pt x="f45" y="f38"/>
                </a:cubicBezTo>
                <a:cubicBezTo>
                  <a:pt x="f45" y="f39"/>
                  <a:pt x="f46" y="f41"/>
                  <a:pt x="f47" y="f41"/>
                </a:cubicBezTo>
                <a:cubicBezTo>
                  <a:pt x="f48" y="f41"/>
                  <a:pt x="f49" y="f39"/>
                  <a:pt x="f49" y="f38"/>
                </a:cubicBezTo>
                <a:cubicBezTo>
                  <a:pt x="f49" y="f37"/>
                  <a:pt x="f49" y="f32"/>
                  <a:pt x="f49" y="f34"/>
                </a:cubicBezTo>
                <a:cubicBezTo>
                  <a:pt x="f50" y="f34"/>
                  <a:pt x="f50" y="f34"/>
                  <a:pt x="f50" y="f34"/>
                </a:cubicBezTo>
                <a:cubicBezTo>
                  <a:pt x="f51" y="f34"/>
                  <a:pt x="f52" y="f32"/>
                  <a:pt x="f53" y="f38"/>
                </a:cubicBezTo>
                <a:cubicBezTo>
                  <a:pt x="f54" y="f55"/>
                  <a:pt x="f56" y="f57"/>
                  <a:pt x="f56" y="f58"/>
                </a:cubicBezTo>
                <a:cubicBezTo>
                  <a:pt x="f56" y="f59"/>
                  <a:pt x="f60" y="f61"/>
                  <a:pt x="f62" y="f20"/>
                </a:cubicBezTo>
                <a:cubicBezTo>
                  <a:pt x="f63" y="f64"/>
                  <a:pt x="f65" y="f47"/>
                  <a:pt x="f66" y="f67"/>
                </a:cubicBezTo>
                <a:cubicBezTo>
                  <a:pt x="f68" y="f69"/>
                  <a:pt x="f70" y="f71"/>
                  <a:pt x="f11" y="f72"/>
                </a:cubicBezTo>
                <a:cubicBezTo>
                  <a:pt x="f9" y="f73"/>
                  <a:pt x="f74" y="f75"/>
                  <a:pt x="f41" y="f75"/>
                </a:cubicBezTo>
                <a:cubicBezTo>
                  <a:pt x="f76" y="f75"/>
                  <a:pt x="f76" y="f75"/>
                  <a:pt x="f76" y="f75"/>
                </a:cubicBezTo>
                <a:cubicBezTo>
                  <a:pt x="f77" y="f75"/>
                  <a:pt x="f78" y="f75"/>
                  <a:pt x="f79" y="f73"/>
                </a:cubicBezTo>
                <a:cubicBezTo>
                  <a:pt x="f80" y="f72"/>
                  <a:pt x="f81" y="f82"/>
                  <a:pt x="f33" y="f83"/>
                </a:cubicBezTo>
                <a:cubicBezTo>
                  <a:pt x="f29" y="f84"/>
                  <a:pt x="f85" y="f86"/>
                  <a:pt x="f25" y="f68"/>
                </a:cubicBezTo>
                <a:cubicBezTo>
                  <a:pt x="f18" y="f87"/>
                  <a:pt x="f88" y="f69"/>
                  <a:pt x="f89" y="f72"/>
                </a:cubicBezTo>
                <a:cubicBezTo>
                  <a:pt x="f90" y="f91"/>
                  <a:pt x="f92" y="f93"/>
                  <a:pt x="f94" y="f65"/>
                </a:cubicBezTo>
                <a:cubicBezTo>
                  <a:pt x="f95" y="f96"/>
                  <a:pt x="f97" y="f5"/>
                  <a:pt x="f98" y="f5"/>
                </a:cubicBezTo>
                <a:cubicBezTo>
                  <a:pt x="f37" y="f5"/>
                  <a:pt x="f99" y="f100"/>
                  <a:pt x="f101" y="f65"/>
                </a:cubicBezTo>
                <a:cubicBezTo>
                  <a:pt x="f64" y="f102"/>
                  <a:pt x="f73" y="f103"/>
                  <a:pt x="f104" y="f75"/>
                </a:cubicBezTo>
                <a:cubicBezTo>
                  <a:pt x="f105" y="f106"/>
                  <a:pt x="f62" y="f47"/>
                  <a:pt x="f107" y="f108"/>
                </a:cubicBezTo>
                <a:cubicBezTo>
                  <a:pt x="f109" y="f110"/>
                  <a:pt x="f5" y="f111"/>
                  <a:pt x="f5" y="f58"/>
                </a:cubicBezTo>
                <a:cubicBezTo>
                  <a:pt x="f5" y="f112"/>
                  <a:pt x="f113" y="f114"/>
                  <a:pt x="f115" y="f116"/>
                </a:cubicBezTo>
                <a:cubicBezTo>
                  <a:pt x="f109" y="f117"/>
                  <a:pt x="f54" y="f118"/>
                  <a:pt x="f50" y="f118"/>
                </a:cubicBezTo>
                <a:cubicBezTo>
                  <a:pt x="f119" y="f118"/>
                  <a:pt x="f119" y="f118"/>
                  <a:pt x="f119" y="f118"/>
                </a:cubicBezTo>
                <a:cubicBezTo>
                  <a:pt x="f120" y="f121"/>
                  <a:pt x="f122" y="f7"/>
                  <a:pt x="f47" y="f7"/>
                </a:cubicBezTo>
                <a:cubicBezTo>
                  <a:pt x="f101" y="f7"/>
                  <a:pt x="f123" y="f121"/>
                  <a:pt x="f124" y="f118"/>
                </a:cubicBezTo>
                <a:cubicBezTo>
                  <a:pt x="f125" y="f118"/>
                  <a:pt x="f125" y="f118"/>
                  <a:pt x="f125" y="f118"/>
                </a:cubicBezTo>
                <a:cubicBezTo>
                  <a:pt x="f126" y="f121"/>
                  <a:pt x="f127" y="f7"/>
                  <a:pt x="f42" y="f7"/>
                </a:cubicBezTo>
                <a:cubicBezTo>
                  <a:pt x="f128" y="f7"/>
                  <a:pt x="f129" y="f121"/>
                  <a:pt x="f130" y="f118"/>
                </a:cubicBezTo>
                <a:cubicBezTo>
                  <a:pt x="f130" y="f118"/>
                  <a:pt x="f130" y="f118"/>
                  <a:pt x="f130" y="f118"/>
                </a:cubicBezTo>
                <a:cubicBezTo>
                  <a:pt x="f131" y="f118"/>
                  <a:pt x="f131" y="f118"/>
                  <a:pt x="f131" y="f118"/>
                </a:cubicBezTo>
                <a:cubicBezTo>
                  <a:pt x="f29" y="f118"/>
                  <a:pt x="f132" y="f118"/>
                  <a:pt x="f27" y="f133"/>
                </a:cubicBezTo>
                <a:cubicBezTo>
                  <a:pt x="f134" y="f135"/>
                  <a:pt x="f6" y="f136"/>
                  <a:pt x="f6" y="f23"/>
                </a:cubicBezTo>
                <a:cubicBezTo>
                  <a:pt x="f6" y="f46"/>
                  <a:pt x="f6" y="f74"/>
                  <a:pt x="f8" y="f9"/>
                </a:cubicBezTo>
                <a:close/>
                <a:moveTo>
                  <a:pt x="f137" y="f56"/>
                </a:moveTo>
                <a:cubicBezTo>
                  <a:pt x="f138" y="f139"/>
                  <a:pt x="f140" y="f141"/>
                  <a:pt x="f142" y="f143"/>
                </a:cubicBezTo>
                <a:cubicBezTo>
                  <a:pt x="f144" y="f145"/>
                  <a:pt x="f42" y="f104"/>
                  <a:pt x="f146" y="f147"/>
                </a:cubicBezTo>
                <a:cubicBezTo>
                  <a:pt x="f137" y="f147"/>
                  <a:pt x="f137" y="f147"/>
                  <a:pt x="f137" y="f147"/>
                </a:cubicBezTo>
                <a:lnTo>
                  <a:pt x="f137" y="f56"/>
                </a:lnTo>
                <a:close/>
                <a:moveTo>
                  <a:pt x="f148" y="f56"/>
                </a:moveTo>
                <a:cubicBezTo>
                  <a:pt x="f148" y="f147"/>
                  <a:pt x="f148" y="f147"/>
                  <a:pt x="f148" y="f147"/>
                </a:cubicBezTo>
                <a:cubicBezTo>
                  <a:pt x="f149" y="f147"/>
                  <a:pt x="f149" y="f147"/>
                  <a:pt x="f149" y="f147"/>
                </a:cubicBezTo>
                <a:cubicBezTo>
                  <a:pt x="f150" y="f151"/>
                  <a:pt x="f135" y="f139"/>
                  <a:pt x="f148" y="f56"/>
                </a:cubicBezTo>
                <a:close/>
                <a:moveTo>
                  <a:pt x="f47" y="f152"/>
                </a:moveTo>
                <a:cubicBezTo>
                  <a:pt x="f122" y="f152"/>
                  <a:pt x="f102" y="f153"/>
                  <a:pt x="f102" y="f38"/>
                </a:cubicBezTo>
                <a:cubicBezTo>
                  <a:pt x="f102" y="f154"/>
                  <a:pt x="f122" y="f124"/>
                  <a:pt x="f47" y="f124"/>
                </a:cubicBezTo>
                <a:cubicBezTo>
                  <a:pt x="f155" y="f124"/>
                  <a:pt x="f23" y="f154"/>
                  <a:pt x="f23" y="f38"/>
                </a:cubicBezTo>
                <a:cubicBezTo>
                  <a:pt x="f23" y="f153"/>
                  <a:pt x="f155" y="f152"/>
                  <a:pt x="f47" y="f152"/>
                </a:cubicBezTo>
                <a:close/>
                <a:moveTo>
                  <a:pt x="f42" y="f152"/>
                </a:moveTo>
                <a:cubicBezTo>
                  <a:pt x="f156" y="f152"/>
                  <a:pt x="f157" y="f153"/>
                  <a:pt x="f157" y="f38"/>
                </a:cubicBezTo>
                <a:cubicBezTo>
                  <a:pt x="f157" y="f154"/>
                  <a:pt x="f156" y="f124"/>
                  <a:pt x="f42" y="f124"/>
                </a:cubicBezTo>
                <a:cubicBezTo>
                  <a:pt x="f158" y="f124"/>
                  <a:pt x="f80" y="f154"/>
                  <a:pt x="f80" y="f38"/>
                </a:cubicBezTo>
                <a:cubicBezTo>
                  <a:pt x="f80" y="f153"/>
                  <a:pt x="f158" y="f152"/>
                  <a:pt x="f42" y="f152"/>
                </a:cubicBezTo>
                <a:close/>
              </a:path>
            </a:pathLst>
          </a:custGeom>
          <a:solidFill>
            <a:srgbClr val="00A9D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1" i="0" u="none" strike="noStrike" kern="1200" cap="none" spc="0" baseline="0">
              <a:solidFill>
                <a:srgbClr val="58585A"/>
              </a:solidFill>
              <a:uFillTx/>
              <a:latin typeface="Arial"/>
            </a:endParaRPr>
          </a:p>
        </p:txBody>
      </p:sp>
      <p:sp>
        <p:nvSpPr>
          <p:cNvPr id="41" name="Freeform 3">
            <a:extLst>
              <a:ext uri="{FF2B5EF4-FFF2-40B4-BE49-F238E27FC236}">
                <a16:creationId xmlns:a16="http://schemas.microsoft.com/office/drawing/2014/main" id="{444ED30A-D2CB-4026-8361-BE79CAB828B9}"/>
              </a:ext>
            </a:extLst>
          </p:cNvPr>
          <p:cNvSpPr/>
          <p:nvPr/>
        </p:nvSpPr>
        <p:spPr>
          <a:xfrm>
            <a:off x="5985753" y="5254091"/>
            <a:ext cx="243641" cy="332009"/>
          </a:xfrm>
          <a:custGeom>
            <a:avLst/>
            <a:gdLst>
              <a:gd name="f0" fmla="val 10800000"/>
              <a:gd name="f1" fmla="val 5400000"/>
              <a:gd name="f2" fmla="val 180"/>
              <a:gd name="f3" fmla="val w"/>
              <a:gd name="f4" fmla="val h"/>
              <a:gd name="f5" fmla="val 0"/>
              <a:gd name="f6" fmla="val 302"/>
              <a:gd name="f7" fmla="val 412"/>
              <a:gd name="f8" fmla="val 221"/>
              <a:gd name="f9" fmla="val 241"/>
              <a:gd name="f10" fmla="val 237"/>
              <a:gd name="f11" fmla="val 217"/>
              <a:gd name="f12" fmla="val 234"/>
              <a:gd name="f13" fmla="val 213"/>
              <a:gd name="f14" fmla="val 193"/>
              <a:gd name="f15" fmla="val 189"/>
              <a:gd name="f16" fmla="val 186"/>
              <a:gd name="f17" fmla="val 261"/>
              <a:gd name="f18" fmla="val 265"/>
              <a:gd name="f19" fmla="val 268"/>
              <a:gd name="f20" fmla="val 140"/>
              <a:gd name="f21" fmla="val 136"/>
              <a:gd name="f22" fmla="val 133"/>
              <a:gd name="f23" fmla="val 160"/>
              <a:gd name="f24" fmla="val 164"/>
              <a:gd name="f25" fmla="val 167"/>
              <a:gd name="f26" fmla="val 284"/>
              <a:gd name="f27" fmla="val 288"/>
              <a:gd name="f28" fmla="val 292"/>
              <a:gd name="f29" fmla="val 311"/>
              <a:gd name="f30" fmla="val 316"/>
              <a:gd name="f31" fmla="val 319"/>
              <a:gd name="f32" fmla="val 170"/>
              <a:gd name="f33" fmla="val 166"/>
              <a:gd name="f34" fmla="val 162"/>
              <a:gd name="f35" fmla="val 142"/>
              <a:gd name="f36" fmla="val 138"/>
              <a:gd name="f37" fmla="val 135"/>
              <a:gd name="f38" fmla="val 191"/>
              <a:gd name="f39" fmla="val 187"/>
              <a:gd name="f40" fmla="val 183"/>
              <a:gd name="f41" fmla="val 210"/>
              <a:gd name="f42" fmla="val 215"/>
              <a:gd name="f43" fmla="val 218"/>
              <a:gd name="f44" fmla="val 272"/>
              <a:gd name="f45" fmla="val 264"/>
              <a:gd name="f46" fmla="val 244"/>
              <a:gd name="f47" fmla="val 240"/>
              <a:gd name="f48" fmla="val 294"/>
              <a:gd name="f49" fmla="val 154"/>
              <a:gd name="f50" fmla="val 290"/>
              <a:gd name="f51" fmla="val 286"/>
              <a:gd name="f52" fmla="val 157"/>
              <a:gd name="f53" fmla="val 396"/>
              <a:gd name="f54" fmla="val 343"/>
              <a:gd name="f55" fmla="val 339"/>
              <a:gd name="f56" fmla="val 182"/>
              <a:gd name="f57" fmla="val 335"/>
              <a:gd name="f58" fmla="val 178"/>
              <a:gd name="f59" fmla="val 128"/>
              <a:gd name="f60" fmla="val 123"/>
              <a:gd name="f61" fmla="val 120"/>
              <a:gd name="f62" fmla="val 16"/>
              <a:gd name="f63" fmla="val 109"/>
              <a:gd name="f64" fmla="val 111"/>
              <a:gd name="f65" fmla="val 113"/>
              <a:gd name="f66" fmla="val 188"/>
              <a:gd name="f67" fmla="val 115"/>
              <a:gd name="f68" fmla="val 190"/>
              <a:gd name="f69" fmla="val 116"/>
              <a:gd name="f70" fmla="val 192"/>
              <a:gd name="f71" fmla="val 117"/>
              <a:gd name="f72" fmla="val 194"/>
              <a:gd name="f73" fmla="val 130"/>
              <a:gd name="f74" fmla="val 134"/>
              <a:gd name="f75" fmla="val 298"/>
              <a:gd name="f76" fmla="val 108"/>
              <a:gd name="f77" fmla="val 295"/>
              <a:gd name="f78" fmla="val 101"/>
              <a:gd name="f79" fmla="val 202"/>
              <a:gd name="f80" fmla="val 7"/>
              <a:gd name="f81" fmla="val 195"/>
              <a:gd name="f82" fmla="val 8"/>
              <a:gd name="f83" fmla="val 404"/>
              <a:gd name="f84" fmla="val 67"/>
              <a:gd name="f85" fmla="val 64"/>
              <a:gd name="f86" fmla="val 60"/>
              <a:gd name="f87" fmla="val 40"/>
              <a:gd name="f88" fmla="val 36"/>
              <a:gd name="f89" fmla="val 32"/>
              <a:gd name="f90" fmla="val 39"/>
              <a:gd name="f91" fmla="val 35"/>
              <a:gd name="f92" fmla="val 59"/>
              <a:gd name="f93" fmla="val 63"/>
              <a:gd name="f94" fmla="val 66"/>
              <a:gd name="f95" fmla="val 90"/>
              <a:gd name="f96" fmla="val 86"/>
              <a:gd name="f97" fmla="val 82"/>
              <a:gd name="f98" fmla="val 114"/>
              <a:gd name="f99" fmla="val 118"/>
              <a:gd name="f100" fmla="val 91"/>
              <a:gd name="f101" fmla="val 87"/>
              <a:gd name="f102" fmla="val 84"/>
              <a:gd name="f103" fmla="+- 0 0 -90"/>
              <a:gd name="f104" fmla="*/ f3 1 302"/>
              <a:gd name="f105" fmla="*/ f4 1 412"/>
              <a:gd name="f106" fmla="+- f7 0 f5"/>
              <a:gd name="f107" fmla="+- f6 0 f5"/>
              <a:gd name="f108" fmla="*/ f103 f0 1"/>
              <a:gd name="f109" fmla="*/ f107 1 302"/>
              <a:gd name="f110" fmla="*/ f106 1 412"/>
              <a:gd name="f111" fmla="*/ 2147483647 f107 1"/>
              <a:gd name="f112" fmla="*/ 2147483647 f106 1"/>
              <a:gd name="f113" fmla="*/ 0 f107 1"/>
              <a:gd name="f114" fmla="*/ f108 1 f2"/>
              <a:gd name="f115" fmla="*/ f111 1 302"/>
              <a:gd name="f116" fmla="*/ f112 1 412"/>
              <a:gd name="f117" fmla="*/ f113 1 302"/>
              <a:gd name="f118" fmla="*/ 0 1 f109"/>
              <a:gd name="f119" fmla="*/ f6 1 f109"/>
              <a:gd name="f120" fmla="*/ 0 1 f110"/>
              <a:gd name="f121" fmla="*/ f7 1 f110"/>
              <a:gd name="f122" fmla="+- f114 0 f1"/>
              <a:gd name="f123" fmla="*/ f115 1 f109"/>
              <a:gd name="f124" fmla="*/ f116 1 f110"/>
              <a:gd name="f125" fmla="*/ f117 1 f109"/>
              <a:gd name="f126" fmla="*/ f118 f104 1"/>
              <a:gd name="f127" fmla="*/ f119 f104 1"/>
              <a:gd name="f128" fmla="*/ f121 f105 1"/>
              <a:gd name="f129" fmla="*/ f120 f105 1"/>
              <a:gd name="f130" fmla="*/ f123 f104 1"/>
              <a:gd name="f131" fmla="*/ f124 f105 1"/>
              <a:gd name="f132" fmla="*/ f125 f104 1"/>
            </a:gdLst>
            <a:ahLst/>
            <a:cxnLst>
              <a:cxn ang="3cd4">
                <a:pos x="hc" y="t"/>
              </a:cxn>
              <a:cxn ang="0">
                <a:pos x="r" y="vc"/>
              </a:cxn>
              <a:cxn ang="cd4">
                <a:pos x="hc" y="b"/>
              </a:cxn>
              <a:cxn ang="cd2">
                <a:pos x="l" y="vc"/>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2"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Lst>
            <a:rect l="f126" t="f129" r="f127" b="f128"/>
            <a:pathLst>
              <a:path w="302" h="412">
                <a:moveTo>
                  <a:pt x="f8" y="f9"/>
                </a:moveTo>
                <a:cubicBezTo>
                  <a:pt x="f8" y="f10"/>
                  <a:pt x="f11" y="f12"/>
                  <a:pt x="f13" y="f12"/>
                </a:cubicBezTo>
                <a:cubicBezTo>
                  <a:pt x="f14" y="f12"/>
                  <a:pt x="f14" y="f12"/>
                  <a:pt x="f14" y="f12"/>
                </a:cubicBezTo>
                <a:cubicBezTo>
                  <a:pt x="f15" y="f12"/>
                  <a:pt x="f16" y="f10"/>
                  <a:pt x="f16" y="f9"/>
                </a:cubicBezTo>
                <a:cubicBezTo>
                  <a:pt x="f16" y="f17"/>
                  <a:pt x="f16" y="f17"/>
                  <a:pt x="f16" y="f17"/>
                </a:cubicBezTo>
                <a:cubicBezTo>
                  <a:pt x="f16" y="f18"/>
                  <a:pt x="f15" y="f19"/>
                  <a:pt x="f14" y="f19"/>
                </a:cubicBezTo>
                <a:cubicBezTo>
                  <a:pt x="f13" y="f19"/>
                  <a:pt x="f13" y="f19"/>
                  <a:pt x="f13" y="f19"/>
                </a:cubicBezTo>
                <a:cubicBezTo>
                  <a:pt x="f11" y="f19"/>
                  <a:pt x="f8" y="f18"/>
                  <a:pt x="f8" y="f17"/>
                </a:cubicBezTo>
                <a:lnTo>
                  <a:pt x="f8" y="f9"/>
                </a:lnTo>
                <a:close/>
                <a:moveTo>
                  <a:pt x="f8" y="f20"/>
                </a:moveTo>
                <a:cubicBezTo>
                  <a:pt x="f8" y="f21"/>
                  <a:pt x="f11" y="f22"/>
                  <a:pt x="f13" y="f22"/>
                </a:cubicBezTo>
                <a:cubicBezTo>
                  <a:pt x="f14" y="f22"/>
                  <a:pt x="f14" y="f22"/>
                  <a:pt x="f14" y="f22"/>
                </a:cubicBezTo>
                <a:cubicBezTo>
                  <a:pt x="f15" y="f22"/>
                  <a:pt x="f16" y="f21"/>
                  <a:pt x="f16" y="f20"/>
                </a:cubicBezTo>
                <a:cubicBezTo>
                  <a:pt x="f16" y="f23"/>
                  <a:pt x="f16" y="f23"/>
                  <a:pt x="f16" y="f23"/>
                </a:cubicBezTo>
                <a:cubicBezTo>
                  <a:pt x="f16" y="f24"/>
                  <a:pt x="f15" y="f25"/>
                  <a:pt x="f14" y="f25"/>
                </a:cubicBezTo>
                <a:cubicBezTo>
                  <a:pt x="f13" y="f25"/>
                  <a:pt x="f13" y="f25"/>
                  <a:pt x="f13" y="f25"/>
                </a:cubicBezTo>
                <a:cubicBezTo>
                  <a:pt x="f11" y="f25"/>
                  <a:pt x="f8" y="f24"/>
                  <a:pt x="f8" y="f23"/>
                </a:cubicBezTo>
                <a:lnTo>
                  <a:pt x="f8" y="f20"/>
                </a:lnTo>
                <a:close/>
                <a:moveTo>
                  <a:pt x="f13" y="f26"/>
                </a:moveTo>
                <a:cubicBezTo>
                  <a:pt x="f14" y="f26"/>
                  <a:pt x="f14" y="f26"/>
                  <a:pt x="f14" y="f26"/>
                </a:cubicBezTo>
                <a:cubicBezTo>
                  <a:pt x="f15" y="f26"/>
                  <a:pt x="f16" y="f27"/>
                  <a:pt x="f16" y="f28"/>
                </a:cubicBezTo>
                <a:cubicBezTo>
                  <a:pt x="f16" y="f29"/>
                  <a:pt x="f16" y="f29"/>
                  <a:pt x="f16" y="f29"/>
                </a:cubicBezTo>
                <a:cubicBezTo>
                  <a:pt x="f16" y="f30"/>
                  <a:pt x="f15" y="f31"/>
                  <a:pt x="f14" y="f31"/>
                </a:cubicBezTo>
                <a:cubicBezTo>
                  <a:pt x="f13" y="f31"/>
                  <a:pt x="f13" y="f31"/>
                  <a:pt x="f13" y="f31"/>
                </a:cubicBezTo>
                <a:cubicBezTo>
                  <a:pt x="f11" y="f31"/>
                  <a:pt x="f8" y="f30"/>
                  <a:pt x="f8" y="f29"/>
                </a:cubicBezTo>
                <a:cubicBezTo>
                  <a:pt x="f8" y="f28"/>
                  <a:pt x="f8" y="f28"/>
                  <a:pt x="f8" y="f28"/>
                </a:cubicBezTo>
                <a:cubicBezTo>
                  <a:pt x="f8" y="f27"/>
                  <a:pt x="f11" y="f26"/>
                  <a:pt x="f13" y="f26"/>
                </a:cubicBezTo>
                <a:close/>
                <a:moveTo>
                  <a:pt x="f32" y="f9"/>
                </a:moveTo>
                <a:cubicBezTo>
                  <a:pt x="f32" y="f10"/>
                  <a:pt x="f33" y="f12"/>
                  <a:pt x="f34" y="f12"/>
                </a:cubicBezTo>
                <a:cubicBezTo>
                  <a:pt x="f35" y="f12"/>
                  <a:pt x="f35" y="f12"/>
                  <a:pt x="f35" y="f12"/>
                </a:cubicBezTo>
                <a:cubicBezTo>
                  <a:pt x="f36" y="f12"/>
                  <a:pt x="f37" y="f10"/>
                  <a:pt x="f37" y="f9"/>
                </a:cubicBezTo>
                <a:cubicBezTo>
                  <a:pt x="f37" y="f17"/>
                  <a:pt x="f37" y="f17"/>
                  <a:pt x="f37" y="f17"/>
                </a:cubicBezTo>
                <a:cubicBezTo>
                  <a:pt x="f37" y="f18"/>
                  <a:pt x="f36" y="f19"/>
                  <a:pt x="f35" y="f19"/>
                </a:cubicBezTo>
                <a:cubicBezTo>
                  <a:pt x="f34" y="f19"/>
                  <a:pt x="f34" y="f19"/>
                  <a:pt x="f34" y="f19"/>
                </a:cubicBezTo>
                <a:cubicBezTo>
                  <a:pt x="f33" y="f19"/>
                  <a:pt x="f32" y="f18"/>
                  <a:pt x="f32" y="f17"/>
                </a:cubicBezTo>
                <a:lnTo>
                  <a:pt x="f32" y="f9"/>
                </a:lnTo>
                <a:close/>
                <a:moveTo>
                  <a:pt x="f32" y="f38"/>
                </a:moveTo>
                <a:cubicBezTo>
                  <a:pt x="f32" y="f39"/>
                  <a:pt x="f33" y="f40"/>
                  <a:pt x="f34" y="f40"/>
                </a:cubicBezTo>
                <a:cubicBezTo>
                  <a:pt x="f35" y="f40"/>
                  <a:pt x="f35" y="f40"/>
                  <a:pt x="f35" y="f40"/>
                </a:cubicBezTo>
                <a:cubicBezTo>
                  <a:pt x="f36" y="f40"/>
                  <a:pt x="f37" y="f39"/>
                  <a:pt x="f37" y="f38"/>
                </a:cubicBezTo>
                <a:cubicBezTo>
                  <a:pt x="f37" y="f41"/>
                  <a:pt x="f37" y="f41"/>
                  <a:pt x="f37" y="f41"/>
                </a:cubicBezTo>
                <a:cubicBezTo>
                  <a:pt x="f37" y="f42"/>
                  <a:pt x="f36" y="f43"/>
                  <a:pt x="f35" y="f43"/>
                </a:cubicBezTo>
                <a:cubicBezTo>
                  <a:pt x="f34" y="f43"/>
                  <a:pt x="f34" y="f43"/>
                  <a:pt x="f34" y="f43"/>
                </a:cubicBezTo>
                <a:cubicBezTo>
                  <a:pt x="f33" y="f43"/>
                  <a:pt x="f32" y="f42"/>
                  <a:pt x="f32" y="f41"/>
                </a:cubicBezTo>
                <a:lnTo>
                  <a:pt x="f32" y="f38"/>
                </a:lnTo>
                <a:close/>
                <a:moveTo>
                  <a:pt x="f34" y="f26"/>
                </a:moveTo>
                <a:cubicBezTo>
                  <a:pt x="f35" y="f26"/>
                  <a:pt x="f35" y="f26"/>
                  <a:pt x="f35" y="f26"/>
                </a:cubicBezTo>
                <a:cubicBezTo>
                  <a:pt x="f36" y="f26"/>
                  <a:pt x="f37" y="f27"/>
                  <a:pt x="f37" y="f28"/>
                </a:cubicBezTo>
                <a:cubicBezTo>
                  <a:pt x="f37" y="f29"/>
                  <a:pt x="f37" y="f29"/>
                  <a:pt x="f37" y="f29"/>
                </a:cubicBezTo>
                <a:cubicBezTo>
                  <a:pt x="f37" y="f30"/>
                  <a:pt x="f36" y="f31"/>
                  <a:pt x="f35" y="f31"/>
                </a:cubicBezTo>
                <a:cubicBezTo>
                  <a:pt x="f34" y="f31"/>
                  <a:pt x="f34" y="f31"/>
                  <a:pt x="f34" y="f31"/>
                </a:cubicBezTo>
                <a:cubicBezTo>
                  <a:pt x="f33" y="f31"/>
                  <a:pt x="f32" y="f30"/>
                  <a:pt x="f32" y="f29"/>
                </a:cubicBezTo>
                <a:cubicBezTo>
                  <a:pt x="f32" y="f28"/>
                  <a:pt x="f32" y="f28"/>
                  <a:pt x="f32" y="f28"/>
                </a:cubicBezTo>
                <a:cubicBezTo>
                  <a:pt x="f32" y="f27"/>
                  <a:pt x="f33" y="f26"/>
                  <a:pt x="f34" y="f26"/>
                </a:cubicBezTo>
                <a:close/>
                <a:moveTo>
                  <a:pt x="f8" y="f38"/>
                </a:moveTo>
                <a:cubicBezTo>
                  <a:pt x="f8" y="f39"/>
                  <a:pt x="f11" y="f40"/>
                  <a:pt x="f13" y="f40"/>
                </a:cubicBezTo>
                <a:cubicBezTo>
                  <a:pt x="f14" y="f40"/>
                  <a:pt x="f14" y="f40"/>
                  <a:pt x="f14" y="f40"/>
                </a:cubicBezTo>
                <a:cubicBezTo>
                  <a:pt x="f15" y="f40"/>
                  <a:pt x="f16" y="f39"/>
                  <a:pt x="f16" y="f38"/>
                </a:cubicBezTo>
                <a:cubicBezTo>
                  <a:pt x="f16" y="f41"/>
                  <a:pt x="f16" y="f41"/>
                  <a:pt x="f16" y="f41"/>
                </a:cubicBezTo>
                <a:cubicBezTo>
                  <a:pt x="f16" y="f42"/>
                  <a:pt x="f15" y="f43"/>
                  <a:pt x="f14" y="f43"/>
                </a:cubicBezTo>
                <a:cubicBezTo>
                  <a:pt x="f13" y="f43"/>
                  <a:pt x="f13" y="f43"/>
                  <a:pt x="f13" y="f43"/>
                </a:cubicBezTo>
                <a:cubicBezTo>
                  <a:pt x="f11" y="f43"/>
                  <a:pt x="f8" y="f42"/>
                  <a:pt x="f8" y="f41"/>
                </a:cubicBezTo>
                <a:lnTo>
                  <a:pt x="f8" y="f38"/>
                </a:lnTo>
                <a:close/>
                <a:moveTo>
                  <a:pt x="f44" y="f20"/>
                </a:moveTo>
                <a:cubicBezTo>
                  <a:pt x="f44" y="f21"/>
                  <a:pt x="f19" y="f22"/>
                  <a:pt x="f45" y="f22"/>
                </a:cubicBezTo>
                <a:cubicBezTo>
                  <a:pt x="f46" y="f22"/>
                  <a:pt x="f46" y="f22"/>
                  <a:pt x="f46" y="f22"/>
                </a:cubicBezTo>
                <a:cubicBezTo>
                  <a:pt x="f47" y="f22"/>
                  <a:pt x="f10" y="f21"/>
                  <a:pt x="f10" y="f20"/>
                </a:cubicBezTo>
                <a:cubicBezTo>
                  <a:pt x="f10" y="f23"/>
                  <a:pt x="f10" y="f23"/>
                  <a:pt x="f10" y="f23"/>
                </a:cubicBezTo>
                <a:cubicBezTo>
                  <a:pt x="f10" y="f24"/>
                  <a:pt x="f47" y="f25"/>
                  <a:pt x="f46" y="f25"/>
                </a:cubicBezTo>
                <a:cubicBezTo>
                  <a:pt x="f45" y="f25"/>
                  <a:pt x="f45" y="f25"/>
                  <a:pt x="f45" y="f25"/>
                </a:cubicBezTo>
                <a:cubicBezTo>
                  <a:pt x="f19" y="f25"/>
                  <a:pt x="f44" y="f24"/>
                  <a:pt x="f44" y="f23"/>
                </a:cubicBezTo>
                <a:lnTo>
                  <a:pt x="f44" y="f20"/>
                </a:lnTo>
                <a:close/>
                <a:moveTo>
                  <a:pt x="f48" y="f49"/>
                </a:moveTo>
                <a:cubicBezTo>
                  <a:pt x="f50" y="f49"/>
                  <a:pt x="f51" y="f52"/>
                  <a:pt x="f51" y="f34"/>
                </a:cubicBezTo>
                <a:cubicBezTo>
                  <a:pt x="f51" y="f53"/>
                  <a:pt x="f51" y="f53"/>
                  <a:pt x="f51" y="f53"/>
                </a:cubicBezTo>
                <a:cubicBezTo>
                  <a:pt x="f16" y="f53"/>
                  <a:pt x="f16" y="f53"/>
                  <a:pt x="f16" y="f53"/>
                </a:cubicBezTo>
                <a:cubicBezTo>
                  <a:pt x="f16" y="f54"/>
                  <a:pt x="f16" y="f54"/>
                  <a:pt x="f16" y="f54"/>
                </a:cubicBezTo>
                <a:cubicBezTo>
                  <a:pt x="f16" y="f55"/>
                  <a:pt x="f56" y="f57"/>
                  <a:pt x="f58" y="f57"/>
                </a:cubicBezTo>
                <a:cubicBezTo>
                  <a:pt x="f59" y="f57"/>
                  <a:pt x="f59" y="f57"/>
                  <a:pt x="f59" y="f57"/>
                </a:cubicBezTo>
                <a:cubicBezTo>
                  <a:pt x="f60" y="f57"/>
                  <a:pt x="f61" y="f55"/>
                  <a:pt x="f61" y="f54"/>
                </a:cubicBezTo>
                <a:cubicBezTo>
                  <a:pt x="f61" y="f53"/>
                  <a:pt x="f61" y="f53"/>
                  <a:pt x="f61" y="f53"/>
                </a:cubicBezTo>
                <a:cubicBezTo>
                  <a:pt x="f62" y="f53"/>
                  <a:pt x="f62" y="f53"/>
                  <a:pt x="f62" y="f53"/>
                </a:cubicBezTo>
                <a:cubicBezTo>
                  <a:pt x="f62" y="f62"/>
                  <a:pt x="f62" y="f62"/>
                  <a:pt x="f62" y="f62"/>
                </a:cubicBezTo>
                <a:cubicBezTo>
                  <a:pt x="f16" y="f62"/>
                  <a:pt x="f16" y="f62"/>
                  <a:pt x="f16" y="f62"/>
                </a:cubicBezTo>
                <a:cubicBezTo>
                  <a:pt x="f16" y="f63"/>
                  <a:pt x="f16" y="f63"/>
                  <a:pt x="f16" y="f63"/>
                </a:cubicBezTo>
                <a:cubicBezTo>
                  <a:pt x="f16" y="f64"/>
                  <a:pt x="f39" y="f65"/>
                  <a:pt x="f66" y="f67"/>
                </a:cubicBezTo>
                <a:cubicBezTo>
                  <a:pt x="f68" y="f69"/>
                  <a:pt x="f70" y="f71"/>
                  <a:pt x="f72" y="f71"/>
                </a:cubicBezTo>
                <a:cubicBezTo>
                  <a:pt x="f51" y="f71"/>
                  <a:pt x="f51" y="f71"/>
                  <a:pt x="f51" y="f71"/>
                </a:cubicBezTo>
                <a:cubicBezTo>
                  <a:pt x="f51" y="f73"/>
                  <a:pt x="f51" y="f73"/>
                  <a:pt x="f51" y="f73"/>
                </a:cubicBezTo>
                <a:cubicBezTo>
                  <a:pt x="f51" y="f74"/>
                  <a:pt x="f50" y="f36"/>
                  <a:pt x="f48" y="f36"/>
                </a:cubicBezTo>
                <a:cubicBezTo>
                  <a:pt x="f75" y="f36"/>
                  <a:pt x="f6" y="f74"/>
                  <a:pt x="f6" y="f73"/>
                </a:cubicBezTo>
                <a:cubicBezTo>
                  <a:pt x="f6" y="f73"/>
                  <a:pt x="f6" y="f73"/>
                  <a:pt x="f6" y="f73"/>
                </a:cubicBezTo>
                <a:cubicBezTo>
                  <a:pt x="f6" y="f71"/>
                  <a:pt x="f6" y="f71"/>
                  <a:pt x="f6" y="f71"/>
                </a:cubicBezTo>
                <a:cubicBezTo>
                  <a:pt x="f6" y="f76"/>
                  <a:pt x="f77" y="f78"/>
                  <a:pt x="f51" y="f78"/>
                </a:cubicBezTo>
                <a:cubicBezTo>
                  <a:pt x="f79" y="f78"/>
                  <a:pt x="f79" y="f78"/>
                  <a:pt x="f79" y="f78"/>
                </a:cubicBezTo>
                <a:cubicBezTo>
                  <a:pt x="f79" y="f62"/>
                  <a:pt x="f79" y="f62"/>
                  <a:pt x="f79" y="f62"/>
                </a:cubicBezTo>
                <a:cubicBezTo>
                  <a:pt x="f79" y="f80"/>
                  <a:pt x="f81" y="f5"/>
                  <a:pt x="f16" y="f5"/>
                </a:cubicBezTo>
                <a:cubicBezTo>
                  <a:pt x="f62" y="f5"/>
                  <a:pt x="f62" y="f5"/>
                  <a:pt x="f62" y="f5"/>
                </a:cubicBezTo>
                <a:cubicBezTo>
                  <a:pt x="f82" y="f5"/>
                  <a:pt x="f5" y="f80"/>
                  <a:pt x="f5" y="f62"/>
                </a:cubicBezTo>
                <a:cubicBezTo>
                  <a:pt x="f5" y="f53"/>
                  <a:pt x="f5" y="f53"/>
                  <a:pt x="f5" y="f53"/>
                </a:cubicBezTo>
                <a:cubicBezTo>
                  <a:pt x="f5" y="f83"/>
                  <a:pt x="f82" y="f7"/>
                  <a:pt x="f62" y="f7"/>
                </a:cubicBezTo>
                <a:cubicBezTo>
                  <a:pt x="f51" y="f7"/>
                  <a:pt x="f51" y="f7"/>
                  <a:pt x="f51" y="f7"/>
                </a:cubicBezTo>
                <a:cubicBezTo>
                  <a:pt x="f77" y="f7"/>
                  <a:pt x="f6" y="f83"/>
                  <a:pt x="f6" y="f53"/>
                </a:cubicBezTo>
                <a:cubicBezTo>
                  <a:pt x="f6" y="f34"/>
                  <a:pt x="f6" y="f34"/>
                  <a:pt x="f6" y="f34"/>
                </a:cubicBezTo>
                <a:cubicBezTo>
                  <a:pt x="f6" y="f52"/>
                  <a:pt x="f75" y="f49"/>
                  <a:pt x="f48" y="f49"/>
                </a:cubicBezTo>
                <a:close/>
                <a:moveTo>
                  <a:pt x="f32" y="f20"/>
                </a:moveTo>
                <a:cubicBezTo>
                  <a:pt x="f32" y="f21"/>
                  <a:pt x="f33" y="f22"/>
                  <a:pt x="f34" y="f22"/>
                </a:cubicBezTo>
                <a:cubicBezTo>
                  <a:pt x="f35" y="f22"/>
                  <a:pt x="f35" y="f22"/>
                  <a:pt x="f35" y="f22"/>
                </a:cubicBezTo>
                <a:cubicBezTo>
                  <a:pt x="f36" y="f22"/>
                  <a:pt x="f37" y="f21"/>
                  <a:pt x="f37" y="f20"/>
                </a:cubicBezTo>
                <a:cubicBezTo>
                  <a:pt x="f37" y="f23"/>
                  <a:pt x="f37" y="f23"/>
                  <a:pt x="f37" y="f23"/>
                </a:cubicBezTo>
                <a:cubicBezTo>
                  <a:pt x="f37" y="f24"/>
                  <a:pt x="f36" y="f25"/>
                  <a:pt x="f35" y="f25"/>
                </a:cubicBezTo>
                <a:cubicBezTo>
                  <a:pt x="f34" y="f25"/>
                  <a:pt x="f34" y="f25"/>
                  <a:pt x="f34" y="f25"/>
                </a:cubicBezTo>
                <a:cubicBezTo>
                  <a:pt x="f33" y="f25"/>
                  <a:pt x="f32" y="f24"/>
                  <a:pt x="f32" y="f23"/>
                </a:cubicBezTo>
                <a:lnTo>
                  <a:pt x="f32" y="f20"/>
                </a:lnTo>
                <a:close/>
                <a:moveTo>
                  <a:pt x="f44" y="f9"/>
                </a:moveTo>
                <a:cubicBezTo>
                  <a:pt x="f44" y="f10"/>
                  <a:pt x="f19" y="f12"/>
                  <a:pt x="f45" y="f12"/>
                </a:cubicBezTo>
                <a:cubicBezTo>
                  <a:pt x="f46" y="f12"/>
                  <a:pt x="f46" y="f12"/>
                  <a:pt x="f46" y="f12"/>
                </a:cubicBezTo>
                <a:cubicBezTo>
                  <a:pt x="f47" y="f12"/>
                  <a:pt x="f10" y="f10"/>
                  <a:pt x="f10" y="f9"/>
                </a:cubicBezTo>
                <a:cubicBezTo>
                  <a:pt x="f10" y="f17"/>
                  <a:pt x="f10" y="f17"/>
                  <a:pt x="f10" y="f17"/>
                </a:cubicBezTo>
                <a:cubicBezTo>
                  <a:pt x="f10" y="f18"/>
                  <a:pt x="f47" y="f19"/>
                  <a:pt x="f46" y="f19"/>
                </a:cubicBezTo>
                <a:cubicBezTo>
                  <a:pt x="f45" y="f19"/>
                  <a:pt x="f45" y="f19"/>
                  <a:pt x="f45" y="f19"/>
                </a:cubicBezTo>
                <a:cubicBezTo>
                  <a:pt x="f19" y="f19"/>
                  <a:pt x="f44" y="f18"/>
                  <a:pt x="f44" y="f17"/>
                </a:cubicBezTo>
                <a:lnTo>
                  <a:pt x="f44" y="f9"/>
                </a:lnTo>
                <a:close/>
                <a:moveTo>
                  <a:pt x="f44" y="f38"/>
                </a:moveTo>
                <a:cubicBezTo>
                  <a:pt x="f44" y="f39"/>
                  <a:pt x="f19" y="f40"/>
                  <a:pt x="f45" y="f40"/>
                </a:cubicBezTo>
                <a:cubicBezTo>
                  <a:pt x="f46" y="f40"/>
                  <a:pt x="f46" y="f40"/>
                  <a:pt x="f46" y="f40"/>
                </a:cubicBezTo>
                <a:cubicBezTo>
                  <a:pt x="f47" y="f40"/>
                  <a:pt x="f10" y="f39"/>
                  <a:pt x="f10" y="f38"/>
                </a:cubicBezTo>
                <a:cubicBezTo>
                  <a:pt x="f10" y="f41"/>
                  <a:pt x="f10" y="f41"/>
                  <a:pt x="f10" y="f41"/>
                </a:cubicBezTo>
                <a:cubicBezTo>
                  <a:pt x="f10" y="f42"/>
                  <a:pt x="f47" y="f43"/>
                  <a:pt x="f46" y="f43"/>
                </a:cubicBezTo>
                <a:cubicBezTo>
                  <a:pt x="f45" y="f43"/>
                  <a:pt x="f45" y="f43"/>
                  <a:pt x="f45" y="f43"/>
                </a:cubicBezTo>
                <a:cubicBezTo>
                  <a:pt x="f19" y="f43"/>
                  <a:pt x="f44" y="f42"/>
                  <a:pt x="f44" y="f41"/>
                </a:cubicBezTo>
                <a:lnTo>
                  <a:pt x="f44" y="f38"/>
                </a:lnTo>
                <a:close/>
                <a:moveTo>
                  <a:pt x="f45" y="f26"/>
                </a:moveTo>
                <a:cubicBezTo>
                  <a:pt x="f46" y="f26"/>
                  <a:pt x="f46" y="f26"/>
                  <a:pt x="f46" y="f26"/>
                </a:cubicBezTo>
                <a:cubicBezTo>
                  <a:pt x="f47" y="f26"/>
                  <a:pt x="f10" y="f27"/>
                  <a:pt x="f10" y="f28"/>
                </a:cubicBezTo>
                <a:cubicBezTo>
                  <a:pt x="f10" y="f29"/>
                  <a:pt x="f10" y="f29"/>
                  <a:pt x="f10" y="f29"/>
                </a:cubicBezTo>
                <a:cubicBezTo>
                  <a:pt x="f10" y="f30"/>
                  <a:pt x="f47" y="f31"/>
                  <a:pt x="f46" y="f31"/>
                </a:cubicBezTo>
                <a:cubicBezTo>
                  <a:pt x="f45" y="f31"/>
                  <a:pt x="f45" y="f31"/>
                  <a:pt x="f45" y="f31"/>
                </a:cubicBezTo>
                <a:cubicBezTo>
                  <a:pt x="f19" y="f31"/>
                  <a:pt x="f44" y="f30"/>
                  <a:pt x="f44" y="f29"/>
                </a:cubicBezTo>
                <a:cubicBezTo>
                  <a:pt x="f44" y="f28"/>
                  <a:pt x="f44" y="f28"/>
                  <a:pt x="f44" y="f28"/>
                </a:cubicBezTo>
                <a:cubicBezTo>
                  <a:pt x="f44" y="f27"/>
                  <a:pt x="f19" y="f26"/>
                  <a:pt x="f45" y="f26"/>
                </a:cubicBezTo>
                <a:close/>
                <a:moveTo>
                  <a:pt x="f84" y="f20"/>
                </a:moveTo>
                <a:cubicBezTo>
                  <a:pt x="f84" y="f21"/>
                  <a:pt x="f85" y="f22"/>
                  <a:pt x="f86" y="f22"/>
                </a:cubicBezTo>
                <a:cubicBezTo>
                  <a:pt x="f87" y="f22"/>
                  <a:pt x="f87" y="f22"/>
                  <a:pt x="f87" y="f22"/>
                </a:cubicBezTo>
                <a:cubicBezTo>
                  <a:pt x="f88" y="f22"/>
                  <a:pt x="f89" y="f21"/>
                  <a:pt x="f89" y="f20"/>
                </a:cubicBezTo>
                <a:cubicBezTo>
                  <a:pt x="f89" y="f23"/>
                  <a:pt x="f89" y="f23"/>
                  <a:pt x="f89" y="f23"/>
                </a:cubicBezTo>
                <a:cubicBezTo>
                  <a:pt x="f89" y="f24"/>
                  <a:pt x="f88" y="f25"/>
                  <a:pt x="f87" y="f25"/>
                </a:cubicBezTo>
                <a:cubicBezTo>
                  <a:pt x="f86" y="f25"/>
                  <a:pt x="f86" y="f25"/>
                  <a:pt x="f86" y="f25"/>
                </a:cubicBezTo>
                <a:cubicBezTo>
                  <a:pt x="f85" y="f25"/>
                  <a:pt x="f84" y="f24"/>
                  <a:pt x="f84" y="f23"/>
                </a:cubicBezTo>
                <a:lnTo>
                  <a:pt x="f84" y="f20"/>
                </a:lnTo>
                <a:close/>
                <a:moveTo>
                  <a:pt x="f86" y="f26"/>
                </a:moveTo>
                <a:cubicBezTo>
                  <a:pt x="f87" y="f26"/>
                  <a:pt x="f87" y="f26"/>
                  <a:pt x="f87" y="f26"/>
                </a:cubicBezTo>
                <a:cubicBezTo>
                  <a:pt x="f88" y="f26"/>
                  <a:pt x="f89" y="f27"/>
                  <a:pt x="f89" y="f28"/>
                </a:cubicBezTo>
                <a:cubicBezTo>
                  <a:pt x="f89" y="f29"/>
                  <a:pt x="f89" y="f29"/>
                  <a:pt x="f89" y="f29"/>
                </a:cubicBezTo>
                <a:cubicBezTo>
                  <a:pt x="f89" y="f30"/>
                  <a:pt x="f88" y="f31"/>
                  <a:pt x="f87" y="f31"/>
                </a:cubicBezTo>
                <a:cubicBezTo>
                  <a:pt x="f86" y="f31"/>
                  <a:pt x="f86" y="f31"/>
                  <a:pt x="f86" y="f31"/>
                </a:cubicBezTo>
                <a:cubicBezTo>
                  <a:pt x="f85" y="f31"/>
                  <a:pt x="f84" y="f30"/>
                  <a:pt x="f84" y="f29"/>
                </a:cubicBezTo>
                <a:cubicBezTo>
                  <a:pt x="f84" y="f28"/>
                  <a:pt x="f84" y="f28"/>
                  <a:pt x="f84" y="f28"/>
                </a:cubicBezTo>
                <a:cubicBezTo>
                  <a:pt x="f84" y="f27"/>
                  <a:pt x="f85" y="f26"/>
                  <a:pt x="f86" y="f26"/>
                </a:cubicBezTo>
                <a:close/>
                <a:moveTo>
                  <a:pt x="f84" y="f38"/>
                </a:moveTo>
                <a:cubicBezTo>
                  <a:pt x="f84" y="f39"/>
                  <a:pt x="f85" y="f40"/>
                  <a:pt x="f86" y="f40"/>
                </a:cubicBezTo>
                <a:cubicBezTo>
                  <a:pt x="f87" y="f40"/>
                  <a:pt x="f87" y="f40"/>
                  <a:pt x="f87" y="f40"/>
                </a:cubicBezTo>
                <a:cubicBezTo>
                  <a:pt x="f88" y="f40"/>
                  <a:pt x="f89" y="f39"/>
                  <a:pt x="f89" y="f38"/>
                </a:cubicBezTo>
                <a:cubicBezTo>
                  <a:pt x="f89" y="f41"/>
                  <a:pt x="f89" y="f41"/>
                  <a:pt x="f89" y="f41"/>
                </a:cubicBezTo>
                <a:cubicBezTo>
                  <a:pt x="f89" y="f42"/>
                  <a:pt x="f88" y="f43"/>
                  <a:pt x="f87" y="f43"/>
                </a:cubicBezTo>
                <a:cubicBezTo>
                  <a:pt x="f86" y="f43"/>
                  <a:pt x="f86" y="f43"/>
                  <a:pt x="f86" y="f43"/>
                </a:cubicBezTo>
                <a:cubicBezTo>
                  <a:pt x="f85" y="f43"/>
                  <a:pt x="f84" y="f42"/>
                  <a:pt x="f84" y="f41"/>
                </a:cubicBezTo>
                <a:lnTo>
                  <a:pt x="f84" y="f38"/>
                </a:lnTo>
                <a:close/>
                <a:moveTo>
                  <a:pt x="f84" y="f9"/>
                </a:moveTo>
                <a:cubicBezTo>
                  <a:pt x="f84" y="f10"/>
                  <a:pt x="f85" y="f12"/>
                  <a:pt x="f86" y="f12"/>
                </a:cubicBezTo>
                <a:cubicBezTo>
                  <a:pt x="f87" y="f12"/>
                  <a:pt x="f87" y="f12"/>
                  <a:pt x="f87" y="f12"/>
                </a:cubicBezTo>
                <a:cubicBezTo>
                  <a:pt x="f88" y="f12"/>
                  <a:pt x="f89" y="f10"/>
                  <a:pt x="f89" y="f9"/>
                </a:cubicBezTo>
                <a:cubicBezTo>
                  <a:pt x="f89" y="f17"/>
                  <a:pt x="f89" y="f17"/>
                  <a:pt x="f89" y="f17"/>
                </a:cubicBezTo>
                <a:cubicBezTo>
                  <a:pt x="f89" y="f18"/>
                  <a:pt x="f88" y="f19"/>
                  <a:pt x="f87" y="f19"/>
                </a:cubicBezTo>
                <a:cubicBezTo>
                  <a:pt x="f86" y="f19"/>
                  <a:pt x="f86" y="f19"/>
                  <a:pt x="f86" y="f19"/>
                </a:cubicBezTo>
                <a:cubicBezTo>
                  <a:pt x="f85" y="f19"/>
                  <a:pt x="f84" y="f18"/>
                  <a:pt x="f84" y="f17"/>
                </a:cubicBezTo>
                <a:lnTo>
                  <a:pt x="f84" y="f9"/>
                </a:lnTo>
                <a:close/>
                <a:moveTo>
                  <a:pt x="f84" y="f90"/>
                </a:moveTo>
                <a:cubicBezTo>
                  <a:pt x="f84" y="f91"/>
                  <a:pt x="f85" y="f89"/>
                  <a:pt x="f86" y="f89"/>
                </a:cubicBezTo>
                <a:cubicBezTo>
                  <a:pt x="f87" y="f89"/>
                  <a:pt x="f87" y="f89"/>
                  <a:pt x="f87" y="f89"/>
                </a:cubicBezTo>
                <a:cubicBezTo>
                  <a:pt x="f88" y="f89"/>
                  <a:pt x="f89" y="f91"/>
                  <a:pt x="f89" y="f90"/>
                </a:cubicBezTo>
                <a:cubicBezTo>
                  <a:pt x="f89" y="f92"/>
                  <a:pt x="f89" y="f92"/>
                  <a:pt x="f89" y="f92"/>
                </a:cubicBezTo>
                <a:cubicBezTo>
                  <a:pt x="f89" y="f93"/>
                  <a:pt x="f88" y="f94"/>
                  <a:pt x="f87" y="f94"/>
                </a:cubicBezTo>
                <a:cubicBezTo>
                  <a:pt x="f86" y="f94"/>
                  <a:pt x="f86" y="f94"/>
                  <a:pt x="f86" y="f94"/>
                </a:cubicBezTo>
                <a:cubicBezTo>
                  <a:pt x="f85" y="f94"/>
                  <a:pt x="f84" y="f93"/>
                  <a:pt x="f84" y="f92"/>
                </a:cubicBezTo>
                <a:lnTo>
                  <a:pt x="f84" y="f90"/>
                </a:lnTo>
                <a:close/>
                <a:moveTo>
                  <a:pt x="f84" y="f95"/>
                </a:moveTo>
                <a:cubicBezTo>
                  <a:pt x="f84" y="f96"/>
                  <a:pt x="f85" y="f97"/>
                  <a:pt x="f86" y="f97"/>
                </a:cubicBezTo>
                <a:cubicBezTo>
                  <a:pt x="f87" y="f97"/>
                  <a:pt x="f87" y="f97"/>
                  <a:pt x="f87" y="f97"/>
                </a:cubicBezTo>
                <a:cubicBezTo>
                  <a:pt x="f88" y="f97"/>
                  <a:pt x="f89" y="f96"/>
                  <a:pt x="f89" y="f95"/>
                </a:cubicBezTo>
                <a:cubicBezTo>
                  <a:pt x="f89" y="f63"/>
                  <a:pt x="f89" y="f63"/>
                  <a:pt x="f89" y="f63"/>
                </a:cubicBezTo>
                <a:cubicBezTo>
                  <a:pt x="f89" y="f98"/>
                  <a:pt x="f88" y="f71"/>
                  <a:pt x="f87" y="f71"/>
                </a:cubicBezTo>
                <a:cubicBezTo>
                  <a:pt x="f86" y="f71"/>
                  <a:pt x="f86" y="f71"/>
                  <a:pt x="f86" y="f71"/>
                </a:cubicBezTo>
                <a:cubicBezTo>
                  <a:pt x="f85" y="f71"/>
                  <a:pt x="f84" y="f98"/>
                  <a:pt x="f84" y="f63"/>
                </a:cubicBezTo>
                <a:lnTo>
                  <a:pt x="f84" y="f95"/>
                </a:lnTo>
                <a:close/>
                <a:moveTo>
                  <a:pt x="f99" y="f90"/>
                </a:moveTo>
                <a:cubicBezTo>
                  <a:pt x="f99" y="f91"/>
                  <a:pt x="f67" y="f89"/>
                  <a:pt x="f64" y="f89"/>
                </a:cubicBezTo>
                <a:cubicBezTo>
                  <a:pt x="f100" y="f89"/>
                  <a:pt x="f100" y="f89"/>
                  <a:pt x="f100" y="f89"/>
                </a:cubicBezTo>
                <a:cubicBezTo>
                  <a:pt x="f101" y="f89"/>
                  <a:pt x="f102" y="f91"/>
                  <a:pt x="f102" y="f90"/>
                </a:cubicBezTo>
                <a:cubicBezTo>
                  <a:pt x="f102" y="f92"/>
                  <a:pt x="f102" y="f92"/>
                  <a:pt x="f102" y="f92"/>
                </a:cubicBezTo>
                <a:cubicBezTo>
                  <a:pt x="f102" y="f93"/>
                  <a:pt x="f101" y="f94"/>
                  <a:pt x="f100" y="f94"/>
                </a:cubicBezTo>
                <a:cubicBezTo>
                  <a:pt x="f64" y="f94"/>
                  <a:pt x="f64" y="f94"/>
                  <a:pt x="f64" y="f94"/>
                </a:cubicBezTo>
                <a:cubicBezTo>
                  <a:pt x="f67" y="f94"/>
                  <a:pt x="f99" y="f93"/>
                  <a:pt x="f99" y="f92"/>
                </a:cubicBezTo>
                <a:lnTo>
                  <a:pt x="f99" y="f90"/>
                </a:lnTo>
                <a:close/>
                <a:moveTo>
                  <a:pt x="f32" y="f90"/>
                </a:moveTo>
                <a:cubicBezTo>
                  <a:pt x="f32" y="f91"/>
                  <a:pt x="f33" y="f89"/>
                  <a:pt x="f34" y="f89"/>
                </a:cubicBezTo>
                <a:cubicBezTo>
                  <a:pt x="f35" y="f89"/>
                  <a:pt x="f35" y="f89"/>
                  <a:pt x="f35" y="f89"/>
                </a:cubicBezTo>
                <a:cubicBezTo>
                  <a:pt x="f36" y="f89"/>
                  <a:pt x="f37" y="f91"/>
                  <a:pt x="f37" y="f90"/>
                </a:cubicBezTo>
                <a:cubicBezTo>
                  <a:pt x="f37" y="f92"/>
                  <a:pt x="f37" y="f92"/>
                  <a:pt x="f37" y="f92"/>
                </a:cubicBezTo>
                <a:cubicBezTo>
                  <a:pt x="f37" y="f93"/>
                  <a:pt x="f36" y="f94"/>
                  <a:pt x="f35" y="f94"/>
                </a:cubicBezTo>
                <a:cubicBezTo>
                  <a:pt x="f34" y="f94"/>
                  <a:pt x="f34" y="f94"/>
                  <a:pt x="f34" y="f94"/>
                </a:cubicBezTo>
                <a:cubicBezTo>
                  <a:pt x="f33" y="f94"/>
                  <a:pt x="f32" y="f93"/>
                  <a:pt x="f32" y="f92"/>
                </a:cubicBezTo>
                <a:lnTo>
                  <a:pt x="f32" y="f90"/>
                </a:lnTo>
                <a:close/>
                <a:moveTo>
                  <a:pt x="f99" y="f95"/>
                </a:moveTo>
                <a:cubicBezTo>
                  <a:pt x="f99" y="f96"/>
                  <a:pt x="f67" y="f97"/>
                  <a:pt x="f64" y="f97"/>
                </a:cubicBezTo>
                <a:cubicBezTo>
                  <a:pt x="f100" y="f97"/>
                  <a:pt x="f100" y="f97"/>
                  <a:pt x="f100" y="f97"/>
                </a:cubicBezTo>
                <a:cubicBezTo>
                  <a:pt x="f101" y="f97"/>
                  <a:pt x="f102" y="f96"/>
                  <a:pt x="f102" y="f95"/>
                </a:cubicBezTo>
                <a:cubicBezTo>
                  <a:pt x="f102" y="f63"/>
                  <a:pt x="f102" y="f63"/>
                  <a:pt x="f102" y="f63"/>
                </a:cubicBezTo>
                <a:cubicBezTo>
                  <a:pt x="f102" y="f98"/>
                  <a:pt x="f101" y="f71"/>
                  <a:pt x="f100" y="f71"/>
                </a:cubicBezTo>
                <a:cubicBezTo>
                  <a:pt x="f64" y="f71"/>
                  <a:pt x="f64" y="f71"/>
                  <a:pt x="f64" y="f71"/>
                </a:cubicBezTo>
                <a:cubicBezTo>
                  <a:pt x="f67" y="f71"/>
                  <a:pt x="f99" y="f98"/>
                  <a:pt x="f99" y="f63"/>
                </a:cubicBezTo>
                <a:lnTo>
                  <a:pt x="f99" y="f95"/>
                </a:lnTo>
                <a:close/>
                <a:moveTo>
                  <a:pt x="f32" y="f95"/>
                </a:moveTo>
                <a:cubicBezTo>
                  <a:pt x="f32" y="f96"/>
                  <a:pt x="f33" y="f97"/>
                  <a:pt x="f34" y="f97"/>
                </a:cubicBezTo>
                <a:cubicBezTo>
                  <a:pt x="f35" y="f97"/>
                  <a:pt x="f35" y="f97"/>
                  <a:pt x="f35" y="f97"/>
                </a:cubicBezTo>
                <a:cubicBezTo>
                  <a:pt x="f36" y="f97"/>
                  <a:pt x="f37" y="f96"/>
                  <a:pt x="f37" y="f95"/>
                </a:cubicBezTo>
                <a:cubicBezTo>
                  <a:pt x="f37" y="f63"/>
                  <a:pt x="f37" y="f63"/>
                  <a:pt x="f37" y="f63"/>
                </a:cubicBezTo>
                <a:cubicBezTo>
                  <a:pt x="f37" y="f98"/>
                  <a:pt x="f36" y="f71"/>
                  <a:pt x="f35" y="f71"/>
                </a:cubicBezTo>
                <a:cubicBezTo>
                  <a:pt x="f34" y="f71"/>
                  <a:pt x="f34" y="f71"/>
                  <a:pt x="f34" y="f71"/>
                </a:cubicBezTo>
                <a:cubicBezTo>
                  <a:pt x="f33" y="f71"/>
                  <a:pt x="f32" y="f98"/>
                  <a:pt x="f32" y="f63"/>
                </a:cubicBezTo>
                <a:lnTo>
                  <a:pt x="f32" y="f95"/>
                </a:lnTo>
                <a:close/>
                <a:moveTo>
                  <a:pt x="f64" y="f26"/>
                </a:moveTo>
                <a:cubicBezTo>
                  <a:pt x="f100" y="f26"/>
                  <a:pt x="f100" y="f26"/>
                  <a:pt x="f100" y="f26"/>
                </a:cubicBezTo>
                <a:cubicBezTo>
                  <a:pt x="f101" y="f26"/>
                  <a:pt x="f102" y="f27"/>
                  <a:pt x="f102" y="f28"/>
                </a:cubicBezTo>
                <a:cubicBezTo>
                  <a:pt x="f102" y="f29"/>
                  <a:pt x="f102" y="f29"/>
                  <a:pt x="f102" y="f29"/>
                </a:cubicBezTo>
                <a:cubicBezTo>
                  <a:pt x="f102" y="f30"/>
                  <a:pt x="f101" y="f31"/>
                  <a:pt x="f100" y="f31"/>
                </a:cubicBezTo>
                <a:cubicBezTo>
                  <a:pt x="f64" y="f31"/>
                  <a:pt x="f64" y="f31"/>
                  <a:pt x="f64" y="f31"/>
                </a:cubicBezTo>
                <a:cubicBezTo>
                  <a:pt x="f67" y="f31"/>
                  <a:pt x="f99" y="f30"/>
                  <a:pt x="f99" y="f29"/>
                </a:cubicBezTo>
                <a:cubicBezTo>
                  <a:pt x="f99" y="f28"/>
                  <a:pt x="f99" y="f28"/>
                  <a:pt x="f99" y="f28"/>
                </a:cubicBezTo>
                <a:cubicBezTo>
                  <a:pt x="f99" y="f27"/>
                  <a:pt x="f67" y="f26"/>
                  <a:pt x="f64" y="f26"/>
                </a:cubicBezTo>
                <a:close/>
                <a:moveTo>
                  <a:pt x="f99" y="f9"/>
                </a:moveTo>
                <a:cubicBezTo>
                  <a:pt x="f99" y="f10"/>
                  <a:pt x="f67" y="f12"/>
                  <a:pt x="f64" y="f12"/>
                </a:cubicBezTo>
                <a:cubicBezTo>
                  <a:pt x="f100" y="f12"/>
                  <a:pt x="f100" y="f12"/>
                  <a:pt x="f100" y="f12"/>
                </a:cubicBezTo>
                <a:cubicBezTo>
                  <a:pt x="f101" y="f12"/>
                  <a:pt x="f102" y="f10"/>
                  <a:pt x="f102" y="f9"/>
                </a:cubicBezTo>
                <a:cubicBezTo>
                  <a:pt x="f102" y="f17"/>
                  <a:pt x="f102" y="f17"/>
                  <a:pt x="f102" y="f17"/>
                </a:cubicBezTo>
                <a:cubicBezTo>
                  <a:pt x="f102" y="f18"/>
                  <a:pt x="f101" y="f19"/>
                  <a:pt x="f100" y="f19"/>
                </a:cubicBezTo>
                <a:cubicBezTo>
                  <a:pt x="f64" y="f19"/>
                  <a:pt x="f64" y="f19"/>
                  <a:pt x="f64" y="f19"/>
                </a:cubicBezTo>
                <a:cubicBezTo>
                  <a:pt x="f67" y="f19"/>
                  <a:pt x="f99" y="f18"/>
                  <a:pt x="f99" y="f17"/>
                </a:cubicBezTo>
                <a:lnTo>
                  <a:pt x="f99" y="f9"/>
                </a:lnTo>
                <a:close/>
                <a:moveTo>
                  <a:pt x="f99" y="f38"/>
                </a:moveTo>
                <a:cubicBezTo>
                  <a:pt x="f99" y="f39"/>
                  <a:pt x="f67" y="f40"/>
                  <a:pt x="f64" y="f40"/>
                </a:cubicBezTo>
                <a:cubicBezTo>
                  <a:pt x="f100" y="f40"/>
                  <a:pt x="f100" y="f40"/>
                  <a:pt x="f100" y="f40"/>
                </a:cubicBezTo>
                <a:cubicBezTo>
                  <a:pt x="f101" y="f40"/>
                  <a:pt x="f102" y="f39"/>
                  <a:pt x="f102" y="f38"/>
                </a:cubicBezTo>
                <a:cubicBezTo>
                  <a:pt x="f102" y="f41"/>
                  <a:pt x="f102" y="f41"/>
                  <a:pt x="f102" y="f41"/>
                </a:cubicBezTo>
                <a:cubicBezTo>
                  <a:pt x="f102" y="f42"/>
                  <a:pt x="f101" y="f43"/>
                  <a:pt x="f100" y="f43"/>
                </a:cubicBezTo>
                <a:cubicBezTo>
                  <a:pt x="f64" y="f43"/>
                  <a:pt x="f64" y="f43"/>
                  <a:pt x="f64" y="f43"/>
                </a:cubicBezTo>
                <a:cubicBezTo>
                  <a:pt x="f67" y="f43"/>
                  <a:pt x="f99" y="f42"/>
                  <a:pt x="f99" y="f41"/>
                </a:cubicBezTo>
                <a:lnTo>
                  <a:pt x="f99" y="f38"/>
                </a:lnTo>
                <a:close/>
                <a:moveTo>
                  <a:pt x="f99" y="f20"/>
                </a:moveTo>
                <a:cubicBezTo>
                  <a:pt x="f99" y="f21"/>
                  <a:pt x="f67" y="f22"/>
                  <a:pt x="f64" y="f22"/>
                </a:cubicBezTo>
                <a:cubicBezTo>
                  <a:pt x="f100" y="f22"/>
                  <a:pt x="f100" y="f22"/>
                  <a:pt x="f100" y="f22"/>
                </a:cubicBezTo>
                <a:cubicBezTo>
                  <a:pt x="f101" y="f22"/>
                  <a:pt x="f102" y="f21"/>
                  <a:pt x="f102" y="f20"/>
                </a:cubicBezTo>
                <a:cubicBezTo>
                  <a:pt x="f102" y="f23"/>
                  <a:pt x="f102" y="f23"/>
                  <a:pt x="f102" y="f23"/>
                </a:cubicBezTo>
                <a:cubicBezTo>
                  <a:pt x="f102" y="f24"/>
                  <a:pt x="f101" y="f25"/>
                  <a:pt x="f100" y="f25"/>
                </a:cubicBezTo>
                <a:cubicBezTo>
                  <a:pt x="f64" y="f25"/>
                  <a:pt x="f64" y="f25"/>
                  <a:pt x="f64" y="f25"/>
                </a:cubicBezTo>
                <a:cubicBezTo>
                  <a:pt x="f67" y="f25"/>
                  <a:pt x="f99" y="f24"/>
                  <a:pt x="f99" y="f23"/>
                </a:cubicBezTo>
                <a:lnTo>
                  <a:pt x="f99" y="f20"/>
                </a:lnTo>
                <a:close/>
              </a:path>
            </a:pathLst>
          </a:custGeom>
          <a:solidFill>
            <a:srgbClr val="00A9D4"/>
          </a:solidFill>
          <a:ln cap="flat">
            <a:noFill/>
            <a:prstDash val="solid"/>
          </a:ln>
        </p:spPr>
        <p:txBody>
          <a:bodyPr vert="horz" wrap="square" lIns="121916" tIns="60953" rIns="121916" bIns="60953"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58585A"/>
              </a:solidFill>
              <a:uFillTx/>
              <a:latin typeface="Arial"/>
            </a:endParaRPr>
          </a:p>
        </p:txBody>
      </p:sp>
      <p:sp>
        <p:nvSpPr>
          <p:cNvPr id="42" name="Freeform 14">
            <a:extLst>
              <a:ext uri="{FF2B5EF4-FFF2-40B4-BE49-F238E27FC236}">
                <a16:creationId xmlns:a16="http://schemas.microsoft.com/office/drawing/2014/main" id="{A52E612C-7BE2-4BE5-A413-674C1297B8AA}"/>
              </a:ext>
            </a:extLst>
          </p:cNvPr>
          <p:cNvSpPr/>
          <p:nvPr/>
        </p:nvSpPr>
        <p:spPr>
          <a:xfrm>
            <a:off x="4473464" y="4488738"/>
            <a:ext cx="1248494" cy="1097901"/>
          </a:xfrm>
          <a:custGeom>
            <a:avLst/>
            <a:gdLst>
              <a:gd name="f0" fmla="val 10800000"/>
              <a:gd name="f1" fmla="val 5400000"/>
              <a:gd name="f2" fmla="val 180"/>
              <a:gd name="f3" fmla="val w"/>
              <a:gd name="f4" fmla="val h"/>
              <a:gd name="f5" fmla="val 0"/>
              <a:gd name="f6" fmla="val 10017"/>
              <a:gd name="f7" fmla="val 10000"/>
              <a:gd name="f8" fmla="val 7691"/>
              <a:gd name="f9" fmla="val 9690"/>
              <a:gd name="f10" fmla="val 7748"/>
              <a:gd name="f11" fmla="val 9582"/>
              <a:gd name="f12" fmla="val 9210"/>
              <a:gd name="f13" fmla="val 6795"/>
              <a:gd name="f14" fmla="val 9970"/>
              <a:gd name="f15" fmla="val 5348"/>
              <a:gd name="f16" fmla="val 10041"/>
              <a:gd name="f17" fmla="val 5211"/>
              <a:gd name="f18" fmla="val 10033"/>
              <a:gd name="f19" fmla="val 5006"/>
              <a:gd name="f20" fmla="val 9944"/>
              <a:gd name="f21" fmla="val 4806"/>
              <a:gd name="f22" fmla="val 9563"/>
              <a:gd name="f23" fmla="val 3954"/>
              <a:gd name="f24" fmla="val 7740"/>
              <a:gd name="f25" fmla="val 332"/>
              <a:gd name="f26" fmla="val 233"/>
              <a:gd name="f27" fmla="val 7623"/>
              <a:gd name="f28" fmla="val 78"/>
              <a:gd name="f29" fmla="val 7490"/>
              <a:gd name="f30" fmla="val 2"/>
              <a:gd name="f31" fmla="val 7350"/>
              <a:gd name="f32" fmla="val 2790"/>
              <a:gd name="f33" fmla="val 10"/>
              <a:gd name="f34" fmla="val 2594"/>
              <a:gd name="f35" fmla="val 15"/>
              <a:gd name="f36" fmla="val 2402"/>
              <a:gd name="f37" fmla="val 173"/>
              <a:gd name="f38" fmla="val 2295"/>
              <a:gd name="f39" fmla="val 373"/>
              <a:gd name="f40" fmla="val 2245"/>
              <a:gd name="f41" fmla="val 467"/>
              <a:gd name="f42" fmla="val 127"/>
              <a:gd name="f43" fmla="val 4566"/>
              <a:gd name="f44" fmla="val 46"/>
              <a:gd name="f45" fmla="val 4729"/>
              <a:gd name="f46" fmla="+- 0 0 35"/>
              <a:gd name="f47" fmla="val 4892"/>
              <a:gd name="f48" fmla="val 9"/>
              <a:gd name="f49" fmla="val 5119"/>
              <a:gd name="f50" fmla="val 5194"/>
              <a:gd name="f51" fmla="val 2367"/>
              <a:gd name="f52" fmla="val 9767"/>
              <a:gd name="f53" fmla="val 2435"/>
              <a:gd name="f54" fmla="val 9922"/>
              <a:gd name="f55" fmla="val 2572"/>
              <a:gd name="f56" fmla="val 2708"/>
              <a:gd name="f57" fmla="val 7282"/>
              <a:gd name="f58" fmla="val 7498"/>
              <a:gd name="f59" fmla="val 7627"/>
              <a:gd name="f60" fmla="val 9798"/>
              <a:gd name="f61" fmla="+- 0 0 -90"/>
              <a:gd name="f62" fmla="*/ f3 1 10017"/>
              <a:gd name="f63" fmla="*/ f4 1 10000"/>
              <a:gd name="f64" fmla="+- f7 0 f5"/>
              <a:gd name="f65" fmla="+- f6 0 f5"/>
              <a:gd name="f66" fmla="*/ f61 f0 1"/>
              <a:gd name="f67" fmla="*/ f65 1 10017"/>
              <a:gd name="f68" fmla="*/ f64 1 10000"/>
              <a:gd name="f69" fmla="*/ 2147483647 f65 1"/>
              <a:gd name="f70" fmla="*/ 2147483647 f64 1"/>
              <a:gd name="f71" fmla="*/ 0 f64 1"/>
              <a:gd name="f72" fmla="*/ 0 f65 1"/>
              <a:gd name="f73" fmla="*/ 10017 f65 1"/>
              <a:gd name="f74" fmla="*/ 10000 f64 1"/>
              <a:gd name="f75" fmla="*/ f66 1 f2"/>
              <a:gd name="f76" fmla="*/ f69 1 10017"/>
              <a:gd name="f77" fmla="*/ f70 1 10000"/>
              <a:gd name="f78" fmla="*/ f71 1 10000"/>
              <a:gd name="f79" fmla="*/ f72 1 10017"/>
              <a:gd name="f80" fmla="*/ f73 1 10017"/>
              <a:gd name="f81" fmla="*/ f74 1 10000"/>
              <a:gd name="f82" fmla="+- f75 0 f1"/>
              <a:gd name="f83" fmla="*/ f76 1 f67"/>
              <a:gd name="f84" fmla="*/ f77 1 f68"/>
              <a:gd name="f85" fmla="*/ f78 1 f68"/>
              <a:gd name="f86" fmla="*/ f79 1 f67"/>
              <a:gd name="f87" fmla="*/ f80 1 f67"/>
              <a:gd name="f88" fmla="*/ f81 1 f68"/>
              <a:gd name="f89" fmla="*/ f86 f62 1"/>
              <a:gd name="f90" fmla="*/ f87 f62 1"/>
              <a:gd name="f91" fmla="*/ f88 f63 1"/>
              <a:gd name="f92" fmla="*/ f85 f63 1"/>
              <a:gd name="f93" fmla="*/ f83 f62 1"/>
              <a:gd name="f94" fmla="*/ f84 f63 1"/>
            </a:gdLst>
            <a:ahLst/>
            <a:cxnLst>
              <a:cxn ang="3cd4">
                <a:pos x="hc" y="t"/>
              </a:cxn>
              <a:cxn ang="0">
                <a:pos x="r" y="vc"/>
              </a:cxn>
              <a:cxn ang="cd4">
                <a:pos x="hc" y="b"/>
              </a:cxn>
              <a:cxn ang="cd2">
                <a:pos x="l" y="vc"/>
              </a:cxn>
              <a:cxn ang="f82">
                <a:pos x="f93" y="f94"/>
              </a:cxn>
              <a:cxn ang="f82">
                <a:pos x="f93" y="f94"/>
              </a:cxn>
              <a:cxn ang="f82">
                <a:pos x="f93" y="f94"/>
              </a:cxn>
              <a:cxn ang="f82">
                <a:pos x="f93" y="f94"/>
              </a:cxn>
              <a:cxn ang="f82">
                <a:pos x="f93" y="f94"/>
              </a:cxn>
              <a:cxn ang="f82">
                <a:pos x="f93" y="f92"/>
              </a:cxn>
              <a:cxn ang="f82">
                <a:pos x="f93" y="f92"/>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 ang="f82">
                <a:pos x="f93" y="f94"/>
              </a:cxn>
            </a:cxnLst>
            <a:rect l="f89" t="f92" r="f90" b="f91"/>
            <a:pathLst>
              <a:path w="10017" h="10000">
                <a:moveTo>
                  <a:pt x="f8" y="f9"/>
                </a:moveTo>
                <a:cubicBezTo>
                  <a:pt x="f10" y="f11"/>
                  <a:pt x="f12" y="f13"/>
                  <a:pt x="f14" y="f15"/>
                </a:cubicBezTo>
                <a:cubicBezTo>
                  <a:pt x="f16" y="f17"/>
                  <a:pt x="f18" y="f19"/>
                  <a:pt x="f20" y="f21"/>
                </a:cubicBezTo>
                <a:cubicBezTo>
                  <a:pt x="f22" y="f23"/>
                  <a:pt x="f24" y="f25"/>
                  <a:pt x="f8" y="f26"/>
                </a:cubicBezTo>
                <a:cubicBezTo>
                  <a:pt x="f27" y="f28"/>
                  <a:pt x="f29" y="f30"/>
                  <a:pt x="f31" y="f5"/>
                </a:cubicBezTo>
                <a:lnTo>
                  <a:pt x="f32" y="f33"/>
                </a:lnTo>
                <a:cubicBezTo>
                  <a:pt x="f34" y="f35"/>
                  <a:pt x="f36" y="f37"/>
                  <a:pt x="f38" y="f39"/>
                </a:cubicBezTo>
                <a:cubicBezTo>
                  <a:pt x="f40" y="f41"/>
                  <a:pt x="f42" y="f43"/>
                  <a:pt x="f44" y="f45"/>
                </a:cubicBezTo>
                <a:cubicBezTo>
                  <a:pt x="f46" y="f47"/>
                  <a:pt x="f48" y="f49"/>
                  <a:pt x="f44" y="f50"/>
                </a:cubicBezTo>
                <a:lnTo>
                  <a:pt x="f51" y="f52"/>
                </a:lnTo>
                <a:cubicBezTo>
                  <a:pt x="f53" y="f54"/>
                  <a:pt x="f55" y="f7"/>
                  <a:pt x="f56" y="f7"/>
                </a:cubicBezTo>
                <a:lnTo>
                  <a:pt x="f57" y="f7"/>
                </a:lnTo>
                <a:cubicBezTo>
                  <a:pt x="f58" y="f7"/>
                  <a:pt x="f59" y="f60"/>
                  <a:pt x="f8" y="f9"/>
                </a:cubicBezTo>
                <a:close/>
              </a:path>
            </a:pathLst>
          </a:custGeom>
          <a:solidFill>
            <a:srgbClr val="FFFFFF"/>
          </a:solidFill>
          <a:ln cap="flat">
            <a:noFill/>
            <a:prstDash val="solid"/>
          </a:ln>
        </p:spPr>
        <p:txBody>
          <a:bodyPr vert="horz" wrap="square" lIns="0" tIns="0" rIns="91440" bIns="45720" anchor="ctr" anchorCtr="1" compatLnSpc="1">
            <a:normAutofit/>
          </a:bodyPr>
          <a:lstStyle/>
          <a:p>
            <a:pPr marL="0" marR="0" lvl="0" indent="0" algn="ctr" defTabSz="914400" rtl="0" fontAlgn="auto" hangingPunct="1">
              <a:lnSpc>
                <a:spcPct val="100000"/>
              </a:lnSpc>
              <a:spcBef>
                <a:spcPts val="3600"/>
              </a:spcBef>
              <a:spcAft>
                <a:spcPts val="0"/>
              </a:spcAft>
              <a:buNone/>
              <a:tabLst/>
              <a:defRPr sz="1800" b="0" i="0" u="none" strike="noStrike" kern="0" cap="none" spc="0" baseline="0">
                <a:solidFill>
                  <a:srgbClr val="000000"/>
                </a:solidFill>
                <a:uFillTx/>
              </a:defRPr>
            </a:pPr>
            <a:endParaRPr lang="en-US" sz="6000" b="0" i="0" u="none" strike="noStrike" kern="1200" cap="none" spc="0" baseline="0">
              <a:solidFill>
                <a:srgbClr val="FFFFFF"/>
              </a:solidFill>
              <a:uFillTx/>
              <a:latin typeface="Arial"/>
            </a:endParaRPr>
          </a:p>
        </p:txBody>
      </p:sp>
      <p:sp>
        <p:nvSpPr>
          <p:cNvPr id="43" name="Rectangle 148">
            <a:extLst>
              <a:ext uri="{FF2B5EF4-FFF2-40B4-BE49-F238E27FC236}">
                <a16:creationId xmlns:a16="http://schemas.microsoft.com/office/drawing/2014/main" id="{DB6AB1F6-1DFA-4F48-B422-5456419D1D13}"/>
              </a:ext>
            </a:extLst>
          </p:cNvPr>
          <p:cNvSpPr/>
          <p:nvPr/>
        </p:nvSpPr>
        <p:spPr>
          <a:xfrm>
            <a:off x="4467090" y="5043879"/>
            <a:ext cx="1248494" cy="230831"/>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all" spc="0" baseline="0">
                <a:solidFill>
                  <a:srgbClr val="58585A"/>
                </a:solidFill>
                <a:uFillTx/>
                <a:latin typeface="Arial"/>
              </a:rPr>
              <a:t>Home</a:t>
            </a:r>
          </a:p>
        </p:txBody>
      </p:sp>
      <p:sp>
        <p:nvSpPr>
          <p:cNvPr id="44" name="Freeform 8">
            <a:extLst>
              <a:ext uri="{FF2B5EF4-FFF2-40B4-BE49-F238E27FC236}">
                <a16:creationId xmlns:a16="http://schemas.microsoft.com/office/drawing/2014/main" id="{86D98D9E-9699-4852-89B9-B2608F2AC01F}"/>
              </a:ext>
            </a:extLst>
          </p:cNvPr>
          <p:cNvSpPr/>
          <p:nvPr/>
        </p:nvSpPr>
        <p:spPr>
          <a:xfrm>
            <a:off x="4897489" y="4687748"/>
            <a:ext cx="387696" cy="269345"/>
          </a:xfrm>
          <a:custGeom>
            <a:avLst/>
            <a:gdLst>
              <a:gd name="f0" fmla="val 10800000"/>
              <a:gd name="f1" fmla="val 5400000"/>
              <a:gd name="f2" fmla="val 180"/>
              <a:gd name="f3" fmla="val w"/>
              <a:gd name="f4" fmla="val h"/>
              <a:gd name="f5" fmla="val 0"/>
              <a:gd name="f6" fmla="val 464"/>
              <a:gd name="f7" fmla="val 361"/>
              <a:gd name="f8" fmla="val 400"/>
              <a:gd name="f9" fmla="val 194"/>
              <a:gd name="f10" fmla="val 405"/>
              <a:gd name="f11" fmla="val 408"/>
              <a:gd name="f12" fmla="val 190"/>
              <a:gd name="f13" fmla="val 186"/>
              <a:gd name="f14" fmla="val 140"/>
              <a:gd name="f15" fmla="val 129"/>
              <a:gd name="f16" fmla="val 122"/>
              <a:gd name="f17" fmla="val 392"/>
              <a:gd name="f18" fmla="val 118"/>
              <a:gd name="f19" fmla="val 385"/>
              <a:gd name="f20" fmla="val 115"/>
              <a:gd name="f21" fmla="val 251"/>
              <a:gd name="f22" fmla="val 46"/>
              <a:gd name="f23" fmla="val 243"/>
              <a:gd name="f24" fmla="val 42"/>
              <a:gd name="f25" fmla="val 239"/>
              <a:gd name="f26" fmla="val 40"/>
              <a:gd name="f27" fmla="val 235"/>
              <a:gd name="f28" fmla="val 39"/>
              <a:gd name="f29" fmla="val 232"/>
              <a:gd name="f30" fmla="val 225"/>
              <a:gd name="f31" fmla="val 221"/>
              <a:gd name="f32" fmla="val 41"/>
              <a:gd name="f33" fmla="val 220"/>
              <a:gd name="f34" fmla="val 71"/>
              <a:gd name="f35" fmla="val 63"/>
              <a:gd name="f36" fmla="val 55"/>
              <a:gd name="f37" fmla="val 342"/>
              <a:gd name="f38" fmla="val 352"/>
              <a:gd name="f39" fmla="val 64"/>
              <a:gd name="f40" fmla="val 75"/>
              <a:gd name="f41" fmla="val 389"/>
              <a:gd name="f42" fmla="val 214"/>
              <a:gd name="f43" fmla="val 209"/>
              <a:gd name="f44" fmla="val 206"/>
              <a:gd name="f45" fmla="val 396"/>
              <a:gd name="f46" fmla="val 343"/>
              <a:gd name="f47" fmla="val 391"/>
              <a:gd name="f48" fmla="val 345"/>
              <a:gd name="f49" fmla="val 73"/>
              <a:gd name="f50" fmla="val 138"/>
              <a:gd name="f51" fmla="val 135"/>
              <a:gd name="f52" fmla="val 78"/>
              <a:gd name="f53" fmla="val 133"/>
              <a:gd name="f54" fmla="val 227"/>
              <a:gd name="f55" fmla="val 56"/>
              <a:gd name="f56" fmla="val 228"/>
              <a:gd name="f57" fmla="val 230"/>
              <a:gd name="f58" fmla="val 233"/>
              <a:gd name="f59" fmla="val 236"/>
              <a:gd name="f60" fmla="val 240"/>
              <a:gd name="f61" fmla="val 58"/>
              <a:gd name="f62" fmla="val 277"/>
              <a:gd name="f63" fmla="val 77"/>
              <a:gd name="f64" fmla="val 314"/>
              <a:gd name="f65" fmla="val 96"/>
              <a:gd name="f66" fmla="val 350"/>
              <a:gd name="f67" fmla="val 386"/>
              <a:gd name="f68" fmla="val 390"/>
              <a:gd name="f69" fmla="val 393"/>
              <a:gd name="f70" fmla="val 458"/>
              <a:gd name="f71" fmla="val 114"/>
              <a:gd name="f72" fmla="val 437"/>
              <a:gd name="f73" fmla="val 103"/>
              <a:gd name="f74" fmla="val 88"/>
              <a:gd name="f75" fmla="val 80"/>
              <a:gd name="f76" fmla="val 52"/>
              <a:gd name="f77" fmla="val 32"/>
              <a:gd name="f78" fmla="val 357"/>
              <a:gd name="f79" fmla="val 347"/>
              <a:gd name="f80" fmla="val 338"/>
              <a:gd name="f81" fmla="val 51"/>
              <a:gd name="f82" fmla="val 292"/>
              <a:gd name="f83" fmla="val 28"/>
              <a:gd name="f84" fmla="val 249"/>
              <a:gd name="f85" fmla="val 6"/>
              <a:gd name="f86" fmla="val 245"/>
              <a:gd name="f87" fmla="val 3"/>
              <a:gd name="f88" fmla="val 241"/>
              <a:gd name="f89" fmla="val 1"/>
              <a:gd name="f90" fmla="val 224"/>
              <a:gd name="f91" fmla="val 219"/>
              <a:gd name="f92" fmla="val 2"/>
              <a:gd name="f93" fmla="val 116"/>
              <a:gd name="f94" fmla="val 121"/>
              <a:gd name="f95" fmla="val 125"/>
              <a:gd name="f96" fmla="val 4"/>
              <a:gd name="f97" fmla="val 9"/>
              <a:gd name="f98" fmla="val 130"/>
              <a:gd name="f99" fmla="val 13"/>
              <a:gd name="f100" fmla="val 128"/>
              <a:gd name="f101" fmla="val 226"/>
              <a:gd name="f102" fmla="val 18"/>
              <a:gd name="f103" fmla="val 17"/>
              <a:gd name="f104" fmla="val 229"/>
              <a:gd name="f105" fmla="val 16"/>
              <a:gd name="f106" fmla="val 234"/>
              <a:gd name="f107" fmla="val 238"/>
              <a:gd name="f108" fmla="val 242"/>
              <a:gd name="f109" fmla="val 20"/>
              <a:gd name="f110" fmla="val 291"/>
              <a:gd name="f111" fmla="val 45"/>
              <a:gd name="f112" fmla="val 340"/>
              <a:gd name="f113" fmla="val 341"/>
              <a:gd name="f114" fmla="val 72"/>
              <a:gd name="f115" fmla="val 346"/>
              <a:gd name="f116" fmla="val 349"/>
              <a:gd name="f117" fmla="val 351"/>
              <a:gd name="f118" fmla="val 69"/>
              <a:gd name="f119" fmla="val 353"/>
              <a:gd name="f120" fmla="val 67"/>
              <a:gd name="f121" fmla="val 354"/>
              <a:gd name="f122" fmla="val 62"/>
              <a:gd name="f123" fmla="val 50"/>
              <a:gd name="f124" fmla="val 356"/>
              <a:gd name="f125" fmla="val 48"/>
              <a:gd name="f126" fmla="val 61"/>
              <a:gd name="f127" fmla="val 70"/>
              <a:gd name="f128" fmla="val 79"/>
              <a:gd name="f129" fmla="val 89"/>
              <a:gd name="f130" fmla="val 90"/>
              <a:gd name="f131" fmla="val 93"/>
              <a:gd name="f132" fmla="val 395"/>
              <a:gd name="f133" fmla="val 98"/>
              <a:gd name="f134" fmla="val 100"/>
              <a:gd name="f135" fmla="val 398"/>
              <a:gd name="f136" fmla="val 101"/>
              <a:gd name="f137" fmla="val 399"/>
              <a:gd name="f138" fmla="val 429"/>
              <a:gd name="f139" fmla="val 117"/>
              <a:gd name="f140" fmla="val 451"/>
              <a:gd name="f141" fmla="val 452"/>
              <a:gd name="f142" fmla="val 453"/>
              <a:gd name="f143" fmla="val 455"/>
              <a:gd name="f144" fmla="val 460"/>
              <a:gd name="f145" fmla="val 127"/>
              <a:gd name="f146" fmla="val 462"/>
              <a:gd name="f147" fmla="+- 0 0 -90"/>
              <a:gd name="f148" fmla="*/ f3 1 464"/>
              <a:gd name="f149" fmla="*/ f4 1 361"/>
              <a:gd name="f150" fmla="+- f7 0 f5"/>
              <a:gd name="f151" fmla="+- f6 0 f5"/>
              <a:gd name="f152" fmla="*/ f147 f0 1"/>
              <a:gd name="f153" fmla="*/ f151 1 464"/>
              <a:gd name="f154" fmla="*/ f150 1 361"/>
              <a:gd name="f155" fmla="*/ 2147483647 f151 1"/>
              <a:gd name="f156" fmla="*/ 2147483647 f150 1"/>
              <a:gd name="f157" fmla="*/ 0 f151 1"/>
              <a:gd name="f158" fmla="*/ 0 f150 1"/>
              <a:gd name="f159" fmla="*/ 464 f151 1"/>
              <a:gd name="f160" fmla="*/ 361 f150 1"/>
              <a:gd name="f161" fmla="*/ f152 1 f2"/>
              <a:gd name="f162" fmla="*/ f155 1 464"/>
              <a:gd name="f163" fmla="*/ f156 1 361"/>
              <a:gd name="f164" fmla="*/ f157 1 464"/>
              <a:gd name="f165" fmla="*/ f158 1 361"/>
              <a:gd name="f166" fmla="*/ f159 1 464"/>
              <a:gd name="f167" fmla="*/ f160 1 361"/>
              <a:gd name="f168" fmla="+- f161 0 f1"/>
              <a:gd name="f169" fmla="*/ f162 1 f153"/>
              <a:gd name="f170" fmla="*/ f163 1 f154"/>
              <a:gd name="f171" fmla="*/ f164 1 f153"/>
              <a:gd name="f172" fmla="*/ f166 1 f153"/>
              <a:gd name="f173" fmla="*/ f165 1 f154"/>
              <a:gd name="f174" fmla="*/ f167 1 f154"/>
              <a:gd name="f175" fmla="*/ f171 f148 1"/>
              <a:gd name="f176" fmla="*/ f172 f148 1"/>
              <a:gd name="f177" fmla="*/ f174 f149 1"/>
              <a:gd name="f178" fmla="*/ f173 f149 1"/>
              <a:gd name="f179" fmla="*/ f169 f148 1"/>
              <a:gd name="f180" fmla="*/ f170 f149 1"/>
            </a:gdLst>
            <a:ahLst/>
            <a:cxnLst>
              <a:cxn ang="3cd4">
                <a:pos x="hc" y="t"/>
              </a:cxn>
              <a:cxn ang="0">
                <a:pos x="r" y="vc"/>
              </a:cxn>
              <a:cxn ang="cd4">
                <a:pos x="hc" y="b"/>
              </a:cxn>
              <a:cxn ang="cd2">
                <a:pos x="l" y="vc"/>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 ang="f168">
                <a:pos x="f179" y="f180"/>
              </a:cxn>
            </a:cxnLst>
            <a:rect l="f175" t="f178" r="f176" b="f177"/>
            <a:pathLst>
              <a:path w="464" h="361">
                <a:moveTo>
                  <a:pt x="f8" y="f9"/>
                </a:moveTo>
                <a:cubicBezTo>
                  <a:pt x="f10" y="f9"/>
                  <a:pt x="f11" y="f12"/>
                  <a:pt x="f11" y="f13"/>
                </a:cubicBezTo>
                <a:cubicBezTo>
                  <a:pt x="f11" y="f13"/>
                  <a:pt x="f11" y="f13"/>
                  <a:pt x="f11" y="f13"/>
                </a:cubicBezTo>
                <a:cubicBezTo>
                  <a:pt x="f11" y="f14"/>
                  <a:pt x="f11" y="f14"/>
                  <a:pt x="f11" y="f14"/>
                </a:cubicBezTo>
                <a:cubicBezTo>
                  <a:pt x="f11" y="f15"/>
                  <a:pt x="f8" y="f16"/>
                  <a:pt x="f17" y="f18"/>
                </a:cubicBezTo>
                <a:cubicBezTo>
                  <a:pt x="f19" y="f20"/>
                  <a:pt x="f21" y="f22"/>
                  <a:pt x="f23" y="f24"/>
                </a:cubicBezTo>
                <a:cubicBezTo>
                  <a:pt x="f25" y="f26"/>
                  <a:pt x="f27" y="f28"/>
                  <a:pt x="f29" y="f28"/>
                </a:cubicBezTo>
                <a:cubicBezTo>
                  <a:pt x="f30" y="f28"/>
                  <a:pt x="f31" y="f32"/>
                  <a:pt x="f33" y="f24"/>
                </a:cubicBezTo>
                <a:cubicBezTo>
                  <a:pt x="f34" y="f18"/>
                  <a:pt x="f34" y="f18"/>
                  <a:pt x="f34" y="f18"/>
                </a:cubicBezTo>
                <a:cubicBezTo>
                  <a:pt x="f35" y="f16"/>
                  <a:pt x="f36" y="f15"/>
                  <a:pt x="f36" y="f14"/>
                </a:cubicBezTo>
                <a:cubicBezTo>
                  <a:pt x="f36" y="f37"/>
                  <a:pt x="f36" y="f37"/>
                  <a:pt x="f36" y="f37"/>
                </a:cubicBezTo>
                <a:cubicBezTo>
                  <a:pt x="f36" y="f38"/>
                  <a:pt x="f39" y="f7"/>
                  <a:pt x="f40" y="f7"/>
                </a:cubicBezTo>
                <a:cubicBezTo>
                  <a:pt x="f41" y="f7"/>
                  <a:pt x="f41" y="f7"/>
                  <a:pt x="f41" y="f7"/>
                </a:cubicBezTo>
                <a:cubicBezTo>
                  <a:pt x="f8" y="f7"/>
                  <a:pt x="f11" y="f38"/>
                  <a:pt x="f11" y="f37"/>
                </a:cubicBezTo>
                <a:cubicBezTo>
                  <a:pt x="f11" y="f42"/>
                  <a:pt x="f11" y="f42"/>
                  <a:pt x="f11" y="f42"/>
                </a:cubicBezTo>
                <a:cubicBezTo>
                  <a:pt x="f11" y="f43"/>
                  <a:pt x="f10" y="f44"/>
                  <a:pt x="f8" y="f44"/>
                </a:cubicBezTo>
                <a:cubicBezTo>
                  <a:pt x="f45" y="f44"/>
                  <a:pt x="f17" y="f43"/>
                  <a:pt x="f17" y="f42"/>
                </a:cubicBezTo>
                <a:cubicBezTo>
                  <a:pt x="f17" y="f37"/>
                  <a:pt x="f17" y="f37"/>
                  <a:pt x="f17" y="f37"/>
                </a:cubicBezTo>
                <a:cubicBezTo>
                  <a:pt x="f17" y="f46"/>
                  <a:pt x="f47" y="f48"/>
                  <a:pt x="f41" y="f48"/>
                </a:cubicBezTo>
                <a:cubicBezTo>
                  <a:pt x="f40" y="f48"/>
                  <a:pt x="f40" y="f48"/>
                  <a:pt x="f40" y="f48"/>
                </a:cubicBezTo>
                <a:cubicBezTo>
                  <a:pt x="f49" y="f48"/>
                  <a:pt x="f34" y="f46"/>
                  <a:pt x="f34" y="f37"/>
                </a:cubicBezTo>
                <a:cubicBezTo>
                  <a:pt x="f34" y="f14"/>
                  <a:pt x="f34" y="f14"/>
                  <a:pt x="f34" y="f14"/>
                </a:cubicBezTo>
                <a:cubicBezTo>
                  <a:pt x="f34" y="f50"/>
                  <a:pt x="f49" y="f51"/>
                  <a:pt x="f52" y="f53"/>
                </a:cubicBezTo>
                <a:cubicBezTo>
                  <a:pt x="f52" y="f53"/>
                  <a:pt x="f52" y="f53"/>
                  <a:pt x="f52" y="f53"/>
                </a:cubicBezTo>
                <a:cubicBezTo>
                  <a:pt x="f54" y="f55"/>
                  <a:pt x="f54" y="f55"/>
                  <a:pt x="f54" y="f55"/>
                </a:cubicBezTo>
                <a:cubicBezTo>
                  <a:pt x="f54" y="f55"/>
                  <a:pt x="f54" y="f55"/>
                  <a:pt x="f54" y="f55"/>
                </a:cubicBezTo>
                <a:cubicBezTo>
                  <a:pt x="f54" y="f55"/>
                  <a:pt x="f54" y="f55"/>
                  <a:pt x="f54" y="f55"/>
                </a:cubicBezTo>
                <a:cubicBezTo>
                  <a:pt x="f56" y="f55"/>
                  <a:pt x="f57" y="f36"/>
                  <a:pt x="f29" y="f36"/>
                </a:cubicBezTo>
                <a:cubicBezTo>
                  <a:pt x="f58" y="f36"/>
                  <a:pt x="f27" y="f36"/>
                  <a:pt x="f59" y="f55"/>
                </a:cubicBezTo>
                <a:cubicBezTo>
                  <a:pt x="f60" y="f61"/>
                  <a:pt x="f62" y="f63"/>
                  <a:pt x="f64" y="f65"/>
                </a:cubicBezTo>
                <a:cubicBezTo>
                  <a:pt x="f66" y="f20"/>
                  <a:pt x="f19" y="f53"/>
                  <a:pt x="f19" y="f53"/>
                </a:cubicBezTo>
                <a:cubicBezTo>
                  <a:pt x="f67" y="f53"/>
                  <a:pt x="f67" y="f53"/>
                  <a:pt x="f67" y="f53"/>
                </a:cubicBezTo>
                <a:cubicBezTo>
                  <a:pt x="f68" y="f51"/>
                  <a:pt x="f69" y="f50"/>
                  <a:pt x="f17" y="f14"/>
                </a:cubicBezTo>
                <a:cubicBezTo>
                  <a:pt x="f17" y="f13"/>
                  <a:pt x="f17" y="f13"/>
                  <a:pt x="f17" y="f13"/>
                </a:cubicBezTo>
                <a:cubicBezTo>
                  <a:pt x="f17" y="f12"/>
                  <a:pt x="f45" y="f9"/>
                  <a:pt x="f8" y="f9"/>
                </a:cubicBezTo>
                <a:close/>
                <a:moveTo>
                  <a:pt x="f70" y="f71"/>
                </a:moveTo>
                <a:cubicBezTo>
                  <a:pt x="f70" y="f71"/>
                  <a:pt x="f72" y="f73"/>
                  <a:pt x="f11" y="f74"/>
                </a:cubicBezTo>
                <a:cubicBezTo>
                  <a:pt x="f11" y="f75"/>
                  <a:pt x="f11" y="f76"/>
                  <a:pt x="f11" y="f76"/>
                </a:cubicBezTo>
                <a:cubicBezTo>
                  <a:pt x="f11" y="f32"/>
                  <a:pt x="f8" y="f77"/>
                  <a:pt x="f41" y="f77"/>
                </a:cubicBezTo>
                <a:cubicBezTo>
                  <a:pt x="f78" y="f77"/>
                  <a:pt x="f78" y="f77"/>
                  <a:pt x="f78" y="f77"/>
                </a:cubicBezTo>
                <a:cubicBezTo>
                  <a:pt x="f79" y="f77"/>
                  <a:pt x="f80" y="f32"/>
                  <a:pt x="f80" y="f81"/>
                </a:cubicBezTo>
                <a:cubicBezTo>
                  <a:pt x="f82" y="f83"/>
                  <a:pt x="f84" y="f85"/>
                  <a:pt x="f86" y="f87"/>
                </a:cubicBezTo>
                <a:cubicBezTo>
                  <a:pt x="f88" y="f89"/>
                  <a:pt x="f59" y="f5"/>
                  <a:pt x="f29" y="f5"/>
                </a:cubicBezTo>
                <a:cubicBezTo>
                  <a:pt x="f90" y="f5"/>
                  <a:pt x="f91" y="f87"/>
                  <a:pt x="f91" y="f87"/>
                </a:cubicBezTo>
                <a:cubicBezTo>
                  <a:pt x="f85" y="f71"/>
                  <a:pt x="f85" y="f71"/>
                  <a:pt x="f85" y="f71"/>
                </a:cubicBezTo>
                <a:cubicBezTo>
                  <a:pt x="f92" y="f93"/>
                  <a:pt x="f5" y="f94"/>
                  <a:pt x="f92" y="f95"/>
                </a:cubicBezTo>
                <a:cubicBezTo>
                  <a:pt x="f96" y="f15"/>
                  <a:pt x="f97" y="f98"/>
                  <a:pt x="f99" y="f100"/>
                </a:cubicBezTo>
                <a:cubicBezTo>
                  <a:pt x="f101" y="f102"/>
                  <a:pt x="f101" y="f102"/>
                  <a:pt x="f101" y="f102"/>
                </a:cubicBezTo>
                <a:cubicBezTo>
                  <a:pt x="f101" y="f102"/>
                  <a:pt x="f101" y="f102"/>
                  <a:pt x="f101" y="f102"/>
                </a:cubicBezTo>
                <a:cubicBezTo>
                  <a:pt x="f101" y="f102"/>
                  <a:pt x="f101" y="f102"/>
                  <a:pt x="f101" y="f102"/>
                </a:cubicBezTo>
                <a:cubicBezTo>
                  <a:pt x="f101" y="f103"/>
                  <a:pt x="f104" y="f105"/>
                  <a:pt x="f29" y="f105"/>
                </a:cubicBezTo>
                <a:cubicBezTo>
                  <a:pt x="f106" y="f105"/>
                  <a:pt x="f59" y="f103"/>
                  <a:pt x="f107" y="f102"/>
                </a:cubicBezTo>
                <a:cubicBezTo>
                  <a:pt x="f108" y="f109"/>
                  <a:pt x="f110" y="f111"/>
                  <a:pt x="f112" y="f34"/>
                </a:cubicBezTo>
                <a:cubicBezTo>
                  <a:pt x="f113" y="f34"/>
                  <a:pt x="f46" y="f114"/>
                  <a:pt x="f48" y="f114"/>
                </a:cubicBezTo>
                <a:cubicBezTo>
                  <a:pt x="f115" y="f114"/>
                  <a:pt x="f116" y="f34"/>
                  <a:pt x="f117" y="f118"/>
                </a:cubicBezTo>
                <a:cubicBezTo>
                  <a:pt x="f119" y="f120"/>
                  <a:pt x="f121" y="f39"/>
                  <a:pt x="f121" y="f122"/>
                </a:cubicBezTo>
                <a:cubicBezTo>
                  <a:pt x="f121" y="f76"/>
                  <a:pt x="f121" y="f76"/>
                  <a:pt x="f121" y="f76"/>
                </a:cubicBezTo>
                <a:cubicBezTo>
                  <a:pt x="f121" y="f123"/>
                  <a:pt x="f124" y="f125"/>
                  <a:pt x="f78" y="f125"/>
                </a:cubicBezTo>
                <a:cubicBezTo>
                  <a:pt x="f41" y="f125"/>
                  <a:pt x="f41" y="f125"/>
                  <a:pt x="f41" y="f125"/>
                </a:cubicBezTo>
                <a:cubicBezTo>
                  <a:pt x="f47" y="f125"/>
                  <a:pt x="f17" y="f123"/>
                  <a:pt x="f17" y="f76"/>
                </a:cubicBezTo>
                <a:cubicBezTo>
                  <a:pt x="f17" y="f76"/>
                  <a:pt x="f17" y="f126"/>
                  <a:pt x="f17" y="f127"/>
                </a:cubicBezTo>
                <a:cubicBezTo>
                  <a:pt x="f17" y="f128"/>
                  <a:pt x="f17" y="f129"/>
                  <a:pt x="f17" y="f130"/>
                </a:cubicBezTo>
                <a:cubicBezTo>
                  <a:pt x="f17" y="f131"/>
                  <a:pt x="f69" y="f65"/>
                  <a:pt x="f132" y="f133"/>
                </a:cubicBezTo>
                <a:cubicBezTo>
                  <a:pt x="f45" y="f134"/>
                  <a:pt x="f135" y="f136"/>
                  <a:pt x="f137" y="f136"/>
                </a:cubicBezTo>
                <a:cubicBezTo>
                  <a:pt x="f138" y="f139"/>
                  <a:pt x="f140" y="f100"/>
                  <a:pt x="f140" y="f100"/>
                </a:cubicBezTo>
                <a:cubicBezTo>
                  <a:pt x="f141" y="f15"/>
                  <a:pt x="f142" y="f15"/>
                  <a:pt x="f143" y="f15"/>
                </a:cubicBezTo>
                <a:cubicBezTo>
                  <a:pt x="f70" y="f15"/>
                  <a:pt x="f144" y="f145"/>
                  <a:pt x="f146" y="f95"/>
                </a:cubicBezTo>
                <a:cubicBezTo>
                  <a:pt x="f6" y="f94"/>
                  <a:pt x="f146" y="f93"/>
                  <a:pt x="f70" y="f71"/>
                </a:cubicBezTo>
                <a:close/>
              </a:path>
            </a:pathLst>
          </a:custGeom>
          <a:solidFill>
            <a:srgbClr val="00A9D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58585A"/>
              </a:solidFill>
              <a:uFillTx/>
              <a:latin typeface="Arial"/>
            </a:endParaRPr>
          </a:p>
        </p:txBody>
      </p:sp>
      <p:sp>
        <p:nvSpPr>
          <p:cNvPr id="45" name="Rectangle 148">
            <a:extLst>
              <a:ext uri="{FF2B5EF4-FFF2-40B4-BE49-F238E27FC236}">
                <a16:creationId xmlns:a16="http://schemas.microsoft.com/office/drawing/2014/main" id="{723802D6-C7C7-4936-8599-12CDE0CBC4D2}"/>
              </a:ext>
            </a:extLst>
          </p:cNvPr>
          <p:cNvSpPr/>
          <p:nvPr/>
        </p:nvSpPr>
        <p:spPr>
          <a:xfrm>
            <a:off x="5490642" y="5661712"/>
            <a:ext cx="1248494" cy="230831"/>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all" spc="0" baseline="0">
                <a:solidFill>
                  <a:srgbClr val="58585A"/>
                </a:solidFill>
                <a:uFillTx/>
                <a:latin typeface="Arial"/>
              </a:rPr>
              <a:t>Enterprise</a:t>
            </a:r>
          </a:p>
        </p:txBody>
      </p:sp>
      <p:sp>
        <p:nvSpPr>
          <p:cNvPr id="46" name="Rectangle 147">
            <a:extLst>
              <a:ext uri="{FF2B5EF4-FFF2-40B4-BE49-F238E27FC236}">
                <a16:creationId xmlns:a16="http://schemas.microsoft.com/office/drawing/2014/main" id="{0A546437-CF26-4A2D-B66F-C197A3BA269A}"/>
              </a:ext>
            </a:extLst>
          </p:cNvPr>
          <p:cNvSpPr/>
          <p:nvPr/>
        </p:nvSpPr>
        <p:spPr>
          <a:xfrm>
            <a:off x="7517328" y="5693844"/>
            <a:ext cx="1229794" cy="230831"/>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ea typeface="MS PGothic" pitchFamily="34"/>
              </a:rPr>
              <a:t>VR/AR</a:t>
            </a:r>
            <a:endParaRPr lang="en-US" sz="900" b="0" i="0" u="none" strike="noStrike" kern="1200" cap="none" spc="0" baseline="0">
              <a:solidFill>
                <a:srgbClr val="58585A"/>
              </a:solidFill>
              <a:uFillTx/>
              <a:latin typeface="Arial"/>
            </a:endParaRPr>
          </a:p>
        </p:txBody>
      </p:sp>
      <p:sp>
        <p:nvSpPr>
          <p:cNvPr id="47" name="Freeform 6">
            <a:extLst>
              <a:ext uri="{FF2B5EF4-FFF2-40B4-BE49-F238E27FC236}">
                <a16:creationId xmlns:a16="http://schemas.microsoft.com/office/drawing/2014/main" id="{53F4C1C7-ADFA-458D-B544-7F861C0A4119}"/>
              </a:ext>
            </a:extLst>
          </p:cNvPr>
          <p:cNvSpPr/>
          <p:nvPr/>
        </p:nvSpPr>
        <p:spPr>
          <a:xfrm>
            <a:off x="7934102" y="5341023"/>
            <a:ext cx="377546" cy="267151"/>
          </a:xfrm>
          <a:custGeom>
            <a:avLst/>
            <a:gdLst>
              <a:gd name="f0" fmla="val 10800000"/>
              <a:gd name="f1" fmla="val 5400000"/>
              <a:gd name="f2" fmla="val 360"/>
              <a:gd name="f3" fmla="val 180"/>
              <a:gd name="f4" fmla="val w"/>
              <a:gd name="f5" fmla="val h"/>
              <a:gd name="f6" fmla="val 0"/>
              <a:gd name="f7" fmla="val 434"/>
              <a:gd name="f8" fmla="val 307"/>
              <a:gd name="f9" fmla="val 97"/>
              <a:gd name="f10" fmla="val 107"/>
              <a:gd name="f11" fmla="val 113"/>
              <a:gd name="f12" fmla="val 123"/>
              <a:gd name="f13" fmla="val 132"/>
              <a:gd name="f14" fmla="val 133"/>
              <a:gd name="f15" fmla="val 134"/>
              <a:gd name="f16" fmla="val 122"/>
              <a:gd name="f17" fmla="val 92"/>
              <a:gd name="f18" fmla="val 91"/>
              <a:gd name="f19" fmla="val 317"/>
              <a:gd name="f20" fmla="val 308"/>
              <a:gd name="f21" fmla="val 301"/>
              <a:gd name="f22" fmla="val 98"/>
              <a:gd name="f23" fmla="val 116"/>
              <a:gd name="f24" fmla="val 326"/>
              <a:gd name="f25" fmla="val 333"/>
              <a:gd name="f26" fmla="val 67"/>
              <a:gd name="f27" fmla="val 137"/>
              <a:gd name="f28" fmla="val 156"/>
              <a:gd name="f29" fmla="val 157"/>
              <a:gd name="f30" fmla="val 68"/>
              <a:gd name="f31" fmla="val 99"/>
              <a:gd name="f32" fmla="val 83"/>
              <a:gd name="f33" fmla="val 121"/>
              <a:gd name="f34" fmla="val 77"/>
              <a:gd name="f35" fmla="val 58"/>
              <a:gd name="f36" fmla="val 57"/>
              <a:gd name="f37" fmla="val 93"/>
              <a:gd name="f38" fmla="val 53"/>
              <a:gd name="f39" fmla="val 34"/>
              <a:gd name="f40" fmla="val 33"/>
              <a:gd name="f41" fmla="val 69"/>
              <a:gd name="f42" fmla="val 418"/>
              <a:gd name="f43" fmla="val 50"/>
              <a:gd name="f44" fmla="val 394"/>
              <a:gd name="f45" fmla="val 36"/>
              <a:gd name="f46" fmla="val 31"/>
              <a:gd name="f47" fmla="val 24"/>
              <a:gd name="f48" fmla="val 392"/>
              <a:gd name="f49" fmla="val 17"/>
              <a:gd name="f50" fmla="val 391"/>
              <a:gd name="f51" fmla="val 13"/>
              <a:gd name="f52" fmla="val 389"/>
              <a:gd name="f53" fmla="val 9"/>
              <a:gd name="f54" fmla="val 386"/>
              <a:gd name="f55" fmla="val 6"/>
              <a:gd name="f56" fmla="val 384"/>
              <a:gd name="f57" fmla="val 3"/>
              <a:gd name="f58" fmla="val 379"/>
              <a:gd name="f59" fmla="val 373"/>
              <a:gd name="f60" fmla="val 330"/>
              <a:gd name="f61" fmla="val 324"/>
              <a:gd name="f62" fmla="val 318"/>
              <a:gd name="f63" fmla="val 4"/>
              <a:gd name="f64" fmla="val 316"/>
              <a:gd name="f65" fmla="val 8"/>
              <a:gd name="f66" fmla="val 312"/>
              <a:gd name="f67" fmla="val 14"/>
              <a:gd name="f68" fmla="val 310"/>
              <a:gd name="f69" fmla="val 21"/>
              <a:gd name="f70" fmla="val 309"/>
              <a:gd name="f71" fmla="val 27"/>
              <a:gd name="f72" fmla="val 30"/>
              <a:gd name="f73" fmla="val 35"/>
              <a:gd name="f74" fmla="val 305"/>
              <a:gd name="f75" fmla="val 38"/>
              <a:gd name="f76" fmla="val 40"/>
              <a:gd name="f77" fmla="val 298"/>
              <a:gd name="f78" fmla="val 43"/>
              <a:gd name="f79" fmla="val 130"/>
              <a:gd name="f80" fmla="val 126"/>
              <a:gd name="f81" fmla="val 124"/>
              <a:gd name="f82" fmla="val 118"/>
              <a:gd name="f83" fmla="val 111"/>
              <a:gd name="f84" fmla="val 105"/>
              <a:gd name="f85" fmla="val 62"/>
              <a:gd name="f86" fmla="val 55"/>
              <a:gd name="f87" fmla="val 48"/>
              <a:gd name="f88" fmla="val 44"/>
              <a:gd name="f89" fmla="val 42"/>
              <a:gd name="f90" fmla="val 41"/>
              <a:gd name="f91" fmla="val 16"/>
              <a:gd name="f92" fmla="val 76"/>
              <a:gd name="f93" fmla="val 108"/>
              <a:gd name="f94" fmla="val 114"/>
              <a:gd name="f95" fmla="val 1"/>
              <a:gd name="f96" fmla="val 117"/>
              <a:gd name="f97" fmla="val 148"/>
              <a:gd name="f98" fmla="val 253"/>
              <a:gd name="f99" fmla="val 11"/>
              <a:gd name="f100" fmla="val 264"/>
              <a:gd name="f101" fmla="val 270"/>
              <a:gd name="f102" fmla="val 281"/>
              <a:gd name="f103" fmla="val 20"/>
              <a:gd name="f104" fmla="val 290"/>
              <a:gd name="f105" fmla="val 300"/>
              <a:gd name="f106" fmla="val 39"/>
              <a:gd name="f107" fmla="val 90"/>
              <a:gd name="f108" fmla="val 299"/>
              <a:gd name="f109" fmla="val 289"/>
              <a:gd name="f110" fmla="val 280"/>
              <a:gd name="f111" fmla="val 115"/>
              <a:gd name="f112" fmla="val 266"/>
              <a:gd name="f113" fmla="val 262"/>
              <a:gd name="f114" fmla="val 252"/>
              <a:gd name="f115" fmla="val 127"/>
              <a:gd name="f116" fmla="val 240"/>
              <a:gd name="f117" fmla="val 229"/>
              <a:gd name="f118" fmla="val 217"/>
              <a:gd name="f119" fmla="val 141"/>
              <a:gd name="f120" fmla="val 208"/>
              <a:gd name="f121" fmla="val 145"/>
              <a:gd name="f122" fmla="val 200"/>
              <a:gd name="f123" fmla="val 197"/>
              <a:gd name="f124" fmla="val 150"/>
              <a:gd name="f125" fmla="val 196"/>
              <a:gd name="f126" fmla="val 152"/>
              <a:gd name="f127" fmla="val 195"/>
              <a:gd name="f128" fmla="val 194"/>
              <a:gd name="f129" fmla="val 164"/>
              <a:gd name="f130" fmla="val 278"/>
              <a:gd name="f131" fmla="val 282"/>
              <a:gd name="f132" fmla="val 284"/>
              <a:gd name="f133" fmla="val 286"/>
              <a:gd name="f134" fmla="val 293"/>
              <a:gd name="f135" fmla="val 297"/>
              <a:gd name="f136" fmla="val 303"/>
              <a:gd name="f137" fmla="val 313"/>
              <a:gd name="f138" fmla="val 319"/>
              <a:gd name="f139" fmla="val 321"/>
              <a:gd name="f140" fmla="val 335"/>
              <a:gd name="f141" fmla="val 344"/>
              <a:gd name="f142" fmla="val 358"/>
              <a:gd name="f143" fmla="val 377"/>
              <a:gd name="f144" fmla="val 395"/>
              <a:gd name="f145" fmla="val 408"/>
              <a:gd name="f146" fmla="val 414"/>
              <a:gd name="f147" fmla="val 421"/>
              <a:gd name="f148" fmla="val 423"/>
              <a:gd name="f149" fmla="val 424"/>
              <a:gd name="f150" fmla="val 263"/>
              <a:gd name="f151" fmla="val 425"/>
              <a:gd name="f152" fmla="val 256"/>
              <a:gd name="f153" fmla="val 248"/>
              <a:gd name="f154" fmla="val 422"/>
              <a:gd name="f155" fmla="val 244"/>
              <a:gd name="f156" fmla="val 243"/>
              <a:gd name="f157" fmla="val 413"/>
              <a:gd name="f158" fmla="val 410"/>
              <a:gd name="f159" fmla="val 246"/>
              <a:gd name="f160" fmla="val 409"/>
              <a:gd name="f161" fmla="val 251"/>
              <a:gd name="f162" fmla="val 254"/>
              <a:gd name="f163" fmla="val 260"/>
              <a:gd name="f164" fmla="val 407"/>
              <a:gd name="f165" fmla="val 267"/>
              <a:gd name="f166" fmla="val 406"/>
              <a:gd name="f167" fmla="val 275"/>
              <a:gd name="f168" fmla="val 401"/>
              <a:gd name="f169" fmla="val 397"/>
              <a:gd name="f170" fmla="val 291"/>
              <a:gd name="f171" fmla="val 363"/>
              <a:gd name="f172" fmla="val 354"/>
              <a:gd name="f173" fmla="val 285"/>
              <a:gd name="f174" fmla="val 347"/>
              <a:gd name="f175" fmla="val 340"/>
              <a:gd name="f176" fmla="val 271"/>
              <a:gd name="f177" fmla="val 336"/>
              <a:gd name="f178" fmla="val 334"/>
              <a:gd name="f179" fmla="val 259"/>
              <a:gd name="f180" fmla="val 332"/>
              <a:gd name="f181" fmla="val 327"/>
              <a:gd name="f182" fmla="val 245"/>
              <a:gd name="f183" fmla="val 322"/>
              <a:gd name="f184" fmla="val 234"/>
              <a:gd name="f185" fmla="val 222"/>
              <a:gd name="f186" fmla="val 210"/>
              <a:gd name="f187" fmla="val 201"/>
              <a:gd name="f188" fmla="val 193"/>
              <a:gd name="f189" fmla="val 186"/>
              <a:gd name="f190" fmla="val 292"/>
              <a:gd name="f191" fmla="val 182"/>
              <a:gd name="f192" fmla="val 178"/>
              <a:gd name="f193" fmla="val 279"/>
              <a:gd name="f194" fmla="val 149"/>
              <a:gd name="f195" fmla="val 142"/>
              <a:gd name="f196" fmla="val 135"/>
              <a:gd name="f197" fmla="val 112"/>
              <a:gd name="f198" fmla="val 103"/>
              <a:gd name="f199" fmla="val 101"/>
              <a:gd name="f200" fmla="val 95"/>
              <a:gd name="f201" fmla="val 88"/>
              <a:gd name="f202" fmla="val 81"/>
              <a:gd name="f203" fmla="val 71"/>
              <a:gd name="f204" fmla="val 37"/>
              <a:gd name="f205" fmla="val 29"/>
              <a:gd name="f206" fmla="val 26"/>
              <a:gd name="f207" fmla="val 23"/>
              <a:gd name="f208" fmla="val 173"/>
              <a:gd name="f209" fmla="val 167"/>
              <a:gd name="f210" fmla="val 19"/>
              <a:gd name="f211" fmla="val 160"/>
              <a:gd name="f212" fmla="val 179"/>
              <a:gd name="f213" fmla="val 190"/>
              <a:gd name="f214" fmla="val 129"/>
              <a:gd name="f215" fmla="val 166"/>
              <a:gd name="f216" fmla="val 153"/>
              <a:gd name="f217" fmla="val 89"/>
              <a:gd name="f218" fmla="val 161"/>
              <a:gd name="f219" fmla="val 73"/>
              <a:gd name="f220" fmla="val 151"/>
              <a:gd name="f221" fmla="val 59"/>
              <a:gd name="f222" fmla="val 283"/>
              <a:gd name="f223" fmla="val 274"/>
              <a:gd name="f224" fmla="val 268"/>
              <a:gd name="f225" fmla="val 351"/>
              <a:gd name="f226" fmla="val 399"/>
              <a:gd name="f227" fmla="val 415"/>
              <a:gd name="f228" fmla="val 411"/>
              <a:gd name="f229" fmla="val 219"/>
              <a:gd name="f230" fmla="val 223"/>
              <a:gd name="f231" fmla="val 227"/>
              <a:gd name="f232" fmla="val 426"/>
              <a:gd name="f233" fmla="val 224"/>
              <a:gd name="f234" fmla="val 427"/>
              <a:gd name="f235" fmla="val 220"/>
              <a:gd name="f236" fmla="val 430"/>
              <a:gd name="f237" fmla="val 174"/>
              <a:gd name="f238" fmla="val 171"/>
              <a:gd name="f239" fmla="val 46"/>
              <a:gd name="f240" fmla="val 144"/>
              <a:gd name="f241" fmla="val 52"/>
              <a:gd name="f242" fmla="val 47"/>
              <a:gd name="f243" fmla="val 56"/>
              <a:gd name="f244" fmla="val 60"/>
              <a:gd name="f245" fmla="val 18"/>
              <a:gd name="f246" fmla="val 61"/>
              <a:gd name="f247" fmla="val 106"/>
              <a:gd name="f248" fmla="val 109"/>
              <a:gd name="f249" fmla="val 25"/>
              <a:gd name="f250" fmla="val 110"/>
              <a:gd name="f251" fmla="val 136"/>
              <a:gd name="f252" fmla="val 120"/>
              <a:gd name="f253" fmla="val 314"/>
              <a:gd name="f254" fmla="val 320"/>
              <a:gd name="f255" fmla="val 325"/>
              <a:gd name="f256" fmla="val 328"/>
              <a:gd name="f257" fmla="val 329"/>
              <a:gd name="f258" fmla="val 374"/>
              <a:gd name="f259" fmla="val 375"/>
              <a:gd name="f260" fmla="val 378"/>
              <a:gd name="f261" fmla="val 380"/>
              <a:gd name="f262" fmla="val 382"/>
              <a:gd name="f263" fmla="val 404"/>
              <a:gd name="f264" fmla="val 388"/>
              <a:gd name="f265" fmla="val 225"/>
              <a:gd name="f266" fmla="val 147"/>
              <a:gd name="f267" fmla="val 154"/>
              <a:gd name="f268" fmla="val 231"/>
              <a:gd name="f269" fmla="val 238"/>
              <a:gd name="f270" fmla="val 250"/>
              <a:gd name="f271" fmla="val 125"/>
              <a:gd name="f272" fmla="val 342"/>
              <a:gd name="f273" fmla="val 367"/>
              <a:gd name="f274" fmla="val 187"/>
              <a:gd name="f275" fmla="val 207"/>
              <a:gd name="f276" fmla="val 64"/>
              <a:gd name="f277" fmla="val 82"/>
              <a:gd name="f278" fmla="val 385"/>
              <a:gd name="f279" fmla="val 369"/>
              <a:gd name="f280" fmla="val 402"/>
              <a:gd name="f281" fmla="+- 0 0 -90"/>
              <a:gd name="f282" fmla="*/ f4 1 434"/>
              <a:gd name="f283" fmla="*/ f5 1 307"/>
              <a:gd name="f284" fmla="+- f8 0 f6"/>
              <a:gd name="f285" fmla="+- f7 0 f6"/>
              <a:gd name="f286" fmla="*/ f281 f0 1"/>
              <a:gd name="f287" fmla="*/ f285 1 434"/>
              <a:gd name="f288" fmla="*/ f284 1 307"/>
              <a:gd name="f289" fmla="*/ 2147483647 f285 1"/>
              <a:gd name="f290" fmla="*/ 2147483647 f284 1"/>
              <a:gd name="f291" fmla="*/ 0 f284 1"/>
              <a:gd name="f292" fmla="*/ 0 f285 1"/>
              <a:gd name="f293" fmla="*/ f286 1 f3"/>
              <a:gd name="f294" fmla="*/ f289 1 434"/>
              <a:gd name="f295" fmla="*/ f290 1 307"/>
              <a:gd name="f296" fmla="*/ f291 1 307"/>
              <a:gd name="f297" fmla="*/ f292 1 434"/>
              <a:gd name="f298" fmla="*/ 0 1 f287"/>
              <a:gd name="f299" fmla="*/ f7 1 f287"/>
              <a:gd name="f300" fmla="*/ 0 1 f288"/>
              <a:gd name="f301" fmla="*/ f8 1 f288"/>
              <a:gd name="f302" fmla="+- f293 0 f1"/>
              <a:gd name="f303" fmla="*/ f294 1 f287"/>
              <a:gd name="f304" fmla="*/ f295 1 f288"/>
              <a:gd name="f305" fmla="*/ f296 1 f288"/>
              <a:gd name="f306" fmla="*/ f297 1 f287"/>
              <a:gd name="f307" fmla="*/ f298 f282 1"/>
              <a:gd name="f308" fmla="*/ f299 f282 1"/>
              <a:gd name="f309" fmla="*/ f301 f283 1"/>
              <a:gd name="f310" fmla="*/ f300 f283 1"/>
              <a:gd name="f311" fmla="*/ f303 f282 1"/>
              <a:gd name="f312" fmla="*/ f304 f283 1"/>
              <a:gd name="f313" fmla="*/ f305 f283 1"/>
              <a:gd name="f314" fmla="*/ f306 f282 1"/>
            </a:gdLst>
            <a:ahLst/>
            <a:cxnLst>
              <a:cxn ang="3cd4">
                <a:pos x="hc" y="t"/>
              </a:cxn>
              <a:cxn ang="0">
                <a:pos x="r" y="vc"/>
              </a:cxn>
              <a:cxn ang="cd4">
                <a:pos x="hc" y="b"/>
              </a:cxn>
              <a:cxn ang="cd2">
                <a:pos x="l" y="vc"/>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3"/>
              </a:cxn>
              <a:cxn ang="f302">
                <a:pos x="f311" y="f312"/>
              </a:cxn>
              <a:cxn ang="f302">
                <a:pos x="f311" y="f312"/>
              </a:cxn>
              <a:cxn ang="f302">
                <a:pos x="f311" y="f312"/>
              </a:cxn>
              <a:cxn ang="f302">
                <a:pos x="f311" y="f312"/>
              </a:cxn>
              <a:cxn ang="f302">
                <a:pos x="f314" y="f312"/>
              </a:cxn>
              <a:cxn ang="f302">
                <a:pos x="f314"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 ang="f302">
                <a:pos x="f311" y="f312"/>
              </a:cxn>
            </a:cxnLst>
            <a:rect l="f307" t="f310" r="f308" b="f309"/>
            <a:pathLst>
              <a:path w="434" h="307">
                <a:moveTo>
                  <a:pt x="f9" y="f10"/>
                </a:moveTo>
                <a:cubicBezTo>
                  <a:pt x="f11" y="f12"/>
                  <a:pt x="f11" y="f12"/>
                  <a:pt x="f11" y="f12"/>
                </a:cubicBezTo>
                <a:cubicBezTo>
                  <a:pt x="f13" y="f12"/>
                  <a:pt x="f13" y="f12"/>
                  <a:pt x="f13" y="f12"/>
                </a:cubicBezTo>
                <a:cubicBezTo>
                  <a:pt x="f14" y="f12"/>
                  <a:pt x="f15" y="f12"/>
                  <a:pt x="f15" y="f16"/>
                </a:cubicBezTo>
                <a:cubicBezTo>
                  <a:pt x="f15" y="f17"/>
                  <a:pt x="f15" y="f17"/>
                  <a:pt x="f15" y="f17"/>
                </a:cubicBezTo>
                <a:cubicBezTo>
                  <a:pt x="f15" y="f18"/>
                  <a:pt x="f14" y="f18"/>
                  <a:pt x="f13" y="f18"/>
                </a:cubicBezTo>
                <a:cubicBezTo>
                  <a:pt x="f11" y="f18"/>
                  <a:pt x="f11" y="f18"/>
                  <a:pt x="f11" y="f18"/>
                </a:cubicBezTo>
                <a:lnTo>
                  <a:pt x="f9" y="f10"/>
                </a:lnTo>
                <a:close/>
                <a:moveTo>
                  <a:pt x="f19" y="f18"/>
                </a:moveTo>
                <a:cubicBezTo>
                  <a:pt x="f20" y="f18"/>
                  <a:pt x="f21" y="f22"/>
                  <a:pt x="f21" y="f10"/>
                </a:cubicBezTo>
                <a:cubicBezTo>
                  <a:pt x="f21" y="f23"/>
                  <a:pt x="f20" y="f12"/>
                  <a:pt x="f19" y="f12"/>
                </a:cubicBezTo>
                <a:cubicBezTo>
                  <a:pt x="f24" y="f12"/>
                  <a:pt x="f25" y="f23"/>
                  <a:pt x="f25" y="f10"/>
                </a:cubicBezTo>
                <a:cubicBezTo>
                  <a:pt x="f25" y="f22"/>
                  <a:pt x="f24" y="f18"/>
                  <a:pt x="f19" y="f18"/>
                </a:cubicBezTo>
                <a:close/>
                <a:moveTo>
                  <a:pt x="f26" y="f27"/>
                </a:moveTo>
                <a:cubicBezTo>
                  <a:pt x="f26" y="f28"/>
                  <a:pt x="f26" y="f28"/>
                  <a:pt x="f26" y="f28"/>
                </a:cubicBezTo>
                <a:cubicBezTo>
                  <a:pt x="f26" y="f29"/>
                  <a:pt x="f30" y="f29"/>
                  <a:pt x="f30" y="f29"/>
                </a:cubicBezTo>
                <a:cubicBezTo>
                  <a:pt x="f22" y="f29"/>
                  <a:pt x="f22" y="f29"/>
                  <a:pt x="f22" y="f29"/>
                </a:cubicBezTo>
                <a:cubicBezTo>
                  <a:pt x="f31" y="f29"/>
                  <a:pt x="f31" y="f29"/>
                  <a:pt x="f31" y="f28"/>
                </a:cubicBezTo>
                <a:cubicBezTo>
                  <a:pt x="f31" y="f27"/>
                  <a:pt x="f31" y="f27"/>
                  <a:pt x="f31" y="f27"/>
                </a:cubicBezTo>
                <a:cubicBezTo>
                  <a:pt x="f32" y="f33"/>
                  <a:pt x="f32" y="f33"/>
                  <a:pt x="f32" y="f33"/>
                </a:cubicBezTo>
                <a:lnTo>
                  <a:pt x="f26" y="f27"/>
                </a:lnTo>
                <a:close/>
                <a:moveTo>
                  <a:pt x="f31" y="f34"/>
                </a:moveTo>
                <a:cubicBezTo>
                  <a:pt x="f31" y="f35"/>
                  <a:pt x="f31" y="f35"/>
                  <a:pt x="f31" y="f35"/>
                </a:cubicBezTo>
                <a:cubicBezTo>
                  <a:pt x="f31" y="f36"/>
                  <a:pt x="f31" y="f36"/>
                  <a:pt x="f22" y="f36"/>
                </a:cubicBezTo>
                <a:cubicBezTo>
                  <a:pt x="f30" y="f36"/>
                  <a:pt x="f30" y="f36"/>
                  <a:pt x="f30" y="f36"/>
                </a:cubicBezTo>
                <a:cubicBezTo>
                  <a:pt x="f30" y="f36"/>
                  <a:pt x="f26" y="f36"/>
                  <a:pt x="f26" y="f35"/>
                </a:cubicBezTo>
                <a:cubicBezTo>
                  <a:pt x="f26" y="f34"/>
                  <a:pt x="f26" y="f34"/>
                  <a:pt x="f26" y="f34"/>
                </a:cubicBezTo>
                <a:cubicBezTo>
                  <a:pt x="f32" y="f37"/>
                  <a:pt x="f32" y="f37"/>
                  <a:pt x="f32" y="f37"/>
                </a:cubicBezTo>
                <a:lnTo>
                  <a:pt x="f31" y="f34"/>
                </a:lnTo>
                <a:close/>
                <a:moveTo>
                  <a:pt x="f38" y="f18"/>
                </a:moveTo>
                <a:cubicBezTo>
                  <a:pt x="f39" y="f18"/>
                  <a:pt x="f39" y="f18"/>
                  <a:pt x="f39" y="f18"/>
                </a:cubicBezTo>
                <a:cubicBezTo>
                  <a:pt x="f40" y="f18"/>
                  <a:pt x="f40" y="f18"/>
                  <a:pt x="f40" y="f17"/>
                </a:cubicBezTo>
                <a:cubicBezTo>
                  <a:pt x="f40" y="f16"/>
                  <a:pt x="f40" y="f16"/>
                  <a:pt x="f40" y="f16"/>
                </a:cubicBezTo>
                <a:cubicBezTo>
                  <a:pt x="f40" y="f12"/>
                  <a:pt x="f40" y="f12"/>
                  <a:pt x="f39" y="f12"/>
                </a:cubicBezTo>
                <a:cubicBezTo>
                  <a:pt x="f38" y="f12"/>
                  <a:pt x="f38" y="f12"/>
                  <a:pt x="f38" y="f12"/>
                </a:cubicBezTo>
                <a:cubicBezTo>
                  <a:pt x="f41" y="f10"/>
                  <a:pt x="f41" y="f10"/>
                  <a:pt x="f41" y="f10"/>
                </a:cubicBezTo>
                <a:lnTo>
                  <a:pt x="f38" y="f18"/>
                </a:lnTo>
                <a:close/>
                <a:moveTo>
                  <a:pt x="f7" y="f10"/>
                </a:moveTo>
                <a:cubicBezTo>
                  <a:pt x="f7" y="f34"/>
                  <a:pt x="f42" y="f43"/>
                  <a:pt x="f44" y="f45"/>
                </a:cubicBezTo>
                <a:cubicBezTo>
                  <a:pt x="f44" y="f46"/>
                  <a:pt x="f44" y="f47"/>
                  <a:pt x="f48" y="f49"/>
                </a:cubicBezTo>
                <a:cubicBezTo>
                  <a:pt x="f50" y="f51"/>
                  <a:pt x="f52" y="f53"/>
                  <a:pt x="f54" y="f55"/>
                </a:cubicBezTo>
                <a:cubicBezTo>
                  <a:pt x="f56" y="f57"/>
                  <a:pt x="f58" y="f6"/>
                  <a:pt x="f59" y="f6"/>
                </a:cubicBezTo>
                <a:cubicBezTo>
                  <a:pt x="f60" y="f6"/>
                  <a:pt x="f60" y="f6"/>
                  <a:pt x="f60" y="f6"/>
                </a:cubicBezTo>
                <a:cubicBezTo>
                  <a:pt x="f61" y="f6"/>
                  <a:pt x="f62" y="f63"/>
                  <a:pt x="f64" y="f65"/>
                </a:cubicBezTo>
                <a:cubicBezTo>
                  <a:pt x="f66" y="f67"/>
                  <a:pt x="f68" y="f69"/>
                  <a:pt x="f70" y="f71"/>
                </a:cubicBezTo>
                <a:cubicBezTo>
                  <a:pt x="f70" y="f72"/>
                  <a:pt x="f70" y="f40"/>
                  <a:pt x="f70" y="f73"/>
                </a:cubicBezTo>
                <a:cubicBezTo>
                  <a:pt x="f74" y="f75"/>
                  <a:pt x="f21" y="f76"/>
                  <a:pt x="f77" y="f78"/>
                </a:cubicBezTo>
                <a:cubicBezTo>
                  <a:pt x="f27" y="f78"/>
                  <a:pt x="f27" y="f78"/>
                  <a:pt x="f27" y="f78"/>
                </a:cubicBezTo>
                <a:cubicBezTo>
                  <a:pt x="f14" y="f76"/>
                  <a:pt x="f79" y="f75"/>
                  <a:pt x="f80" y="f45"/>
                </a:cubicBezTo>
                <a:cubicBezTo>
                  <a:pt x="f80" y="f46"/>
                  <a:pt x="f80" y="f47"/>
                  <a:pt x="f81" y="f49"/>
                </a:cubicBezTo>
                <a:cubicBezTo>
                  <a:pt x="f12" y="f51"/>
                  <a:pt x="f33" y="f53"/>
                  <a:pt x="f82" y="f55"/>
                </a:cubicBezTo>
                <a:cubicBezTo>
                  <a:pt x="f23" y="f57"/>
                  <a:pt x="f83" y="f6"/>
                  <a:pt x="f84" y="f6"/>
                </a:cubicBezTo>
                <a:cubicBezTo>
                  <a:pt x="f85" y="f6"/>
                  <a:pt x="f85" y="f6"/>
                  <a:pt x="f85" y="f6"/>
                </a:cubicBezTo>
                <a:cubicBezTo>
                  <a:pt x="f86" y="f6"/>
                  <a:pt x="f43" y="f63"/>
                  <a:pt x="f87" y="f65"/>
                </a:cubicBezTo>
                <a:cubicBezTo>
                  <a:pt x="f88" y="f67"/>
                  <a:pt x="f89" y="f69"/>
                  <a:pt x="f90" y="f71"/>
                </a:cubicBezTo>
                <a:cubicBezTo>
                  <a:pt x="f90" y="f72"/>
                  <a:pt x="f90" y="f40"/>
                  <a:pt x="f90" y="f73"/>
                </a:cubicBezTo>
                <a:cubicBezTo>
                  <a:pt x="f91" y="f43"/>
                  <a:pt x="f6" y="f92"/>
                  <a:pt x="f6" y="f10"/>
                </a:cubicBezTo>
                <a:cubicBezTo>
                  <a:pt x="f6" y="f10"/>
                  <a:pt x="f6" y="f10"/>
                  <a:pt x="f6" y="f10"/>
                </a:cubicBezTo>
                <a:cubicBezTo>
                  <a:pt x="f6" y="f10"/>
                  <a:pt x="f6" y="f10"/>
                  <a:pt x="f6" y="f10"/>
                </a:cubicBezTo>
                <a:cubicBezTo>
                  <a:pt x="f6" y="f10"/>
                  <a:pt x="f6" y="f93"/>
                  <a:pt x="f6" y="f93"/>
                </a:cubicBezTo>
                <a:cubicBezTo>
                  <a:pt x="f6" y="f83"/>
                  <a:pt x="f6" y="f94"/>
                  <a:pt x="f95" y="f96"/>
                </a:cubicBezTo>
                <a:cubicBezTo>
                  <a:pt x="f57" y="f97"/>
                  <a:pt x="f53" y="f98"/>
                  <a:pt x="f99" y="f100"/>
                </a:cubicBezTo>
                <a:cubicBezTo>
                  <a:pt x="f99" y="f101"/>
                  <a:pt x="f51" y="f102"/>
                  <a:pt x="f103" y="f104"/>
                </a:cubicBezTo>
                <a:cubicBezTo>
                  <a:pt x="f71" y="f105"/>
                  <a:pt x="f106" y="f8"/>
                  <a:pt x="f35" y="f8"/>
                </a:cubicBezTo>
                <a:cubicBezTo>
                  <a:pt x="f92" y="f8"/>
                  <a:pt x="f107" y="f108"/>
                  <a:pt x="f31" y="f109"/>
                </a:cubicBezTo>
                <a:cubicBezTo>
                  <a:pt x="f93" y="f110"/>
                  <a:pt x="f11" y="f101"/>
                  <a:pt x="f111" y="f112"/>
                </a:cubicBezTo>
                <a:cubicBezTo>
                  <a:pt x="f96" y="f113"/>
                  <a:pt x="f16" y="f114"/>
                  <a:pt x="f115" y="f116"/>
                </a:cubicBezTo>
                <a:cubicBezTo>
                  <a:pt x="f13" y="f117"/>
                  <a:pt x="f27" y="f118"/>
                  <a:pt x="f119" y="f120"/>
                </a:cubicBezTo>
                <a:cubicBezTo>
                  <a:pt x="f121" y="f122"/>
                  <a:pt x="f97" y="f123"/>
                  <a:pt x="f124" y="f125"/>
                </a:cubicBezTo>
                <a:cubicBezTo>
                  <a:pt x="f126" y="f127"/>
                  <a:pt x="f28" y="f128"/>
                  <a:pt x="f129" y="f128"/>
                </a:cubicBezTo>
                <a:cubicBezTo>
                  <a:pt x="f101" y="f128"/>
                  <a:pt x="f101" y="f128"/>
                  <a:pt x="f101" y="f128"/>
                </a:cubicBezTo>
                <a:cubicBezTo>
                  <a:pt x="f130" y="f128"/>
                  <a:pt x="f131" y="f127"/>
                  <a:pt x="f132" y="f125"/>
                </a:cubicBezTo>
                <a:cubicBezTo>
                  <a:pt x="f133" y="f123"/>
                  <a:pt x="f109" y="f122"/>
                  <a:pt x="f134" y="f120"/>
                </a:cubicBezTo>
                <a:cubicBezTo>
                  <a:pt x="f135" y="f118"/>
                  <a:pt x="f136" y="f117"/>
                  <a:pt x="f20" y="f116"/>
                </a:cubicBezTo>
                <a:cubicBezTo>
                  <a:pt x="f137" y="f114"/>
                  <a:pt x="f19" y="f113"/>
                  <a:pt x="f138" y="f112"/>
                </a:cubicBezTo>
                <a:cubicBezTo>
                  <a:pt x="f139" y="f101"/>
                  <a:pt x="f24" y="f110"/>
                  <a:pt x="f140" y="f109"/>
                </a:cubicBezTo>
                <a:cubicBezTo>
                  <a:pt x="f141" y="f108"/>
                  <a:pt x="f142" y="f8"/>
                  <a:pt x="f143" y="f8"/>
                </a:cubicBezTo>
                <a:cubicBezTo>
                  <a:pt x="f143" y="f8"/>
                  <a:pt x="f143" y="f8"/>
                  <a:pt x="f143" y="f8"/>
                </a:cubicBezTo>
                <a:cubicBezTo>
                  <a:pt x="f144" y="f8"/>
                  <a:pt x="f145" y="f105"/>
                  <a:pt x="f146" y="f104"/>
                </a:cubicBezTo>
                <a:cubicBezTo>
                  <a:pt x="f147" y="f102"/>
                  <a:pt x="f148" y="f101"/>
                  <a:pt x="f149" y="f100"/>
                </a:cubicBezTo>
                <a:cubicBezTo>
                  <a:pt x="f149" y="f150"/>
                  <a:pt x="f151" y="f152"/>
                  <a:pt x="f151" y="f114"/>
                </a:cubicBezTo>
                <a:cubicBezTo>
                  <a:pt x="f151" y="f153"/>
                  <a:pt x="f154" y="f155"/>
                  <a:pt x="f42" y="f156"/>
                </a:cubicBezTo>
                <a:cubicBezTo>
                  <a:pt x="f157" y="f156"/>
                  <a:pt x="f158" y="f159"/>
                  <a:pt x="f160" y="f161"/>
                </a:cubicBezTo>
                <a:cubicBezTo>
                  <a:pt x="f160" y="f162"/>
                  <a:pt x="f145" y="f163"/>
                  <a:pt x="f145" y="f113"/>
                </a:cubicBezTo>
                <a:cubicBezTo>
                  <a:pt x="f164" y="f165"/>
                  <a:pt x="f166" y="f167"/>
                  <a:pt x="f168" y="f102"/>
                </a:cubicBezTo>
                <a:cubicBezTo>
                  <a:pt x="f169" y="f133"/>
                  <a:pt x="f50" y="f170"/>
                  <a:pt x="f143" y="f170"/>
                </a:cubicBezTo>
                <a:cubicBezTo>
                  <a:pt x="f171" y="f170"/>
                  <a:pt x="f172" y="f173"/>
                  <a:pt x="f174" y="f130"/>
                </a:cubicBezTo>
                <a:cubicBezTo>
                  <a:pt x="f175" y="f176"/>
                  <a:pt x="f177" y="f150"/>
                  <a:pt x="f178" y="f179"/>
                </a:cubicBezTo>
                <a:cubicBezTo>
                  <a:pt x="f180" y="f152"/>
                  <a:pt x="f181" y="f182"/>
                  <a:pt x="f183" y="f184"/>
                </a:cubicBezTo>
                <a:cubicBezTo>
                  <a:pt x="f19" y="f185"/>
                  <a:pt x="f66" y="f186"/>
                  <a:pt x="f8" y="f187"/>
                </a:cubicBezTo>
                <a:cubicBezTo>
                  <a:pt x="f136" y="f188"/>
                  <a:pt x="f108" y="f189"/>
                  <a:pt x="f190" y="f191"/>
                </a:cubicBezTo>
                <a:cubicBezTo>
                  <a:pt x="f133" y="f192"/>
                  <a:pt x="f193" y="f192"/>
                  <a:pt x="f101" y="f192"/>
                </a:cubicBezTo>
                <a:cubicBezTo>
                  <a:pt x="f129" y="f192"/>
                  <a:pt x="f129" y="f192"/>
                  <a:pt x="f129" y="f192"/>
                </a:cubicBezTo>
                <a:cubicBezTo>
                  <a:pt x="f28" y="f192"/>
                  <a:pt x="f194" y="f192"/>
                  <a:pt x="f195" y="f191"/>
                </a:cubicBezTo>
                <a:cubicBezTo>
                  <a:pt x="f196" y="f189"/>
                  <a:pt x="f13" y="f188"/>
                  <a:pt x="f115" y="f187"/>
                </a:cubicBezTo>
                <a:cubicBezTo>
                  <a:pt x="f12" y="f186"/>
                  <a:pt x="f96" y="f185"/>
                  <a:pt x="f197" y="f184"/>
                </a:cubicBezTo>
                <a:cubicBezTo>
                  <a:pt x="f10" y="f182"/>
                  <a:pt x="f198" y="f152"/>
                  <a:pt x="f199" y="f179"/>
                </a:cubicBezTo>
                <a:cubicBezTo>
                  <a:pt x="f31" y="f150"/>
                  <a:pt x="f200" y="f176"/>
                  <a:pt x="f201" y="f130"/>
                </a:cubicBezTo>
                <a:cubicBezTo>
                  <a:pt x="f202" y="f173"/>
                  <a:pt x="f203" y="f170"/>
                  <a:pt x="f35" y="f170"/>
                </a:cubicBezTo>
                <a:cubicBezTo>
                  <a:pt x="f78" y="f170"/>
                  <a:pt x="f204" y="f133"/>
                  <a:pt x="f40" y="f102"/>
                </a:cubicBezTo>
                <a:cubicBezTo>
                  <a:pt x="f205" y="f167"/>
                  <a:pt x="f71" y="f165"/>
                  <a:pt x="f71" y="f113"/>
                </a:cubicBezTo>
                <a:cubicBezTo>
                  <a:pt x="f206" y="f152"/>
                  <a:pt x="f207" y="f118"/>
                  <a:pt x="f69" y="f3"/>
                </a:cubicBezTo>
                <a:cubicBezTo>
                  <a:pt x="f103" y="f208"/>
                  <a:pt x="f103" y="f209"/>
                  <a:pt x="f210" y="f211"/>
                </a:cubicBezTo>
                <a:cubicBezTo>
                  <a:pt x="f73" y="f212"/>
                  <a:pt x="f35" y="f213"/>
                  <a:pt x="f32" y="f213"/>
                </a:cubicBezTo>
                <a:cubicBezTo>
                  <a:pt x="f214" y="f213"/>
                  <a:pt x="f215" y="f216"/>
                  <a:pt x="f215" y="f10"/>
                </a:cubicBezTo>
                <a:cubicBezTo>
                  <a:pt x="f215" y="f217"/>
                  <a:pt x="f218" y="f219"/>
                  <a:pt x="f220" y="f221"/>
                </a:cubicBezTo>
                <a:cubicBezTo>
                  <a:pt x="f222" y="f221"/>
                  <a:pt x="f222" y="f221"/>
                  <a:pt x="f222" y="f221"/>
                </a:cubicBezTo>
                <a:cubicBezTo>
                  <a:pt x="f222" y="f221"/>
                  <a:pt x="f222" y="f221"/>
                  <a:pt x="f222" y="f221"/>
                </a:cubicBezTo>
                <a:cubicBezTo>
                  <a:pt x="f223" y="f219"/>
                  <a:pt x="f224" y="f217"/>
                  <a:pt x="f224" y="f10"/>
                </a:cubicBezTo>
                <a:cubicBezTo>
                  <a:pt x="f224" y="f216"/>
                  <a:pt x="f74" y="f213"/>
                  <a:pt x="f225" y="f213"/>
                </a:cubicBezTo>
                <a:cubicBezTo>
                  <a:pt x="f143" y="f213"/>
                  <a:pt x="f226" y="f212"/>
                  <a:pt x="f227" y="f218"/>
                </a:cubicBezTo>
                <a:cubicBezTo>
                  <a:pt x="f157" y="f192"/>
                  <a:pt x="f157" y="f213"/>
                  <a:pt x="f228" y="f229"/>
                </a:cubicBezTo>
                <a:cubicBezTo>
                  <a:pt x="f158" y="f230"/>
                  <a:pt x="f146" y="f231"/>
                  <a:pt x="f42" y="f231"/>
                </a:cubicBezTo>
                <a:cubicBezTo>
                  <a:pt x="f154" y="f231"/>
                  <a:pt x="f232" y="f233"/>
                  <a:pt x="f234" y="f235"/>
                </a:cubicBezTo>
                <a:cubicBezTo>
                  <a:pt x="f236" y="f237"/>
                  <a:pt x="f236" y="f238"/>
                  <a:pt x="f7" y="f96"/>
                </a:cubicBezTo>
                <a:cubicBezTo>
                  <a:pt x="f7" y="f96"/>
                  <a:pt x="f7" y="f96"/>
                  <a:pt x="f7" y="f96"/>
                </a:cubicBezTo>
                <a:cubicBezTo>
                  <a:pt x="f7" y="f94"/>
                  <a:pt x="f7" y="f83"/>
                  <a:pt x="f7" y="f10"/>
                </a:cubicBezTo>
                <a:cubicBezTo>
                  <a:pt x="f7" y="f10"/>
                  <a:pt x="f7" y="f10"/>
                  <a:pt x="f7" y="f10"/>
                </a:cubicBezTo>
                <a:cubicBezTo>
                  <a:pt x="f7" y="f10"/>
                  <a:pt x="f7" y="f10"/>
                  <a:pt x="f7" y="f10"/>
                </a:cubicBezTo>
                <a:cubicBezTo>
                  <a:pt x="f7" y="f10"/>
                  <a:pt x="f7" y="f10"/>
                  <a:pt x="f7" y="f10"/>
                </a:cubicBezTo>
                <a:close/>
                <a:moveTo>
                  <a:pt x="f32" y="f237"/>
                </a:moveTo>
                <a:cubicBezTo>
                  <a:pt x="f239" y="f237"/>
                  <a:pt x="f91" y="f240"/>
                  <a:pt x="f91" y="f10"/>
                </a:cubicBezTo>
                <a:cubicBezTo>
                  <a:pt x="f91" y="f202"/>
                  <a:pt x="f46" y="f35"/>
                  <a:pt x="f241" y="f242"/>
                </a:cubicBezTo>
                <a:cubicBezTo>
                  <a:pt x="f86" y="f239"/>
                  <a:pt x="f243" y="f88"/>
                  <a:pt x="f243" y="f90"/>
                </a:cubicBezTo>
                <a:cubicBezTo>
                  <a:pt x="f36" y="f90"/>
                  <a:pt x="f36" y="f76"/>
                  <a:pt x="f36" y="f76"/>
                </a:cubicBezTo>
                <a:cubicBezTo>
                  <a:pt x="f36" y="f75"/>
                  <a:pt x="f36" y="f46"/>
                  <a:pt x="f35" y="f47"/>
                </a:cubicBezTo>
                <a:cubicBezTo>
                  <a:pt x="f221" y="f69"/>
                  <a:pt x="f244" y="f245"/>
                  <a:pt x="f246" y="f49"/>
                </a:cubicBezTo>
                <a:cubicBezTo>
                  <a:pt x="f246" y="f91"/>
                  <a:pt x="f85" y="f91"/>
                  <a:pt x="f85" y="f91"/>
                </a:cubicBezTo>
                <a:cubicBezTo>
                  <a:pt x="f85" y="f91"/>
                  <a:pt x="f85" y="f91"/>
                  <a:pt x="f85" y="f91"/>
                </a:cubicBezTo>
                <a:cubicBezTo>
                  <a:pt x="f84" y="f91"/>
                  <a:pt x="f84" y="f91"/>
                  <a:pt x="f84" y="f91"/>
                </a:cubicBezTo>
                <a:cubicBezTo>
                  <a:pt x="f247" y="f91"/>
                  <a:pt x="f247" y="f91"/>
                  <a:pt x="f247" y="f91"/>
                </a:cubicBezTo>
                <a:cubicBezTo>
                  <a:pt x="f247" y="f91"/>
                  <a:pt x="f247" y="f91"/>
                  <a:pt x="f247" y="f91"/>
                </a:cubicBezTo>
                <a:cubicBezTo>
                  <a:pt x="f10" y="f49"/>
                  <a:pt x="f248" y="f69"/>
                  <a:pt x="f248" y="f249"/>
                </a:cubicBezTo>
                <a:cubicBezTo>
                  <a:pt x="f250" y="f205"/>
                  <a:pt x="f250" y="f39"/>
                  <a:pt x="f250" y="f204"/>
                </a:cubicBezTo>
                <a:cubicBezTo>
                  <a:pt x="f250" y="f75"/>
                  <a:pt x="f250" y="f106"/>
                  <a:pt x="f250" y="f106"/>
                </a:cubicBezTo>
                <a:cubicBezTo>
                  <a:pt x="f250" y="f78"/>
                  <a:pt x="f83" y="f239"/>
                  <a:pt x="f94" y="f242"/>
                </a:cubicBezTo>
                <a:cubicBezTo>
                  <a:pt x="f251" y="f221"/>
                  <a:pt x="f124" y="f202"/>
                  <a:pt x="f124" y="f10"/>
                </a:cubicBezTo>
                <a:cubicBezTo>
                  <a:pt x="f124" y="f240"/>
                  <a:pt x="f252" y="f237"/>
                  <a:pt x="f32" y="f237"/>
                </a:cubicBezTo>
                <a:close/>
                <a:moveTo>
                  <a:pt x="f225" y="f237"/>
                </a:moveTo>
                <a:cubicBezTo>
                  <a:pt x="f253" y="f237"/>
                  <a:pt x="f132" y="f240"/>
                  <a:pt x="f132" y="f10"/>
                </a:cubicBezTo>
                <a:cubicBezTo>
                  <a:pt x="f132" y="f202"/>
                  <a:pt x="f108" y="f35"/>
                  <a:pt x="f254" y="f242"/>
                </a:cubicBezTo>
                <a:cubicBezTo>
                  <a:pt x="f183" y="f239"/>
                  <a:pt x="f61" y="f88"/>
                  <a:pt x="f61" y="f89"/>
                </a:cubicBezTo>
                <a:cubicBezTo>
                  <a:pt x="f255" y="f90"/>
                  <a:pt x="f255" y="f76"/>
                  <a:pt x="f255" y="f76"/>
                </a:cubicBezTo>
                <a:cubicBezTo>
                  <a:pt x="f255" y="f75"/>
                  <a:pt x="f255" y="f46"/>
                  <a:pt x="f24" y="f47"/>
                </a:cubicBezTo>
                <a:cubicBezTo>
                  <a:pt x="f181" y="f69"/>
                  <a:pt x="f256" y="f245"/>
                  <a:pt x="f257" y="f49"/>
                </a:cubicBezTo>
                <a:cubicBezTo>
                  <a:pt x="f257" y="f91"/>
                  <a:pt x="f60" y="f91"/>
                  <a:pt x="f60" y="f91"/>
                </a:cubicBezTo>
                <a:cubicBezTo>
                  <a:pt x="f59" y="f91"/>
                  <a:pt x="f59" y="f91"/>
                  <a:pt x="f59" y="f91"/>
                </a:cubicBezTo>
                <a:cubicBezTo>
                  <a:pt x="f258" y="f91"/>
                  <a:pt x="f258" y="f91"/>
                  <a:pt x="f258" y="f91"/>
                </a:cubicBezTo>
                <a:cubicBezTo>
                  <a:pt x="f258" y="f91"/>
                  <a:pt x="f258" y="f91"/>
                  <a:pt x="f258" y="f91"/>
                </a:cubicBezTo>
                <a:cubicBezTo>
                  <a:pt x="f259" y="f49"/>
                  <a:pt x="f143" y="f69"/>
                  <a:pt x="f143" y="f249"/>
                </a:cubicBezTo>
                <a:cubicBezTo>
                  <a:pt x="f260" y="f205"/>
                  <a:pt x="f260" y="f39"/>
                  <a:pt x="f260" y="f204"/>
                </a:cubicBezTo>
                <a:cubicBezTo>
                  <a:pt x="f260" y="f75"/>
                  <a:pt x="f260" y="f106"/>
                  <a:pt x="f260" y="f106"/>
                </a:cubicBezTo>
                <a:cubicBezTo>
                  <a:pt x="f260" y="f76"/>
                  <a:pt x="f260" y="f90"/>
                  <a:pt x="f260" y="f89"/>
                </a:cubicBezTo>
                <a:cubicBezTo>
                  <a:pt x="f58" y="f88"/>
                  <a:pt x="f261" y="f239"/>
                  <a:pt x="f262" y="f242"/>
                </a:cubicBezTo>
                <a:cubicBezTo>
                  <a:pt x="f263" y="f221"/>
                  <a:pt x="f42" y="f202"/>
                  <a:pt x="f42" y="f10"/>
                </a:cubicBezTo>
                <a:cubicBezTo>
                  <a:pt x="f42" y="f240"/>
                  <a:pt x="f264" y="f237"/>
                  <a:pt x="f225" y="f237"/>
                </a:cubicBezTo>
                <a:close/>
                <a:moveTo>
                  <a:pt x="f265" y="f266"/>
                </a:moveTo>
                <a:cubicBezTo>
                  <a:pt x="f265" y="f267"/>
                  <a:pt x="f268" y="f211"/>
                  <a:pt x="f269" y="f211"/>
                </a:cubicBezTo>
                <a:cubicBezTo>
                  <a:pt x="f182" y="f211"/>
                  <a:pt x="f270" y="f267"/>
                  <a:pt x="f270" y="f266"/>
                </a:cubicBezTo>
                <a:cubicBezTo>
                  <a:pt x="f270" y="f119"/>
                  <a:pt x="f182" y="f196"/>
                  <a:pt x="f269" y="f196"/>
                </a:cubicBezTo>
                <a:cubicBezTo>
                  <a:pt x="f268" y="f196"/>
                  <a:pt x="f265" y="f119"/>
                  <a:pt x="f265" y="f266"/>
                </a:cubicBezTo>
                <a:close/>
                <a:moveTo>
                  <a:pt x="f225" y="f271"/>
                </a:moveTo>
                <a:cubicBezTo>
                  <a:pt x="f272" y="f271"/>
                  <a:pt x="f140" y="f13"/>
                  <a:pt x="f140" y="f119"/>
                </a:cubicBezTo>
                <a:cubicBezTo>
                  <a:pt x="f140" y="f124"/>
                  <a:pt x="f272" y="f29"/>
                  <a:pt x="f225" y="f29"/>
                </a:cubicBezTo>
                <a:cubicBezTo>
                  <a:pt x="f2" y="f29"/>
                  <a:pt x="f273" y="f124"/>
                  <a:pt x="f273" y="f119"/>
                </a:cubicBezTo>
                <a:cubicBezTo>
                  <a:pt x="f273" y="f13"/>
                  <a:pt x="f2" y="f271"/>
                  <a:pt x="f225" y="f271"/>
                </a:cubicBezTo>
                <a:close/>
                <a:moveTo>
                  <a:pt x="f191" y="f266"/>
                </a:moveTo>
                <a:cubicBezTo>
                  <a:pt x="f191" y="f267"/>
                  <a:pt x="f274" y="f211"/>
                  <a:pt x="f128" y="f211"/>
                </a:cubicBezTo>
                <a:cubicBezTo>
                  <a:pt x="f187" y="f211"/>
                  <a:pt x="f275" y="f267"/>
                  <a:pt x="f275" y="f266"/>
                </a:cubicBezTo>
                <a:cubicBezTo>
                  <a:pt x="f275" y="f119"/>
                  <a:pt x="f187" y="f196"/>
                  <a:pt x="f128" y="f196"/>
                </a:cubicBezTo>
                <a:cubicBezTo>
                  <a:pt x="f274" y="f196"/>
                  <a:pt x="f191" y="f119"/>
                  <a:pt x="f191" y="f266"/>
                </a:cubicBezTo>
                <a:close/>
                <a:moveTo>
                  <a:pt x="f225" y="f36"/>
                </a:moveTo>
                <a:cubicBezTo>
                  <a:pt x="f272" y="f36"/>
                  <a:pt x="f140" y="f276"/>
                  <a:pt x="f140" y="f219"/>
                </a:cubicBezTo>
                <a:cubicBezTo>
                  <a:pt x="f140" y="f277"/>
                  <a:pt x="f272" y="f217"/>
                  <a:pt x="f225" y="f217"/>
                </a:cubicBezTo>
                <a:cubicBezTo>
                  <a:pt x="f2" y="f217"/>
                  <a:pt x="f273" y="f277"/>
                  <a:pt x="f273" y="f219"/>
                </a:cubicBezTo>
                <a:cubicBezTo>
                  <a:pt x="f273" y="f276"/>
                  <a:pt x="f2" y="f36"/>
                  <a:pt x="f225" y="f36"/>
                </a:cubicBezTo>
                <a:close/>
                <a:moveTo>
                  <a:pt x="f278" y="f18"/>
                </a:moveTo>
                <a:cubicBezTo>
                  <a:pt x="f143" y="f18"/>
                  <a:pt x="f279" y="f22"/>
                  <a:pt x="f279" y="f10"/>
                </a:cubicBezTo>
                <a:cubicBezTo>
                  <a:pt x="f279" y="f23"/>
                  <a:pt x="f143" y="f12"/>
                  <a:pt x="f278" y="f12"/>
                </a:cubicBezTo>
                <a:cubicBezTo>
                  <a:pt x="f44" y="f12"/>
                  <a:pt x="f280" y="f23"/>
                  <a:pt x="f280" y="f10"/>
                </a:cubicBezTo>
                <a:cubicBezTo>
                  <a:pt x="f280" y="f22"/>
                  <a:pt x="f44" y="f18"/>
                  <a:pt x="f278" y="f18"/>
                </a:cubicBezTo>
                <a:close/>
              </a:path>
            </a:pathLst>
          </a:custGeom>
          <a:solidFill>
            <a:srgbClr val="00A9D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sv-SE" sz="2000" b="0" i="0" u="none" strike="noStrike" kern="1200" cap="none" spc="0" baseline="0">
              <a:solidFill>
                <a:srgbClr val="58585A"/>
              </a:solidFill>
              <a:uFillTx/>
              <a:latin typeface="Arial"/>
            </a:endParaRPr>
          </a:p>
        </p:txBody>
      </p:sp>
      <p:sp>
        <p:nvSpPr>
          <p:cNvPr id="48" name="Rounded Rectangle 142">
            <a:extLst>
              <a:ext uri="{FF2B5EF4-FFF2-40B4-BE49-F238E27FC236}">
                <a16:creationId xmlns:a16="http://schemas.microsoft.com/office/drawing/2014/main" id="{7A8D9252-3E3D-4B68-AE4A-09D745964A2E}"/>
              </a:ext>
            </a:extLst>
          </p:cNvPr>
          <p:cNvSpPr/>
          <p:nvPr/>
        </p:nvSpPr>
        <p:spPr>
          <a:xfrm>
            <a:off x="4623928" y="6254435"/>
            <a:ext cx="3233281" cy="645127"/>
          </a:xfrm>
          <a:custGeom>
            <a:avLst/>
            <a:gdLst>
              <a:gd name="f0" fmla="val 10800000"/>
              <a:gd name="f1" fmla="val 5400000"/>
              <a:gd name="f2" fmla="val 16200000"/>
              <a:gd name="f3" fmla="val w"/>
              <a:gd name="f4" fmla="val h"/>
              <a:gd name="f5" fmla="val ss"/>
              <a:gd name="f6" fmla="val 0"/>
              <a:gd name="f7" fmla="*/ 5419351 1 1725033"/>
              <a:gd name="f8" fmla="val 45"/>
              <a:gd name="f9" fmla="val 3600"/>
              <a:gd name="f10" fmla="abs f3"/>
              <a:gd name="f11" fmla="abs f4"/>
              <a:gd name="f12" fmla="abs f5"/>
              <a:gd name="f13" fmla="*/ f7 1 180"/>
              <a:gd name="f14" fmla="+- 0 0 f1"/>
              <a:gd name="f15" fmla="+- f6 f9 0"/>
              <a:gd name="f16" fmla="?: f10 f3 1"/>
              <a:gd name="f17" fmla="?: f11 f4 1"/>
              <a:gd name="f18" fmla="?: f12 f5 1"/>
              <a:gd name="f19" fmla="*/ f8 f13 1"/>
              <a:gd name="f20" fmla="+- f6 0 f15"/>
              <a:gd name="f21" fmla="+- f15 0 f6"/>
              <a:gd name="f22" fmla="*/ f16 1 21600"/>
              <a:gd name="f23" fmla="*/ f17 1 21600"/>
              <a:gd name="f24" fmla="*/ 21600 f16 1"/>
              <a:gd name="f25" fmla="*/ 21600 f17 1"/>
              <a:gd name="f26" fmla="+- 0 0 f19"/>
              <a:gd name="f27" fmla="abs f20"/>
              <a:gd name="f28" fmla="abs f21"/>
              <a:gd name="f29" fmla="?: f20 f14 f1"/>
              <a:gd name="f30" fmla="?: f20 f1 f14"/>
              <a:gd name="f31" fmla="?: f20 f2 f1"/>
              <a:gd name="f32" fmla="?: f20 f1 f2"/>
              <a:gd name="f33" fmla="?: f21 f14 f1"/>
              <a:gd name="f34" fmla="?: f21 f1 f14"/>
              <a:gd name="f35" fmla="?: f20 0 f0"/>
              <a:gd name="f36" fmla="?: f20 f0 0"/>
              <a:gd name="f37" fmla="min f23 f22"/>
              <a:gd name="f38" fmla="*/ f24 1 f18"/>
              <a:gd name="f39" fmla="*/ f25 1 f18"/>
              <a:gd name="f40" fmla="*/ f26 f0 1"/>
              <a:gd name="f41" fmla="?: f20 f32 f31"/>
              <a:gd name="f42" fmla="?: f20 f31 f32"/>
              <a:gd name="f43" fmla="?: f21 f30 f29"/>
              <a:gd name="f44" fmla="val f38"/>
              <a:gd name="f45" fmla="val f39"/>
              <a:gd name="f46" fmla="*/ f40 1 f7"/>
              <a:gd name="f47" fmla="?: f21 f42 f41"/>
              <a:gd name="f48" fmla="*/ f15 f37 1"/>
              <a:gd name="f49" fmla="*/ f6 f37 1"/>
              <a:gd name="f50" fmla="*/ f27 f37 1"/>
              <a:gd name="f51" fmla="*/ f28 f37 1"/>
              <a:gd name="f52" fmla="+- f45 0 f9"/>
              <a:gd name="f53" fmla="+- f44 0 f9"/>
              <a:gd name="f54" fmla="+- f46 0 f1"/>
              <a:gd name="f55" fmla="*/ f45 f37 1"/>
              <a:gd name="f56" fmla="*/ f44 f37 1"/>
              <a:gd name="f57" fmla="+- f45 0 f52"/>
              <a:gd name="f58" fmla="+- f44 0 f53"/>
              <a:gd name="f59" fmla="+- f52 0 f45"/>
              <a:gd name="f60" fmla="+- f53 0 f44"/>
              <a:gd name="f61" fmla="+- f54 f1 0"/>
              <a:gd name="f62" fmla="*/ f52 f37 1"/>
              <a:gd name="f63" fmla="*/ f53 f37 1"/>
              <a:gd name="f64" fmla="abs f57"/>
              <a:gd name="f65" fmla="?: f57 0 f0"/>
              <a:gd name="f66" fmla="?: f57 f0 0"/>
              <a:gd name="f67" fmla="?: f57 f33 f34"/>
              <a:gd name="f68" fmla="abs f58"/>
              <a:gd name="f69" fmla="abs f59"/>
              <a:gd name="f70" fmla="?: f58 f14 f1"/>
              <a:gd name="f71" fmla="?: f58 f1 f14"/>
              <a:gd name="f72" fmla="?: f58 f2 f1"/>
              <a:gd name="f73" fmla="?: f58 f1 f2"/>
              <a:gd name="f74" fmla="abs f60"/>
              <a:gd name="f75" fmla="?: f60 f14 f1"/>
              <a:gd name="f76" fmla="?: f60 f1 f14"/>
              <a:gd name="f77" fmla="?: f60 f36 f35"/>
              <a:gd name="f78" fmla="?: f60 f35 f36"/>
              <a:gd name="f79" fmla="*/ f61 f7 1"/>
              <a:gd name="f80" fmla="?: f21 f66 f65"/>
              <a:gd name="f81" fmla="?: f21 f65 f66"/>
              <a:gd name="f82" fmla="?: f58 f73 f72"/>
              <a:gd name="f83" fmla="?: f58 f72 f73"/>
              <a:gd name="f84" fmla="?: f59 f71 f70"/>
              <a:gd name="f85" fmla="?: f20 f77 f78"/>
              <a:gd name="f86" fmla="?: f20 f75 f76"/>
              <a:gd name="f87" fmla="*/ f79 1 f0"/>
              <a:gd name="f88" fmla="*/ f64 f37 1"/>
              <a:gd name="f89" fmla="*/ f68 f37 1"/>
              <a:gd name="f90" fmla="*/ f69 f37 1"/>
              <a:gd name="f91" fmla="*/ f74 f37 1"/>
              <a:gd name="f92" fmla="?: f57 f80 f81"/>
              <a:gd name="f93" fmla="?: f59 f83 f82"/>
              <a:gd name="f94" fmla="+- 0 0 f87"/>
              <a:gd name="f95" fmla="+- 0 0 f94"/>
              <a:gd name="f96" fmla="*/ f95 f0 1"/>
              <a:gd name="f97" fmla="*/ f96 1 f7"/>
              <a:gd name="f98" fmla="+- f97 0 f1"/>
              <a:gd name="f99" fmla="cos 1 f98"/>
              <a:gd name="f100" fmla="+- 0 0 f99"/>
              <a:gd name="f101" fmla="+- 0 0 f100"/>
              <a:gd name="f102" fmla="val f101"/>
              <a:gd name="f103" fmla="+- 0 0 f102"/>
              <a:gd name="f104" fmla="*/ f9 f103 1"/>
              <a:gd name="f105" fmla="*/ f104 3163 1"/>
              <a:gd name="f106" fmla="*/ f105 1 7636"/>
              <a:gd name="f107" fmla="+- f6 f106 0"/>
              <a:gd name="f108" fmla="+- f44 0 f106"/>
              <a:gd name="f109" fmla="+- f45 0 f106"/>
              <a:gd name="f110" fmla="*/ f107 f37 1"/>
              <a:gd name="f111" fmla="*/ f108 f37 1"/>
              <a:gd name="f112" fmla="*/ f109 f37 1"/>
            </a:gdLst>
            <a:ahLst/>
            <a:cxnLst>
              <a:cxn ang="3cd4">
                <a:pos x="hc" y="t"/>
              </a:cxn>
              <a:cxn ang="0">
                <a:pos x="r" y="vc"/>
              </a:cxn>
              <a:cxn ang="cd4">
                <a:pos x="hc" y="b"/>
              </a:cxn>
              <a:cxn ang="cd2">
                <a:pos x="l" y="vc"/>
              </a:cxn>
            </a:cxnLst>
            <a:rect l="f110" t="f110" r="f111" b="f112"/>
            <a:pathLst>
              <a:path>
                <a:moveTo>
                  <a:pt x="f48" y="f49"/>
                </a:moveTo>
                <a:arcTo wR="f50" hR="f51" stAng="f47" swAng="f43"/>
                <a:lnTo>
                  <a:pt x="f49" y="f62"/>
                </a:lnTo>
                <a:arcTo wR="f51" hR="f88" stAng="f92" swAng="f67"/>
                <a:lnTo>
                  <a:pt x="f63" y="f55"/>
                </a:lnTo>
                <a:arcTo wR="f89" hR="f90" stAng="f93" swAng="f84"/>
                <a:lnTo>
                  <a:pt x="f56" y="f48"/>
                </a:lnTo>
                <a:arcTo wR="f91" hR="f50" stAng="f85" swAng="f86"/>
                <a:close/>
              </a:path>
            </a:pathLst>
          </a:custGeom>
          <a:noFill/>
          <a:ln cap="flat">
            <a:noFill/>
            <a:prstDash val="solid"/>
          </a:ln>
        </p:spPr>
        <p:txBody>
          <a:bodyPr vert="horz" wrap="none" lIns="0" tIns="0" rIns="0" bIns="0" anchor="ctr" anchorCtr="1" compatLnSpc="1">
            <a:noAutofit/>
          </a:bodyPr>
          <a:lstStyle/>
          <a:p>
            <a:pPr marL="0" marR="0" lvl="0" indent="0" algn="ctr" defTabSz="914400" rtl="0" fontAlgn="auto" hangingPunct="1">
              <a:lnSpc>
                <a:spcPts val="2080"/>
              </a:lnSpc>
              <a:spcBef>
                <a:spcPts val="0"/>
              </a:spcBef>
              <a:spcAft>
                <a:spcPts val="0"/>
              </a:spcAft>
              <a:buNone/>
              <a:tabLst/>
              <a:defRPr sz="1800" b="0" i="0" u="none" strike="noStrike" kern="0" cap="none" spc="0" baseline="0">
                <a:solidFill>
                  <a:srgbClr val="000000"/>
                </a:solidFill>
                <a:uFillTx/>
              </a:defRPr>
            </a:pPr>
            <a:r>
              <a:rPr lang="en-US" sz="2400" b="0" i="0" u="none" strike="noStrike" kern="1200" cap="none" spc="0" baseline="0">
                <a:solidFill>
                  <a:srgbClr val="FFFFFF"/>
                </a:solidFill>
                <a:uFillTx/>
                <a:latin typeface="Arial"/>
                <a:ea typeface="Ericsson Capital"/>
                <a:cs typeface="Arial"/>
              </a:rPr>
              <a:t>Enhanced MBB</a:t>
            </a:r>
          </a:p>
          <a:p>
            <a:pPr marL="0" marR="0" lvl="0" indent="0" algn="ctr" defTabSz="914400" rtl="0" fontAlgn="auto" hangingPunct="1">
              <a:lnSpc>
                <a:spcPts val="2080"/>
              </a:lnSpc>
              <a:spcBef>
                <a:spcPts val="0"/>
              </a:spcBef>
              <a:spcAft>
                <a:spcPts val="0"/>
              </a:spcAft>
              <a:buNone/>
              <a:tabLst/>
              <a:defRPr sz="1800" b="0" i="0" u="none" strike="noStrike" kern="0" cap="none" spc="0" baseline="0">
                <a:solidFill>
                  <a:srgbClr val="000000"/>
                </a:solidFill>
                <a:uFillTx/>
              </a:defRPr>
            </a:pPr>
            <a:r>
              <a:rPr lang="en-US" sz="1200" b="0" i="0" u="none" strike="noStrike" kern="1200" cap="all" spc="0" baseline="0">
                <a:solidFill>
                  <a:srgbClr val="FFFFFF"/>
                </a:solidFill>
                <a:uFillTx/>
                <a:latin typeface="Arial"/>
                <a:ea typeface="Ericsson Capital"/>
                <a:cs typeface="Arial"/>
              </a:rPr>
              <a:t>More capacity, low latency </a:t>
            </a:r>
          </a:p>
        </p:txBody>
      </p:sp>
      <p:sp>
        <p:nvSpPr>
          <p:cNvPr id="49" name="Freeform 6">
            <a:extLst>
              <a:ext uri="{FF2B5EF4-FFF2-40B4-BE49-F238E27FC236}">
                <a16:creationId xmlns:a16="http://schemas.microsoft.com/office/drawing/2014/main" id="{9D46705B-E9BD-40BC-8A7C-998D9FB55AFE}"/>
              </a:ext>
            </a:extLst>
          </p:cNvPr>
          <p:cNvSpPr/>
          <p:nvPr/>
        </p:nvSpPr>
        <p:spPr>
          <a:xfrm>
            <a:off x="6891284" y="4665107"/>
            <a:ext cx="327931" cy="314507"/>
          </a:xfrm>
          <a:custGeom>
            <a:avLst/>
            <a:gdLst>
              <a:gd name="f0" fmla="val 10800000"/>
              <a:gd name="f1" fmla="val 5400000"/>
              <a:gd name="f2" fmla="val 180"/>
              <a:gd name="f3" fmla="val w"/>
              <a:gd name="f4" fmla="val h"/>
              <a:gd name="f5" fmla="val 0"/>
              <a:gd name="f6" fmla="val 300"/>
              <a:gd name="f7" fmla="val 288"/>
              <a:gd name="f8" fmla="val 171"/>
              <a:gd name="f9" fmla="val 83"/>
              <a:gd name="f10" fmla="val 194"/>
              <a:gd name="f11" fmla="val 213"/>
              <a:gd name="f12" fmla="val 64"/>
              <a:gd name="f13" fmla="val 41"/>
              <a:gd name="f14" fmla="val 19"/>
              <a:gd name="f15" fmla="val 149"/>
              <a:gd name="f16" fmla="val 130"/>
              <a:gd name="f17" fmla="val 142"/>
              <a:gd name="f18" fmla="val 137"/>
              <a:gd name="f19" fmla="val 299"/>
              <a:gd name="f20" fmla="val 132"/>
              <a:gd name="f21" fmla="val 296"/>
              <a:gd name="f22" fmla="val 128"/>
              <a:gd name="f23" fmla="val 294"/>
              <a:gd name="f24" fmla="val 124"/>
              <a:gd name="f25" fmla="val 289"/>
              <a:gd name="f26" fmla="val 122"/>
              <a:gd name="f27" fmla="val 284"/>
              <a:gd name="f28" fmla="val 279"/>
              <a:gd name="f29" fmla="val 275"/>
              <a:gd name="f30" fmla="val 271"/>
              <a:gd name="f31" fmla="val 127"/>
              <a:gd name="f32" fmla="val 247"/>
              <a:gd name="f33" fmla="val 146"/>
              <a:gd name="f34" fmla="val 229"/>
              <a:gd name="f35" fmla="val 161"/>
              <a:gd name="f36" fmla="val 139"/>
              <a:gd name="f37" fmla="val 116"/>
              <a:gd name="f38" fmla="val 210"/>
              <a:gd name="f39" fmla="val 97"/>
              <a:gd name="f40" fmla="val 187"/>
              <a:gd name="f41" fmla="val 42"/>
              <a:gd name="f42" fmla="val 197"/>
              <a:gd name="f43" fmla="val 201"/>
              <a:gd name="f44" fmla="val 4"/>
              <a:gd name="f45" fmla="val 205"/>
              <a:gd name="f46" fmla="val 8"/>
              <a:gd name="f47" fmla="val 12"/>
              <a:gd name="f48" fmla="val 16"/>
              <a:gd name="f49" fmla="val 125"/>
              <a:gd name="f50" fmla="val 28"/>
              <a:gd name="f51" fmla="val 113"/>
              <a:gd name="f52" fmla="val 177"/>
              <a:gd name="f53" fmla="val 215"/>
              <a:gd name="f54" fmla="val 183"/>
              <a:gd name="f55" fmla="val 217"/>
              <a:gd name="f56" fmla="val 184"/>
              <a:gd name="f57" fmla="val 220"/>
              <a:gd name="f58" fmla="val 186"/>
              <a:gd name="f59" fmla="val 223"/>
              <a:gd name="f60" fmla="val 185"/>
              <a:gd name="f61" fmla="val 226"/>
              <a:gd name="f62" fmla="val 235"/>
              <a:gd name="f63" fmla="val 176"/>
              <a:gd name="f64" fmla="val 280"/>
              <a:gd name="f65" fmla="val 140"/>
              <a:gd name="f66" fmla="val 281"/>
              <a:gd name="f67" fmla="val 282"/>
              <a:gd name="f68" fmla="val 283"/>
              <a:gd name="f69" fmla="val 138"/>
              <a:gd name="f70" fmla="val 143"/>
              <a:gd name="f71" fmla="val 250"/>
              <a:gd name="f72" fmla="val 252"/>
              <a:gd name="f73" fmla="val 253"/>
              <a:gd name="f74" fmla="val 255"/>
              <a:gd name="f75" fmla="val 254"/>
              <a:gd name="f76" fmla="val 249"/>
              <a:gd name="f77" fmla="val 244"/>
              <a:gd name="f78" fmla="val 224"/>
              <a:gd name="f79" fmla="val 208"/>
              <a:gd name="f80" fmla="val 209"/>
              <a:gd name="f81" fmla="val 211"/>
              <a:gd name="f82" fmla="val 216"/>
              <a:gd name="f83" fmla="val 246"/>
              <a:gd name="f84" fmla="val 260"/>
              <a:gd name="f85" fmla="val 272"/>
              <a:gd name="f86" fmla="val 221"/>
              <a:gd name="f87" fmla="val 269"/>
              <a:gd name="f88" fmla="val 233"/>
              <a:gd name="f89" fmla="val 266"/>
              <a:gd name="f90" fmla="val 262"/>
              <a:gd name="f91" fmla="val 293"/>
              <a:gd name="f92" fmla="val 265"/>
              <a:gd name="f93" fmla="val 261"/>
              <a:gd name="f94" fmla="val 257"/>
              <a:gd name="f95" fmla="val 66"/>
              <a:gd name="f96" fmla="val 89"/>
              <a:gd name="f97" fmla="val 107"/>
              <a:gd name="f98" fmla="val 43"/>
              <a:gd name="f99" fmla="val 25"/>
              <a:gd name="f100" fmla="+- 0 0 -90"/>
              <a:gd name="f101" fmla="*/ f3 1 300"/>
              <a:gd name="f102" fmla="*/ f4 1 288"/>
              <a:gd name="f103" fmla="+- f7 0 f5"/>
              <a:gd name="f104" fmla="+- f6 0 f5"/>
              <a:gd name="f105" fmla="*/ f100 f0 1"/>
              <a:gd name="f106" fmla="*/ f104 1 300"/>
              <a:gd name="f107" fmla="*/ f103 1 288"/>
              <a:gd name="f108" fmla="*/ 2147483647 f104 1"/>
              <a:gd name="f109" fmla="*/ 2147483647 f103 1"/>
              <a:gd name="f110" fmla="*/ 0 f103 1"/>
              <a:gd name="f111" fmla="*/ 0 f104 1"/>
              <a:gd name="f112" fmla="*/ f105 1 f2"/>
              <a:gd name="f113" fmla="*/ f108 1 300"/>
              <a:gd name="f114" fmla="*/ f109 1 288"/>
              <a:gd name="f115" fmla="*/ f110 1 288"/>
              <a:gd name="f116" fmla="*/ f111 1 300"/>
              <a:gd name="f117" fmla="*/ 0 1 f106"/>
              <a:gd name="f118" fmla="*/ f6 1 f106"/>
              <a:gd name="f119" fmla="*/ 0 1 f107"/>
              <a:gd name="f120" fmla="*/ f7 1 f107"/>
              <a:gd name="f121" fmla="+- f112 0 f1"/>
              <a:gd name="f122" fmla="*/ f113 1 f106"/>
              <a:gd name="f123" fmla="*/ f114 1 f107"/>
              <a:gd name="f124" fmla="*/ f115 1 f107"/>
              <a:gd name="f125" fmla="*/ f116 1 f106"/>
              <a:gd name="f126" fmla="*/ f117 f101 1"/>
              <a:gd name="f127" fmla="*/ f118 f101 1"/>
              <a:gd name="f128" fmla="*/ f120 f102 1"/>
              <a:gd name="f129" fmla="*/ f119 f102 1"/>
              <a:gd name="f130" fmla="*/ f122 f101 1"/>
              <a:gd name="f131" fmla="*/ f123 f102 1"/>
              <a:gd name="f132" fmla="*/ f124 f102 1"/>
              <a:gd name="f133" fmla="*/ f125 f101 1"/>
            </a:gdLst>
            <a:ahLst/>
            <a:cxnLst>
              <a:cxn ang="3cd4">
                <a:pos x="hc" y="t"/>
              </a:cxn>
              <a:cxn ang="0">
                <a:pos x="r" y="vc"/>
              </a:cxn>
              <a:cxn ang="cd4">
                <a:pos x="hc" y="b"/>
              </a:cxn>
              <a:cxn ang="cd2">
                <a:pos x="l" y="vc"/>
              </a:cxn>
              <a:cxn ang="f121">
                <a:pos x="f130" y="f131"/>
              </a:cxn>
              <a:cxn ang="f121">
                <a:pos x="f130" y="f131"/>
              </a:cxn>
              <a:cxn ang="f121">
                <a:pos x="f130" y="f132"/>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3" y="f131"/>
              </a:cxn>
              <a:cxn ang="f121">
                <a:pos x="f133"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3" y="f131"/>
              </a:cxn>
              <a:cxn ang="f121">
                <a:pos x="f133"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1"/>
              </a:cxn>
              <a:cxn ang="f121">
                <a:pos x="f130" y="f132"/>
              </a:cxn>
              <a:cxn ang="f121">
                <a:pos x="f130" y="f131"/>
              </a:cxn>
              <a:cxn ang="f121">
                <a:pos x="f130" y="f131"/>
              </a:cxn>
            </a:cxnLst>
            <a:rect l="f126" t="f129" r="f127" b="f128"/>
            <a:pathLst>
              <a:path w="300" h="288">
                <a:moveTo>
                  <a:pt x="f8" y="f9"/>
                </a:moveTo>
                <a:cubicBezTo>
                  <a:pt x="f10" y="f9"/>
                  <a:pt x="f11" y="f12"/>
                  <a:pt x="f11" y="f13"/>
                </a:cubicBezTo>
                <a:cubicBezTo>
                  <a:pt x="f11" y="f14"/>
                  <a:pt x="f10" y="f5"/>
                  <a:pt x="f8" y="f5"/>
                </a:cubicBezTo>
                <a:cubicBezTo>
                  <a:pt x="f15" y="f5"/>
                  <a:pt x="f16" y="f14"/>
                  <a:pt x="f16" y="f13"/>
                </a:cubicBezTo>
                <a:cubicBezTo>
                  <a:pt x="f16" y="f12"/>
                  <a:pt x="f15" y="f9"/>
                  <a:pt x="f8" y="f9"/>
                </a:cubicBezTo>
                <a:close/>
                <a:moveTo>
                  <a:pt x="f6" y="f17"/>
                </a:moveTo>
                <a:cubicBezTo>
                  <a:pt x="f6" y="f18"/>
                  <a:pt x="f19" y="f20"/>
                  <a:pt x="f21" y="f22"/>
                </a:cubicBezTo>
                <a:cubicBezTo>
                  <a:pt x="f23" y="f24"/>
                  <a:pt x="f25" y="f26"/>
                  <a:pt x="f27" y="f26"/>
                </a:cubicBezTo>
                <a:cubicBezTo>
                  <a:pt x="f28" y="f26"/>
                  <a:pt x="f29" y="f24"/>
                  <a:pt x="f30" y="f31"/>
                </a:cubicBezTo>
                <a:cubicBezTo>
                  <a:pt x="f30" y="f31"/>
                  <a:pt x="f32" y="f33"/>
                  <a:pt x="f34" y="f35"/>
                </a:cubicBezTo>
                <a:cubicBezTo>
                  <a:pt x="f34" y="f36"/>
                  <a:pt x="f34" y="f36"/>
                  <a:pt x="f34" y="f36"/>
                </a:cubicBezTo>
                <a:cubicBezTo>
                  <a:pt x="f34" y="f37"/>
                  <a:pt x="f38" y="f39"/>
                  <a:pt x="f40" y="f39"/>
                </a:cubicBezTo>
                <a:cubicBezTo>
                  <a:pt x="f41" y="f39"/>
                  <a:pt x="f41" y="f39"/>
                  <a:pt x="f41" y="f39"/>
                </a:cubicBezTo>
                <a:cubicBezTo>
                  <a:pt x="f14" y="f39"/>
                  <a:pt x="f5" y="f37"/>
                  <a:pt x="f5" y="f36"/>
                </a:cubicBezTo>
                <a:cubicBezTo>
                  <a:pt x="f5" y="f42"/>
                  <a:pt x="f5" y="f42"/>
                  <a:pt x="f5" y="f42"/>
                </a:cubicBezTo>
                <a:cubicBezTo>
                  <a:pt x="f5" y="f43"/>
                  <a:pt x="f44" y="f45"/>
                  <a:pt x="f46" y="f45"/>
                </a:cubicBezTo>
                <a:cubicBezTo>
                  <a:pt x="f47" y="f45"/>
                  <a:pt x="f48" y="f43"/>
                  <a:pt x="f48" y="f42"/>
                </a:cubicBezTo>
                <a:cubicBezTo>
                  <a:pt x="f48" y="f36"/>
                  <a:pt x="f48" y="f36"/>
                  <a:pt x="f48" y="f36"/>
                </a:cubicBezTo>
                <a:cubicBezTo>
                  <a:pt x="f48" y="f49"/>
                  <a:pt x="f50" y="f51"/>
                  <a:pt x="f41" y="f51"/>
                </a:cubicBezTo>
                <a:cubicBezTo>
                  <a:pt x="f40" y="f51"/>
                  <a:pt x="f40" y="f51"/>
                  <a:pt x="f40" y="f51"/>
                </a:cubicBezTo>
                <a:cubicBezTo>
                  <a:pt x="f43" y="f51"/>
                  <a:pt x="f11" y="f49"/>
                  <a:pt x="f11" y="f36"/>
                </a:cubicBezTo>
                <a:cubicBezTo>
                  <a:pt x="f11" y="f52"/>
                  <a:pt x="f11" y="f52"/>
                  <a:pt x="f11" y="f52"/>
                </a:cubicBezTo>
                <a:cubicBezTo>
                  <a:pt x="f11" y="f2"/>
                  <a:pt x="f53" y="f54"/>
                  <a:pt x="f55" y="f56"/>
                </a:cubicBezTo>
                <a:cubicBezTo>
                  <a:pt x="f57" y="f58"/>
                  <a:pt x="f59" y="f60"/>
                  <a:pt x="f61" y="f54"/>
                </a:cubicBezTo>
                <a:cubicBezTo>
                  <a:pt x="f62" y="f63"/>
                  <a:pt x="f64" y="f65"/>
                  <a:pt x="f66" y="f65"/>
                </a:cubicBezTo>
                <a:cubicBezTo>
                  <a:pt x="f67" y="f36"/>
                  <a:pt x="f68" y="f69"/>
                  <a:pt x="f68" y="f69"/>
                </a:cubicBezTo>
                <a:cubicBezTo>
                  <a:pt x="f27" y="f36"/>
                  <a:pt x="f27" y="f65"/>
                  <a:pt x="f27" y="f17"/>
                </a:cubicBezTo>
                <a:cubicBezTo>
                  <a:pt x="f27" y="f70"/>
                  <a:pt x="f27" y="f71"/>
                  <a:pt x="f27" y="f72"/>
                </a:cubicBezTo>
                <a:cubicBezTo>
                  <a:pt x="f27" y="f73"/>
                  <a:pt x="f27" y="f74"/>
                  <a:pt x="f68" y="f74"/>
                </a:cubicBezTo>
                <a:cubicBezTo>
                  <a:pt x="f68" y="f74"/>
                  <a:pt x="f67" y="f74"/>
                  <a:pt x="f66" y="f75"/>
                </a:cubicBezTo>
                <a:cubicBezTo>
                  <a:pt x="f29" y="f76"/>
                  <a:pt x="f77" y="f78"/>
                  <a:pt x="f61" y="f38"/>
                </a:cubicBezTo>
                <a:cubicBezTo>
                  <a:pt x="f59" y="f79"/>
                  <a:pt x="f57" y="f79"/>
                  <a:pt x="f55" y="f80"/>
                </a:cubicBezTo>
                <a:cubicBezTo>
                  <a:pt x="f53" y="f81"/>
                  <a:pt x="f11" y="f11"/>
                  <a:pt x="f11" y="f82"/>
                </a:cubicBezTo>
                <a:cubicBezTo>
                  <a:pt x="f11" y="f83"/>
                  <a:pt x="f11" y="f83"/>
                  <a:pt x="f11" y="f83"/>
                </a:cubicBezTo>
                <a:cubicBezTo>
                  <a:pt x="f11" y="f84"/>
                  <a:pt x="f43" y="f85"/>
                  <a:pt x="f40" y="f85"/>
                </a:cubicBezTo>
                <a:cubicBezTo>
                  <a:pt x="f41" y="f85"/>
                  <a:pt x="f41" y="f85"/>
                  <a:pt x="f41" y="f85"/>
                </a:cubicBezTo>
                <a:cubicBezTo>
                  <a:pt x="f50" y="f85"/>
                  <a:pt x="f48" y="f84"/>
                  <a:pt x="f48" y="f83"/>
                </a:cubicBezTo>
                <a:cubicBezTo>
                  <a:pt x="f48" y="f34"/>
                  <a:pt x="f48" y="f34"/>
                  <a:pt x="f48" y="f34"/>
                </a:cubicBezTo>
                <a:cubicBezTo>
                  <a:pt x="f48" y="f78"/>
                  <a:pt x="f47" y="f86"/>
                  <a:pt x="f46" y="f86"/>
                </a:cubicBezTo>
                <a:cubicBezTo>
                  <a:pt x="f44" y="f86"/>
                  <a:pt x="f5" y="f78"/>
                  <a:pt x="f5" y="f34"/>
                </a:cubicBezTo>
                <a:cubicBezTo>
                  <a:pt x="f5" y="f83"/>
                  <a:pt x="f5" y="f83"/>
                  <a:pt x="f5" y="f83"/>
                </a:cubicBezTo>
                <a:cubicBezTo>
                  <a:pt x="f5" y="f87"/>
                  <a:pt x="f14" y="f7"/>
                  <a:pt x="f41" y="f7"/>
                </a:cubicBezTo>
                <a:cubicBezTo>
                  <a:pt x="f40" y="f7"/>
                  <a:pt x="f40" y="f7"/>
                  <a:pt x="f40" y="f7"/>
                </a:cubicBezTo>
                <a:cubicBezTo>
                  <a:pt x="f38" y="f7"/>
                  <a:pt x="f34" y="f87"/>
                  <a:pt x="f34" y="f83"/>
                </a:cubicBezTo>
                <a:cubicBezTo>
                  <a:pt x="f34" y="f88"/>
                  <a:pt x="f34" y="f88"/>
                  <a:pt x="f34" y="f88"/>
                </a:cubicBezTo>
                <a:cubicBezTo>
                  <a:pt x="f83" y="f83"/>
                  <a:pt x="f89" y="f90"/>
                  <a:pt x="f30" y="f89"/>
                </a:cubicBezTo>
                <a:cubicBezTo>
                  <a:pt x="f29" y="f87"/>
                  <a:pt x="f28" y="f30"/>
                  <a:pt x="f27" y="f30"/>
                </a:cubicBezTo>
                <a:cubicBezTo>
                  <a:pt x="f7" y="f85"/>
                  <a:pt x="f91" y="f87"/>
                  <a:pt x="f21" y="f92"/>
                </a:cubicBezTo>
                <a:cubicBezTo>
                  <a:pt x="f19" y="f93"/>
                  <a:pt x="f6" y="f94"/>
                  <a:pt x="f6" y="f72"/>
                </a:cubicBezTo>
                <a:cubicBezTo>
                  <a:pt x="f6" y="f71"/>
                  <a:pt x="f6" y="f70"/>
                  <a:pt x="f6" y="f17"/>
                </a:cubicBezTo>
                <a:close/>
                <a:moveTo>
                  <a:pt x="f95" y="f9"/>
                </a:moveTo>
                <a:cubicBezTo>
                  <a:pt x="f96" y="f9"/>
                  <a:pt x="f97" y="f12"/>
                  <a:pt x="f97" y="f13"/>
                </a:cubicBezTo>
                <a:cubicBezTo>
                  <a:pt x="f97" y="f14"/>
                  <a:pt x="f96" y="f5"/>
                  <a:pt x="f95" y="f5"/>
                </a:cubicBezTo>
                <a:cubicBezTo>
                  <a:pt x="f98" y="f5"/>
                  <a:pt x="f99" y="f14"/>
                  <a:pt x="f99" y="f13"/>
                </a:cubicBezTo>
                <a:cubicBezTo>
                  <a:pt x="f99" y="f12"/>
                  <a:pt x="f98" y="f9"/>
                  <a:pt x="f95" y="f9"/>
                </a:cubicBezTo>
                <a:close/>
              </a:path>
            </a:pathLst>
          </a:custGeom>
          <a:solidFill>
            <a:srgbClr val="00A9D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GB" sz="2000" b="0" i="0" u="none" strike="noStrike" kern="1200" cap="none" spc="0" baseline="0">
              <a:solidFill>
                <a:srgbClr val="58585A"/>
              </a:solidFill>
              <a:uFillTx/>
              <a:latin typeface="Arial"/>
            </a:endParaRPr>
          </a:p>
        </p:txBody>
      </p:sp>
      <p:sp>
        <p:nvSpPr>
          <p:cNvPr id="50" name="Rectangle 147">
            <a:extLst>
              <a:ext uri="{FF2B5EF4-FFF2-40B4-BE49-F238E27FC236}">
                <a16:creationId xmlns:a16="http://schemas.microsoft.com/office/drawing/2014/main" id="{6B64F500-AC55-4CCD-86E8-C974C9A92C04}"/>
              </a:ext>
            </a:extLst>
          </p:cNvPr>
          <p:cNvSpPr/>
          <p:nvPr/>
        </p:nvSpPr>
        <p:spPr>
          <a:xfrm>
            <a:off x="6506541" y="5073387"/>
            <a:ext cx="1239450" cy="369335"/>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all" spc="0" baseline="0">
                <a:solidFill>
                  <a:srgbClr val="58585A"/>
                </a:solidFill>
                <a:uFillTx/>
                <a:latin typeface="Arial"/>
                <a:ea typeface="MS PGothic" pitchFamily="34"/>
              </a:rPr>
              <a:t>3D camera/4K screen</a:t>
            </a:r>
            <a:endParaRPr lang="en-US" sz="900" b="0" i="0" u="none" strike="noStrike" kern="1200" cap="all" spc="0" baseline="0">
              <a:solidFill>
                <a:srgbClr val="58585A"/>
              </a:solidFill>
              <a:uFillTx/>
              <a:latin typeface="Arial"/>
            </a:endParaRPr>
          </a:p>
        </p:txBody>
      </p:sp>
      <p:sp>
        <p:nvSpPr>
          <p:cNvPr id="51" name="Rectangle 90">
            <a:extLst>
              <a:ext uri="{FF2B5EF4-FFF2-40B4-BE49-F238E27FC236}">
                <a16:creationId xmlns:a16="http://schemas.microsoft.com/office/drawing/2014/main" id="{022B399F-5F8C-4132-BD6E-7B13C7349EC4}"/>
              </a:ext>
            </a:extLst>
          </p:cNvPr>
          <p:cNvSpPr/>
          <p:nvPr/>
        </p:nvSpPr>
        <p:spPr>
          <a:xfrm>
            <a:off x="3474308" y="5689565"/>
            <a:ext cx="1249234" cy="230831"/>
          </a:xfrm>
          <a:prstGeom prst="rect">
            <a:avLst/>
          </a:prstGeom>
          <a:noFill/>
          <a:ln cap="flat">
            <a:noFill/>
            <a:prstDash val="solid"/>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500"/>
              </a:spcBef>
              <a:spcAft>
                <a:spcPts val="0"/>
              </a:spcAft>
              <a:buNone/>
              <a:tabLst/>
              <a:defRPr sz="1800" b="0" i="0" u="none" strike="noStrike" kern="0" cap="none" spc="0" baseline="0">
                <a:solidFill>
                  <a:srgbClr val="000000"/>
                </a:solidFill>
                <a:uFillTx/>
              </a:defRPr>
            </a:pPr>
            <a:r>
              <a:rPr lang="en-US" sz="900" b="0" i="0" u="none" strike="noStrike" kern="1200" cap="none" spc="0" baseline="0">
                <a:solidFill>
                  <a:srgbClr val="58585A"/>
                </a:solidFill>
                <a:uFillTx/>
                <a:latin typeface="Arial"/>
              </a:rPr>
              <a:t>E-HEALTH</a:t>
            </a:r>
          </a:p>
        </p:txBody>
      </p:sp>
      <p:sp>
        <p:nvSpPr>
          <p:cNvPr id="52" name="Freeform 3">
            <a:extLst>
              <a:ext uri="{FF2B5EF4-FFF2-40B4-BE49-F238E27FC236}">
                <a16:creationId xmlns:a16="http://schemas.microsoft.com/office/drawing/2014/main" id="{13F28DE3-B79C-4F0D-BFC4-80BA43189393}"/>
              </a:ext>
            </a:extLst>
          </p:cNvPr>
          <p:cNvSpPr/>
          <p:nvPr/>
        </p:nvSpPr>
        <p:spPr>
          <a:xfrm>
            <a:off x="2872285" y="2737982"/>
            <a:ext cx="400763" cy="396813"/>
          </a:xfrm>
          <a:custGeom>
            <a:avLst/>
            <a:gdLst>
              <a:gd name="f0" fmla="val 10800000"/>
              <a:gd name="f1" fmla="val 5400000"/>
              <a:gd name="f2" fmla="val 360"/>
              <a:gd name="f3" fmla="val 180"/>
              <a:gd name="f4" fmla="val w"/>
              <a:gd name="f5" fmla="val h"/>
              <a:gd name="f6" fmla="val 0"/>
              <a:gd name="f7" fmla="val 430"/>
              <a:gd name="f8" fmla="val 426"/>
              <a:gd name="f9" fmla="val 366"/>
              <a:gd name="f10" fmla="val 169"/>
              <a:gd name="f11" fmla="val 165"/>
              <a:gd name="f12" fmla="val 160"/>
              <a:gd name="f13" fmla="val 155"/>
              <a:gd name="f14" fmla="val 363"/>
              <a:gd name="f15" fmla="val 133"/>
              <a:gd name="f16" fmla="val 353"/>
              <a:gd name="f17" fmla="val 113"/>
              <a:gd name="f18" fmla="val 339"/>
              <a:gd name="f19" fmla="val 97"/>
              <a:gd name="f20" fmla="val 336"/>
              <a:gd name="f21" fmla="val 94"/>
              <a:gd name="f22" fmla="val 331"/>
              <a:gd name="f23" fmla="val 328"/>
              <a:gd name="f24" fmla="val 325"/>
              <a:gd name="f25" fmla="val 100"/>
              <a:gd name="f26" fmla="val 324"/>
              <a:gd name="f27" fmla="val 105"/>
              <a:gd name="f28" fmla="val 327"/>
              <a:gd name="f29" fmla="val 108"/>
              <a:gd name="f30" fmla="val 121"/>
              <a:gd name="f31" fmla="val 347"/>
              <a:gd name="f32" fmla="val 138"/>
              <a:gd name="f33" fmla="val 350"/>
              <a:gd name="f34" fmla="val 157"/>
              <a:gd name="f35" fmla="val 161"/>
              <a:gd name="f36" fmla="val 195"/>
              <a:gd name="f37" fmla="val 340"/>
              <a:gd name="f38" fmla="val 218"/>
              <a:gd name="f39" fmla="val 323"/>
              <a:gd name="f40" fmla="val 235"/>
              <a:gd name="f41" fmla="val 321"/>
              <a:gd name="f42" fmla="val 234"/>
              <a:gd name="f43" fmla="val 320"/>
              <a:gd name="f44" fmla="val 233"/>
              <a:gd name="f45" fmla="val 318"/>
              <a:gd name="f46" fmla="val 232"/>
              <a:gd name="f47" fmla="val 226"/>
              <a:gd name="f48" fmla="val 322"/>
              <a:gd name="f49" fmla="val 219"/>
              <a:gd name="f50" fmla="val 211"/>
              <a:gd name="f51" fmla="val 183"/>
              <a:gd name="f52" fmla="val 300"/>
              <a:gd name="f53" fmla="val 272"/>
              <a:gd name="f54" fmla="val 263"/>
              <a:gd name="f55" fmla="val 254"/>
              <a:gd name="f56" fmla="val 163"/>
              <a:gd name="f57" fmla="val 247"/>
              <a:gd name="f58" fmla="val 168"/>
              <a:gd name="f59" fmla="val 143"/>
              <a:gd name="f60" fmla="val 210"/>
              <a:gd name="f61" fmla="val 124"/>
              <a:gd name="f62" fmla="val 116"/>
              <a:gd name="f63" fmla="val 197"/>
              <a:gd name="f64" fmla="val 96"/>
              <a:gd name="f65" fmla="val 220"/>
              <a:gd name="f66" fmla="val 81"/>
              <a:gd name="f67" fmla="val 246"/>
              <a:gd name="f68" fmla="val 78"/>
              <a:gd name="f69" fmla="val 252"/>
              <a:gd name="f70" fmla="val 77"/>
              <a:gd name="f71" fmla="val 257"/>
              <a:gd name="f72" fmla="val 261"/>
              <a:gd name="f73" fmla="val 277"/>
              <a:gd name="f74" fmla="val 290"/>
              <a:gd name="f75" fmla="val 80"/>
              <a:gd name="f76" fmla="val 303"/>
              <a:gd name="f77" fmla="val 88"/>
              <a:gd name="f78" fmla="val 307"/>
              <a:gd name="f79" fmla="val 90"/>
              <a:gd name="f80" fmla="val 312"/>
              <a:gd name="f81" fmla="val 89"/>
              <a:gd name="f82" fmla="val 314"/>
              <a:gd name="f83" fmla="val 85"/>
              <a:gd name="f84" fmla="val 317"/>
              <a:gd name="f85" fmla="val 315"/>
              <a:gd name="f86" fmla="val 76"/>
              <a:gd name="f87" fmla="val 74"/>
              <a:gd name="f88" fmla="val 296"/>
              <a:gd name="f89" fmla="val 65"/>
              <a:gd name="f90" fmla="val 279"/>
              <a:gd name="f91" fmla="val 61"/>
              <a:gd name="f92" fmla="val 256"/>
              <a:gd name="f93" fmla="val 250"/>
              <a:gd name="f94" fmla="val 244"/>
              <a:gd name="f95" fmla="val 62"/>
              <a:gd name="f96" fmla="val 66"/>
              <a:gd name="f97" fmla="val 182"/>
              <a:gd name="f98" fmla="val 86"/>
              <a:gd name="f99" fmla="val 166"/>
              <a:gd name="f100" fmla="val 162"/>
              <a:gd name="f101" fmla="val 158"/>
              <a:gd name="f102" fmla="val 112"/>
              <a:gd name="f103" fmla="val 154"/>
              <a:gd name="f104" fmla="val 102"/>
              <a:gd name="f105" fmla="val 59"/>
              <a:gd name="f106" fmla="val 151"/>
              <a:gd name="f107" fmla="val 51"/>
              <a:gd name="f108" fmla="val 201"/>
              <a:gd name="f109" fmla="val 22"/>
              <a:gd name="f110" fmla="val 209"/>
              <a:gd name="f111" fmla="val 236"/>
              <a:gd name="f112" fmla="val 268"/>
              <a:gd name="f113" fmla="val 298"/>
              <a:gd name="f114" fmla="val 18"/>
              <a:gd name="f115" fmla="val 44"/>
              <a:gd name="f116" fmla="val 333"/>
              <a:gd name="f117" fmla="val 45"/>
              <a:gd name="f118" fmla="val 334"/>
              <a:gd name="f119" fmla="val 46"/>
              <a:gd name="f120" fmla="val 47"/>
              <a:gd name="f121" fmla="val 50"/>
              <a:gd name="f122" fmla="val 53"/>
              <a:gd name="f123" fmla="val 332"/>
              <a:gd name="f124" fmla="val 54"/>
              <a:gd name="f125" fmla="val 329"/>
              <a:gd name="f126" fmla="val 56"/>
              <a:gd name="f127" fmla="val 30"/>
              <a:gd name="f128" fmla="val 310"/>
              <a:gd name="f129" fmla="val 16"/>
              <a:gd name="f130" fmla="val 291"/>
              <a:gd name="f131" fmla="val 242"/>
              <a:gd name="f132" fmla="val 35"/>
              <a:gd name="f133" fmla="val 60"/>
              <a:gd name="f134" fmla="val 215"/>
              <a:gd name="f135" fmla="val 63"/>
              <a:gd name="f136" fmla="val 212"/>
              <a:gd name="f137" fmla="val 208"/>
              <a:gd name="f138" fmla="val 71"/>
              <a:gd name="f139" fmla="val 128"/>
              <a:gd name="f140" fmla="val 191"/>
              <a:gd name="f141" fmla="val 223"/>
              <a:gd name="f142" fmla="val 237"/>
              <a:gd name="f143" fmla="val 185"/>
              <a:gd name="f144" fmla="val 239"/>
              <a:gd name="f145" fmla="val 187"/>
              <a:gd name="f146" fmla="val 188"/>
              <a:gd name="f147" fmla="val 249"/>
              <a:gd name="f148" fmla="val 186"/>
              <a:gd name="f149" fmla="val 255"/>
              <a:gd name="f150" fmla="val 177"/>
              <a:gd name="f151" fmla="val 306"/>
              <a:gd name="f152" fmla="val 192"/>
              <a:gd name="f153" fmla="val 304"/>
              <a:gd name="f154" fmla="val 227"/>
              <a:gd name="f155" fmla="val 299"/>
              <a:gd name="f156" fmla="val 297"/>
              <a:gd name="f157" fmla="val 238"/>
              <a:gd name="f158" fmla="val 240"/>
              <a:gd name="f159" fmla="val 243"/>
              <a:gd name="f160" fmla="val 301"/>
              <a:gd name="f161" fmla="val 245"/>
              <a:gd name="f162" fmla="val 248"/>
              <a:gd name="f163" fmla="val 337"/>
              <a:gd name="f164" fmla="val 264"/>
              <a:gd name="f165" fmla="val 284"/>
              <a:gd name="f166" fmla="val 313"/>
              <a:gd name="f167" fmla="val 311"/>
              <a:gd name="f168" fmla="val 342"/>
              <a:gd name="f169" fmla="val 305"/>
              <a:gd name="f170" fmla="val 355"/>
              <a:gd name="f171" fmla="val 224"/>
              <a:gd name="f172" fmla="val 198"/>
              <a:gd name="f173" fmla="val 39"/>
              <a:gd name="f174" fmla="val 43"/>
              <a:gd name="f175" fmla="val 241"/>
              <a:gd name="f176" fmla="val 41"/>
              <a:gd name="f177" fmla="val 37"/>
              <a:gd name="f178" fmla="val 8"/>
              <a:gd name="f179" fmla="val 3"/>
              <a:gd name="f180" fmla="val 1"/>
              <a:gd name="f181" fmla="val 229"/>
              <a:gd name="f182" fmla="val 5"/>
              <a:gd name="f183" fmla="val 10"/>
              <a:gd name="f184" fmla="val 189"/>
              <a:gd name="f185" fmla="val 64"/>
              <a:gd name="f186" fmla="val 193"/>
              <a:gd name="f187" fmla="val 194"/>
              <a:gd name="f188" fmla="val 196"/>
              <a:gd name="f189" fmla="val 199"/>
              <a:gd name="f190" fmla="val 52"/>
              <a:gd name="f191" fmla="val 25"/>
              <a:gd name="f192" fmla="val 181"/>
              <a:gd name="f193" fmla="val 21"/>
              <a:gd name="f194" fmla="val 176"/>
              <a:gd name="f195" fmla="val 20"/>
              <a:gd name="f196" fmla="val 173"/>
              <a:gd name="f197" fmla="val 24"/>
              <a:gd name="f198" fmla="val 167"/>
              <a:gd name="f199" fmla="val 29"/>
              <a:gd name="f200" fmla="val 170"/>
              <a:gd name="f201" fmla="val 33"/>
              <a:gd name="f202" fmla="val 394"/>
              <a:gd name="f203" fmla="val 266"/>
              <a:gd name="f204" fmla="val 358"/>
              <a:gd name="f205" fmla="val 352"/>
              <a:gd name="f206" fmla="val 357"/>
              <a:gd name="f207" fmla="val 258"/>
              <a:gd name="f208" fmla="val 384"/>
              <a:gd name="f209" fmla="val 385"/>
              <a:gd name="f210" fmla="val 280"/>
              <a:gd name="f211" fmla="val 387"/>
              <a:gd name="f212" fmla="val 389"/>
              <a:gd name="f213" fmla="val 391"/>
              <a:gd name="f214" fmla="val 393"/>
              <a:gd name="f215" fmla="val 395"/>
              <a:gd name="f216" fmla="val 398"/>
              <a:gd name="f217" fmla="val 274"/>
              <a:gd name="f218" fmla="val 397"/>
              <a:gd name="f219" fmla="val 269"/>
              <a:gd name="f220" fmla="val 123"/>
              <a:gd name="f221" fmla="val 148"/>
              <a:gd name="f222" fmla="val 150"/>
              <a:gd name="f223" fmla="val 98"/>
              <a:gd name="f224" fmla="val 99"/>
              <a:gd name="f225" fmla="val 153"/>
              <a:gd name="f226" fmla="val 156"/>
              <a:gd name="f227" fmla="val 159"/>
              <a:gd name="f228" fmla="val 92"/>
              <a:gd name="f229" fmla="val 87"/>
              <a:gd name="f230" fmla="val 84"/>
              <a:gd name="f231" fmla="val 130"/>
              <a:gd name="f232" fmla="val 125"/>
              <a:gd name="f233" fmla="val 122"/>
              <a:gd name="f234" fmla="val 67"/>
              <a:gd name="f235" fmla="val 119"/>
              <a:gd name="f236" fmla="val 70"/>
              <a:gd name="f237" fmla="val 120"/>
              <a:gd name="f238" fmla="val 75"/>
              <a:gd name="f239" fmla="val 419"/>
              <a:gd name="f240" fmla="val 207"/>
              <a:gd name="f241" fmla="val 383"/>
              <a:gd name="f242" fmla="val 379"/>
              <a:gd name="f243" fmla="val 200"/>
              <a:gd name="f244" fmla="val 378"/>
              <a:gd name="f245" fmla="val 204"/>
              <a:gd name="f246" fmla="val 377"/>
              <a:gd name="f247" fmla="val 213"/>
              <a:gd name="f248" fmla="val 214"/>
              <a:gd name="f249" fmla="val 415"/>
              <a:gd name="f250" fmla="val 416"/>
              <a:gd name="f251" fmla="val 417"/>
              <a:gd name="f252" fmla="val 421"/>
              <a:gd name="f253" fmla="val 424"/>
              <a:gd name="f254" fmla="val 221"/>
              <a:gd name="f255" fmla="val 425"/>
              <a:gd name="f256" fmla="val 217"/>
              <a:gd name="f257" fmla="val 429"/>
              <a:gd name="f258" fmla="val 145"/>
              <a:gd name="f259" fmla="val 142"/>
              <a:gd name="f260" fmla="val 147"/>
              <a:gd name="f261" fmla="val 382"/>
              <a:gd name="f262" fmla="val 152"/>
              <a:gd name="f263" fmla="val 386"/>
              <a:gd name="f264" fmla="val 390"/>
              <a:gd name="f265" fmla="val 423"/>
              <a:gd name="f266" fmla="val 427"/>
              <a:gd name="f267" fmla="val 367"/>
              <a:gd name="f268" fmla="val 109"/>
              <a:gd name="f269" fmla="val 369"/>
              <a:gd name="f270" fmla="val 372"/>
              <a:gd name="f271" fmla="val 374"/>
              <a:gd name="f272" fmla="val 376"/>
              <a:gd name="f273" fmla="val 405"/>
              <a:gd name="f274" fmla="val 409"/>
              <a:gd name="f275" fmla="val 95"/>
              <a:gd name="f276" fmla="val 410"/>
              <a:gd name="f277" fmla="val 408"/>
              <a:gd name="f278" fmla="val 406"/>
              <a:gd name="f279" fmla="val 82"/>
              <a:gd name="f280" fmla="val 401"/>
              <a:gd name="f281" fmla="val 83"/>
              <a:gd name="f282" fmla="val 370"/>
              <a:gd name="f283" fmla="val 365"/>
              <a:gd name="f284" fmla="val 72"/>
              <a:gd name="f285" fmla="val 73"/>
              <a:gd name="f286" fmla="val 341"/>
              <a:gd name="f287" fmla="val 343"/>
              <a:gd name="f288" fmla="val 345"/>
              <a:gd name="f289" fmla="val 368"/>
              <a:gd name="f290" fmla="val 38"/>
              <a:gd name="f291" fmla="val 364"/>
              <a:gd name="f292" fmla="val 69"/>
              <a:gd name="f293" fmla="val 292"/>
              <a:gd name="f294" fmla="val 49"/>
              <a:gd name="f295" fmla="val 293"/>
              <a:gd name="f296" fmla="val 294"/>
              <a:gd name="f297" fmla="val 309"/>
              <a:gd name="f298" fmla="val 15"/>
              <a:gd name="f299" fmla="val 11"/>
              <a:gd name="f300" fmla="val 308"/>
              <a:gd name="f301" fmla="val 7"/>
              <a:gd name="f302" fmla="val 4"/>
              <a:gd name="f303" fmla="val 295"/>
              <a:gd name="f304" fmla="val 286"/>
              <a:gd name="f305" fmla="val 40"/>
              <a:gd name="f306" fmla="val 285"/>
              <a:gd name="f307" fmla="val 287"/>
              <a:gd name="f308" fmla="val 48"/>
              <a:gd name="f309" fmla="val 399"/>
              <a:gd name="f310" fmla="val 388"/>
              <a:gd name="f311" fmla="val 265"/>
              <a:gd name="f312" fmla="val 381"/>
              <a:gd name="f313" fmla="val 262"/>
              <a:gd name="f314" fmla="val 260"/>
              <a:gd name="f315" fmla="val 276"/>
              <a:gd name="f316" fmla="val 420"/>
              <a:gd name="f317" fmla="val 278"/>
              <a:gd name="f318" fmla="val 414"/>
              <a:gd name="f319" fmla="val 400"/>
              <a:gd name="f320" fmla="val 206"/>
              <a:gd name="f321" fmla="val 184"/>
              <a:gd name="f322" fmla="val 179"/>
              <a:gd name="f323" fmla="val 203"/>
              <a:gd name="f324" fmla="val 137"/>
              <a:gd name="f325" fmla="val 136"/>
              <a:gd name="f326" fmla="val 103"/>
              <a:gd name="f327" fmla="val 101"/>
              <a:gd name="f328" fmla="val 106"/>
              <a:gd name="f329" fmla="val 114"/>
              <a:gd name="f330" fmla="val 115"/>
              <a:gd name="f331" fmla="val 132"/>
              <a:gd name="f332" fmla="val 356"/>
              <a:gd name="f333" fmla="val 348"/>
              <a:gd name="f334" fmla="val 117"/>
              <a:gd name="f335" fmla="val 126"/>
              <a:gd name="f336" fmla="val 351"/>
              <a:gd name="f337" fmla="val 127"/>
              <a:gd name="f338" fmla="val 349"/>
              <a:gd name="f339" fmla="val 129"/>
              <a:gd name="f340" fmla="val 338"/>
              <a:gd name="f341" fmla="val 330"/>
              <a:gd name="f342" fmla="val 319"/>
              <a:gd name="f343" fmla="val 316"/>
              <a:gd name="f344" fmla="val 93"/>
              <a:gd name="f345" fmla="val 190"/>
              <a:gd name="f346" fmla="val 205"/>
              <a:gd name="f347" fmla="val 174"/>
              <a:gd name="f348" fmla="val 164"/>
              <a:gd name="f349" fmla="val 271"/>
              <a:gd name="f350" fmla="val 281"/>
              <a:gd name="f351" fmla="val 288"/>
              <a:gd name="f352" fmla="val 289"/>
              <a:gd name="f353" fmla="val 267"/>
              <a:gd name="f354" fmla="+- 0 0 -90"/>
              <a:gd name="f355" fmla="*/ f4 1 430"/>
              <a:gd name="f356" fmla="*/ f5 1 426"/>
              <a:gd name="f357" fmla="+- f8 0 f6"/>
              <a:gd name="f358" fmla="+- f7 0 f6"/>
              <a:gd name="f359" fmla="*/ f354 f0 1"/>
              <a:gd name="f360" fmla="*/ f358 1 430"/>
              <a:gd name="f361" fmla="*/ f357 1 426"/>
              <a:gd name="f362" fmla="*/ 2147483647 f358 1"/>
              <a:gd name="f363" fmla="*/ 2147483647 f357 1"/>
              <a:gd name="f364" fmla="*/ f359 1 f3"/>
              <a:gd name="f365" fmla="*/ f362 1 430"/>
              <a:gd name="f366" fmla="*/ f363 1 426"/>
              <a:gd name="f367" fmla="*/ 0 1 f360"/>
              <a:gd name="f368" fmla="*/ f7 1 f360"/>
              <a:gd name="f369" fmla="*/ 0 1 f361"/>
              <a:gd name="f370" fmla="*/ f8 1 f361"/>
              <a:gd name="f371" fmla="+- f364 0 f1"/>
              <a:gd name="f372" fmla="*/ f365 1 f360"/>
              <a:gd name="f373" fmla="*/ f366 1 f361"/>
              <a:gd name="f374" fmla="*/ f367 f355 1"/>
              <a:gd name="f375" fmla="*/ f368 f355 1"/>
              <a:gd name="f376" fmla="*/ f370 f356 1"/>
              <a:gd name="f377" fmla="*/ f369 f356 1"/>
              <a:gd name="f378" fmla="*/ f372 f355 1"/>
              <a:gd name="f379" fmla="*/ f373 f356 1"/>
            </a:gdLst>
            <a:ahLst/>
            <a:cxnLst>
              <a:cxn ang="3cd4">
                <a:pos x="hc" y="t"/>
              </a:cxn>
              <a:cxn ang="0">
                <a:pos x="r" y="vc"/>
              </a:cxn>
              <a:cxn ang="cd4">
                <a:pos x="hc" y="b"/>
              </a:cxn>
              <a:cxn ang="cd2">
                <a:pos x="l" y="vc"/>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 ang="f371">
                <a:pos x="f378" y="f379"/>
              </a:cxn>
            </a:cxnLst>
            <a:rect l="f374" t="f377" r="f375" b="f376"/>
            <a:pathLst>
              <a:path w="430" h="426">
                <a:moveTo>
                  <a:pt x="f9" y="f10"/>
                </a:moveTo>
                <a:cubicBezTo>
                  <a:pt x="f9" y="f11"/>
                  <a:pt x="f9" y="f12"/>
                  <a:pt x="f9" y="f13"/>
                </a:cubicBezTo>
                <a:cubicBezTo>
                  <a:pt x="f14" y="f15"/>
                  <a:pt x="f16" y="f17"/>
                  <a:pt x="f18" y="f19"/>
                </a:cubicBezTo>
                <a:cubicBezTo>
                  <a:pt x="f20" y="f21"/>
                  <a:pt x="f22" y="f21"/>
                  <a:pt x="f23" y="f19"/>
                </a:cubicBezTo>
                <a:cubicBezTo>
                  <a:pt x="f24" y="f25"/>
                  <a:pt x="f26" y="f27"/>
                  <a:pt x="f28" y="f29"/>
                </a:cubicBezTo>
                <a:cubicBezTo>
                  <a:pt x="f18" y="f30"/>
                  <a:pt x="f31" y="f32"/>
                  <a:pt x="f33" y="f34"/>
                </a:cubicBezTo>
                <a:cubicBezTo>
                  <a:pt x="f33" y="f35"/>
                  <a:pt x="f33" y="f11"/>
                  <a:pt x="f33" y="f10"/>
                </a:cubicBezTo>
                <a:cubicBezTo>
                  <a:pt x="f33" y="f36"/>
                  <a:pt x="f37" y="f38"/>
                  <a:pt x="f39" y="f40"/>
                </a:cubicBezTo>
                <a:cubicBezTo>
                  <a:pt x="f41" y="f42"/>
                  <a:pt x="f43" y="f44"/>
                  <a:pt x="f45" y="f46"/>
                </a:cubicBezTo>
                <a:cubicBezTo>
                  <a:pt x="f41" y="f47"/>
                  <a:pt x="f48" y="f49"/>
                  <a:pt x="f48" y="f50"/>
                </a:cubicBezTo>
                <a:cubicBezTo>
                  <a:pt x="f48" y="f51"/>
                  <a:pt x="f52" y="f35"/>
                  <a:pt x="f53" y="f35"/>
                </a:cubicBezTo>
                <a:cubicBezTo>
                  <a:pt x="f54" y="f35"/>
                  <a:pt x="f55" y="f56"/>
                  <a:pt x="f57" y="f58"/>
                </a:cubicBezTo>
                <a:cubicBezTo>
                  <a:pt x="f44" y="f59"/>
                  <a:pt x="f60" y="f61"/>
                  <a:pt x="f51" y="f62"/>
                </a:cubicBezTo>
                <a:cubicBezTo>
                  <a:pt x="f63" y="f64"/>
                  <a:pt x="f65" y="f66"/>
                  <a:pt x="f67" y="f68"/>
                </a:cubicBezTo>
                <a:cubicBezTo>
                  <a:pt x="f69" y="f70"/>
                  <a:pt x="f71" y="f70"/>
                  <a:pt x="f72" y="f70"/>
                </a:cubicBezTo>
                <a:cubicBezTo>
                  <a:pt x="f73" y="f70"/>
                  <a:pt x="f74" y="f75"/>
                  <a:pt x="f76" y="f77"/>
                </a:cubicBezTo>
                <a:cubicBezTo>
                  <a:pt x="f78" y="f79"/>
                  <a:pt x="f80" y="f81"/>
                  <a:pt x="f82" y="f83"/>
                </a:cubicBezTo>
                <a:cubicBezTo>
                  <a:pt x="f84" y="f66"/>
                  <a:pt x="f85" y="f86"/>
                  <a:pt x="f80" y="f87"/>
                </a:cubicBezTo>
                <a:cubicBezTo>
                  <a:pt x="f80" y="f87"/>
                  <a:pt x="f80" y="f87"/>
                  <a:pt x="f80" y="f87"/>
                </a:cubicBezTo>
                <a:cubicBezTo>
                  <a:pt x="f88" y="f89"/>
                  <a:pt x="f90" y="f91"/>
                  <a:pt x="f72" y="f91"/>
                </a:cubicBezTo>
                <a:cubicBezTo>
                  <a:pt x="f92" y="f91"/>
                  <a:pt x="f93" y="f91"/>
                  <a:pt x="f94" y="f95"/>
                </a:cubicBezTo>
                <a:cubicBezTo>
                  <a:pt x="f60" y="f96"/>
                  <a:pt x="f97" y="f98"/>
                  <a:pt x="f99" y="f17"/>
                </a:cubicBezTo>
                <a:cubicBezTo>
                  <a:pt x="f100" y="f17"/>
                  <a:pt x="f101" y="f102"/>
                  <a:pt x="f103" y="f102"/>
                </a:cubicBezTo>
                <a:cubicBezTo>
                  <a:pt x="f104" y="f102"/>
                  <a:pt x="f105" y="f106"/>
                  <a:pt x="f107" y="f108"/>
                </a:cubicBezTo>
                <a:cubicBezTo>
                  <a:pt x="f109" y="f110"/>
                  <a:pt x="f6" y="f111"/>
                  <a:pt x="f6" y="f112"/>
                </a:cubicBezTo>
                <a:cubicBezTo>
                  <a:pt x="f6" y="f113"/>
                  <a:pt x="f114" y="f39"/>
                  <a:pt x="f115" y="f116"/>
                </a:cubicBezTo>
                <a:cubicBezTo>
                  <a:pt x="f117" y="f118"/>
                  <a:pt x="f119" y="f118"/>
                  <a:pt x="f120" y="f118"/>
                </a:cubicBezTo>
                <a:cubicBezTo>
                  <a:pt x="f121" y="f118"/>
                  <a:pt x="f122" y="f123"/>
                  <a:pt x="f124" y="f125"/>
                </a:cubicBezTo>
                <a:cubicBezTo>
                  <a:pt x="f126" y="f24"/>
                  <a:pt x="f124" y="f43"/>
                  <a:pt x="f121" y="f45"/>
                </a:cubicBezTo>
                <a:cubicBezTo>
                  <a:pt x="f127" y="f128"/>
                  <a:pt x="f129" y="f130"/>
                  <a:pt x="f129" y="f112"/>
                </a:cubicBezTo>
                <a:cubicBezTo>
                  <a:pt x="f129" y="f131"/>
                  <a:pt x="f132" y="f65"/>
                  <a:pt x="f133" y="f134"/>
                </a:cubicBezTo>
                <a:cubicBezTo>
                  <a:pt x="f135" y="f134"/>
                  <a:pt x="f96" y="f136"/>
                  <a:pt x="f96" y="f137"/>
                </a:cubicBezTo>
                <a:cubicBezTo>
                  <a:pt x="f138" y="f56"/>
                  <a:pt x="f29" y="f139"/>
                  <a:pt x="f103" y="f139"/>
                </a:cubicBezTo>
                <a:cubicBezTo>
                  <a:pt x="f140" y="f139"/>
                  <a:pt x="f141" y="f106"/>
                  <a:pt x="f111" y="f51"/>
                </a:cubicBezTo>
                <a:cubicBezTo>
                  <a:pt x="f142" y="f143"/>
                  <a:pt x="f144" y="f145"/>
                  <a:pt x="f131" y="f145"/>
                </a:cubicBezTo>
                <a:cubicBezTo>
                  <a:pt x="f94" y="f146"/>
                  <a:pt x="f57" y="f145"/>
                  <a:pt x="f147" y="f148"/>
                </a:cubicBezTo>
                <a:cubicBezTo>
                  <a:pt x="f149" y="f3"/>
                  <a:pt x="f54" y="f150"/>
                  <a:pt x="f53" y="f150"/>
                </a:cubicBezTo>
                <a:cubicBezTo>
                  <a:pt x="f130" y="f150"/>
                  <a:pt x="f151" y="f152"/>
                  <a:pt x="f151" y="f50"/>
                </a:cubicBezTo>
                <a:cubicBezTo>
                  <a:pt x="f151" y="f49"/>
                  <a:pt x="f153" y="f154"/>
                  <a:pt x="f155" y="f46"/>
                </a:cubicBezTo>
                <a:cubicBezTo>
                  <a:pt x="f156" y="f40"/>
                  <a:pt x="f156" y="f157"/>
                  <a:pt x="f113" y="f158"/>
                </a:cubicBezTo>
                <a:cubicBezTo>
                  <a:pt x="f155" y="f159"/>
                  <a:pt x="f160" y="f161"/>
                  <a:pt x="f153" y="f161"/>
                </a:cubicBezTo>
                <a:cubicBezTo>
                  <a:pt x="f39" y="f162"/>
                  <a:pt x="f163" y="f164"/>
                  <a:pt x="f163" y="f165"/>
                </a:cubicBezTo>
                <a:cubicBezTo>
                  <a:pt x="f163" y="f155"/>
                  <a:pt x="f125" y="f80"/>
                  <a:pt x="f84" y="f45"/>
                </a:cubicBezTo>
                <a:cubicBezTo>
                  <a:pt x="f166" y="f43"/>
                  <a:pt x="f167" y="f24"/>
                  <a:pt x="f166" y="f125"/>
                </a:cubicBezTo>
                <a:cubicBezTo>
                  <a:pt x="f85" y="f116"/>
                  <a:pt x="f43" y="f118"/>
                  <a:pt x="f26" y="f123"/>
                </a:cubicBezTo>
                <a:cubicBezTo>
                  <a:pt x="f26" y="f123"/>
                  <a:pt x="f26" y="f123"/>
                  <a:pt x="f26" y="f123"/>
                </a:cubicBezTo>
                <a:cubicBezTo>
                  <a:pt x="f168" y="f39"/>
                  <a:pt x="f16" y="f169"/>
                  <a:pt x="f16" y="f165"/>
                </a:cubicBezTo>
                <a:cubicBezTo>
                  <a:pt x="f16" y="f112"/>
                  <a:pt x="f31" y="f55"/>
                  <a:pt x="f20" y="f94"/>
                </a:cubicBezTo>
                <a:cubicBezTo>
                  <a:pt x="f170" y="f171"/>
                  <a:pt x="f9" y="f172"/>
                  <a:pt x="f9" y="f10"/>
                </a:cubicBezTo>
                <a:moveTo>
                  <a:pt x="f44" y="f173"/>
                </a:moveTo>
                <a:cubicBezTo>
                  <a:pt x="f42" y="f174"/>
                  <a:pt x="f142" y="f119"/>
                  <a:pt x="f175" y="f119"/>
                </a:cubicBezTo>
                <a:cubicBezTo>
                  <a:pt x="f131" y="f119"/>
                  <a:pt x="f131" y="f119"/>
                  <a:pt x="f131" y="f119"/>
                </a:cubicBezTo>
                <a:cubicBezTo>
                  <a:pt x="f57" y="f117"/>
                  <a:pt x="f93" y="f176"/>
                  <a:pt x="f147" y="f177"/>
                </a:cubicBezTo>
                <a:cubicBezTo>
                  <a:pt x="f161" y="f178"/>
                  <a:pt x="f161" y="f178"/>
                  <a:pt x="f161" y="f178"/>
                </a:cubicBezTo>
                <a:cubicBezTo>
                  <a:pt x="f161" y="f179"/>
                  <a:pt x="f175" y="f6"/>
                  <a:pt x="f111" y="f180"/>
                </a:cubicBezTo>
                <a:cubicBezTo>
                  <a:pt x="f46" y="f180"/>
                  <a:pt x="f181" y="f182"/>
                  <a:pt x="f181" y="f183"/>
                </a:cubicBezTo>
                <a:lnTo>
                  <a:pt x="f44" y="f173"/>
                </a:lnTo>
                <a:close/>
                <a:moveTo>
                  <a:pt x="f143" y="f133"/>
                </a:moveTo>
                <a:cubicBezTo>
                  <a:pt x="f148" y="f95"/>
                  <a:pt x="f184" y="f185"/>
                  <a:pt x="f152" y="f185"/>
                </a:cubicBezTo>
                <a:cubicBezTo>
                  <a:pt x="f186" y="f185"/>
                  <a:pt x="f187" y="f135"/>
                  <a:pt x="f188" y="f135"/>
                </a:cubicBezTo>
                <a:cubicBezTo>
                  <a:pt x="f189" y="f133"/>
                  <a:pt x="f108" y="f126"/>
                  <a:pt x="f189" y="f190"/>
                </a:cubicBezTo>
                <a:cubicBezTo>
                  <a:pt x="f51" y="f191"/>
                  <a:pt x="f51" y="f191"/>
                  <a:pt x="f51" y="f191"/>
                </a:cubicBezTo>
                <a:cubicBezTo>
                  <a:pt x="f192" y="f193"/>
                  <a:pt x="f194" y="f195"/>
                  <a:pt x="f196" y="f109"/>
                </a:cubicBezTo>
                <a:cubicBezTo>
                  <a:pt x="f10" y="f197"/>
                  <a:pt x="f198" y="f199"/>
                  <a:pt x="f200" y="f201"/>
                </a:cubicBezTo>
                <a:lnTo>
                  <a:pt x="f143" y="f133"/>
                </a:lnTo>
                <a:close/>
                <a:moveTo>
                  <a:pt x="f202" y="f203"/>
                </a:moveTo>
                <a:cubicBezTo>
                  <a:pt x="f9" y="f161"/>
                  <a:pt x="f9" y="f161"/>
                  <a:pt x="f9" y="f161"/>
                </a:cubicBezTo>
                <a:cubicBezTo>
                  <a:pt x="f14" y="f131"/>
                  <a:pt x="f204" y="f159"/>
                  <a:pt x="f170" y="f57"/>
                </a:cubicBezTo>
                <a:cubicBezTo>
                  <a:pt x="f205" y="f93"/>
                  <a:pt x="f16" y="f149"/>
                  <a:pt x="f206" y="f207"/>
                </a:cubicBezTo>
                <a:cubicBezTo>
                  <a:pt x="f208" y="f90"/>
                  <a:pt x="f208" y="f90"/>
                  <a:pt x="f208" y="f90"/>
                </a:cubicBezTo>
                <a:cubicBezTo>
                  <a:pt x="f209" y="f210"/>
                  <a:pt x="f211" y="f210"/>
                  <a:pt x="f212" y="f210"/>
                </a:cubicBezTo>
                <a:cubicBezTo>
                  <a:pt x="f213" y="f210"/>
                  <a:pt x="f214" y="f90"/>
                  <a:pt x="f215" y="f73"/>
                </a:cubicBezTo>
                <a:cubicBezTo>
                  <a:pt x="f216" y="f217"/>
                  <a:pt x="f218" y="f219"/>
                  <a:pt x="f202" y="f203"/>
                </a:cubicBezTo>
                <a:moveTo>
                  <a:pt x="f220" y="f68"/>
                </a:moveTo>
                <a:cubicBezTo>
                  <a:pt x="f221" y="f19"/>
                  <a:pt x="f221" y="f19"/>
                  <a:pt x="f221" y="f19"/>
                </a:cubicBezTo>
                <a:cubicBezTo>
                  <a:pt x="f222" y="f223"/>
                  <a:pt x="f106" y="f224"/>
                  <a:pt x="f225" y="f224"/>
                </a:cubicBezTo>
                <a:cubicBezTo>
                  <a:pt x="f226" y="f224"/>
                  <a:pt x="f101" y="f223"/>
                  <a:pt x="f227" y="f64"/>
                </a:cubicBezTo>
                <a:cubicBezTo>
                  <a:pt x="f100" y="f228"/>
                  <a:pt x="f100" y="f229"/>
                  <a:pt x="f101" y="f230"/>
                </a:cubicBezTo>
                <a:cubicBezTo>
                  <a:pt x="f15" y="f89"/>
                  <a:pt x="f15" y="f89"/>
                  <a:pt x="f15" y="f89"/>
                </a:cubicBezTo>
                <a:cubicBezTo>
                  <a:pt x="f231" y="f95"/>
                  <a:pt x="f232" y="f135"/>
                  <a:pt x="f233" y="f234"/>
                </a:cubicBezTo>
                <a:cubicBezTo>
                  <a:pt x="f235" y="f236"/>
                  <a:pt x="f237" y="f238"/>
                  <a:pt x="f220" y="f68"/>
                </a:cubicBezTo>
                <a:moveTo>
                  <a:pt x="f239" y="f240"/>
                </a:moveTo>
                <a:cubicBezTo>
                  <a:pt x="f211" y="f189"/>
                  <a:pt x="f211" y="f189"/>
                  <a:pt x="f211" y="f189"/>
                </a:cubicBezTo>
                <a:cubicBezTo>
                  <a:pt x="f241" y="f172"/>
                  <a:pt x="f242" y="f243"/>
                  <a:pt x="f244" y="f245"/>
                </a:cubicBezTo>
                <a:cubicBezTo>
                  <a:pt x="f246" y="f110"/>
                  <a:pt x="f242" y="f247"/>
                  <a:pt x="f241" y="f248"/>
                </a:cubicBezTo>
                <a:cubicBezTo>
                  <a:pt x="f249" y="f141"/>
                  <a:pt x="f249" y="f141"/>
                  <a:pt x="f249" y="f141"/>
                </a:cubicBezTo>
                <a:cubicBezTo>
                  <a:pt x="f250" y="f141"/>
                  <a:pt x="f251" y="f141"/>
                  <a:pt x="f251" y="f141"/>
                </a:cubicBezTo>
                <a:cubicBezTo>
                  <a:pt x="f252" y="f141"/>
                  <a:pt x="f253" y="f254"/>
                  <a:pt x="f255" y="f256"/>
                </a:cubicBezTo>
                <a:cubicBezTo>
                  <a:pt x="f8" y="f247"/>
                  <a:pt x="f253" y="f137"/>
                  <a:pt x="f239" y="f240"/>
                </a:cubicBezTo>
                <a:moveTo>
                  <a:pt x="f7" y="f222"/>
                </a:moveTo>
                <a:cubicBezTo>
                  <a:pt x="f257" y="f258"/>
                  <a:pt x="f255" y="f259"/>
                  <a:pt x="f252" y="f59"/>
                </a:cubicBezTo>
                <a:cubicBezTo>
                  <a:pt x="f212" y="f260"/>
                  <a:pt x="f212" y="f260"/>
                  <a:pt x="f212" y="f260"/>
                </a:cubicBezTo>
                <a:cubicBezTo>
                  <a:pt x="f209" y="f221"/>
                  <a:pt x="f261" y="f262"/>
                  <a:pt x="f261" y="f226"/>
                </a:cubicBezTo>
                <a:cubicBezTo>
                  <a:pt x="f241" y="f12"/>
                  <a:pt x="f263" y="f56"/>
                  <a:pt x="f264" y="f56"/>
                </a:cubicBezTo>
                <a:cubicBezTo>
                  <a:pt x="f264" y="f56"/>
                  <a:pt x="f213" y="f56"/>
                  <a:pt x="f213" y="f56"/>
                </a:cubicBezTo>
                <a:cubicBezTo>
                  <a:pt x="f265" y="f227"/>
                  <a:pt x="f265" y="f227"/>
                  <a:pt x="f265" y="f227"/>
                </a:cubicBezTo>
                <a:cubicBezTo>
                  <a:pt x="f266" y="f101"/>
                  <a:pt x="f7" y="f103"/>
                  <a:pt x="f7" y="f222"/>
                </a:cubicBezTo>
                <a:moveTo>
                  <a:pt x="f267" y="f268"/>
                </a:moveTo>
                <a:cubicBezTo>
                  <a:pt x="f269" y="f102"/>
                  <a:pt x="f270" y="f17"/>
                  <a:pt x="f271" y="f17"/>
                </a:cubicBezTo>
                <a:cubicBezTo>
                  <a:pt x="f272" y="f17"/>
                  <a:pt x="f246" y="f17"/>
                  <a:pt x="f244" y="f102"/>
                </a:cubicBezTo>
                <a:cubicBezTo>
                  <a:pt x="f273" y="f19"/>
                  <a:pt x="f273" y="f19"/>
                  <a:pt x="f273" y="f19"/>
                </a:cubicBezTo>
                <a:cubicBezTo>
                  <a:pt x="f274" y="f275"/>
                  <a:pt x="f276" y="f79"/>
                  <a:pt x="f277" y="f98"/>
                </a:cubicBezTo>
                <a:cubicBezTo>
                  <a:pt x="f278" y="f279"/>
                  <a:pt x="f280" y="f66"/>
                  <a:pt x="f218" y="f281"/>
                </a:cubicBezTo>
                <a:cubicBezTo>
                  <a:pt x="f282" y="f223"/>
                  <a:pt x="f282" y="f223"/>
                  <a:pt x="f282" y="f223"/>
                </a:cubicBezTo>
                <a:cubicBezTo>
                  <a:pt x="f267" y="f25"/>
                  <a:pt x="f283" y="f27"/>
                  <a:pt x="f267" y="f268"/>
                </a:cubicBezTo>
                <a:moveTo>
                  <a:pt x="f20" y="f284"/>
                </a:moveTo>
                <a:cubicBezTo>
                  <a:pt x="f163" y="f285"/>
                  <a:pt x="f18" y="f285"/>
                  <a:pt x="f286" y="f285"/>
                </a:cubicBezTo>
                <a:cubicBezTo>
                  <a:pt x="f287" y="f285"/>
                  <a:pt x="f288" y="f284"/>
                  <a:pt x="f31" y="f236"/>
                </a:cubicBezTo>
                <a:cubicBezTo>
                  <a:pt x="f283" y="f120"/>
                  <a:pt x="f283" y="f120"/>
                  <a:pt x="f283" y="f120"/>
                </a:cubicBezTo>
                <a:cubicBezTo>
                  <a:pt x="f289" y="f174"/>
                  <a:pt x="f267" y="f290"/>
                  <a:pt x="f291" y="f132"/>
                </a:cubicBezTo>
                <a:cubicBezTo>
                  <a:pt x="f2" y="f201"/>
                  <a:pt x="f170" y="f201"/>
                  <a:pt x="f16" y="f177"/>
                </a:cubicBezTo>
                <a:cubicBezTo>
                  <a:pt x="f118" y="f91"/>
                  <a:pt x="f118" y="f91"/>
                  <a:pt x="f118" y="f91"/>
                </a:cubicBezTo>
                <a:cubicBezTo>
                  <a:pt x="f123" y="f185"/>
                  <a:pt x="f123" y="f292"/>
                  <a:pt x="f20" y="f284"/>
                </a:cubicBezTo>
                <a:moveTo>
                  <a:pt x="f293" y="f294"/>
                </a:moveTo>
                <a:cubicBezTo>
                  <a:pt x="f293" y="f121"/>
                  <a:pt x="f295" y="f121"/>
                  <a:pt x="f296" y="f121"/>
                </a:cubicBezTo>
                <a:cubicBezTo>
                  <a:pt x="f156" y="f121"/>
                  <a:pt x="f52" y="f120"/>
                  <a:pt x="f160" y="f115"/>
                </a:cubicBezTo>
                <a:cubicBezTo>
                  <a:pt x="f297" y="f298"/>
                  <a:pt x="f297" y="f298"/>
                  <a:pt x="f297" y="f298"/>
                </a:cubicBezTo>
                <a:cubicBezTo>
                  <a:pt x="f128" y="f299"/>
                  <a:pt x="f300" y="f301"/>
                  <a:pt x="f153" y="f182"/>
                </a:cubicBezTo>
                <a:cubicBezTo>
                  <a:pt x="f155" y="f302"/>
                  <a:pt x="f303" y="f301"/>
                  <a:pt x="f296" y="f299"/>
                </a:cubicBezTo>
                <a:cubicBezTo>
                  <a:pt x="f304" y="f305"/>
                  <a:pt x="f304" y="f305"/>
                  <a:pt x="f304" y="f305"/>
                </a:cubicBezTo>
                <a:cubicBezTo>
                  <a:pt x="f306" y="f115"/>
                  <a:pt x="f307" y="f308"/>
                  <a:pt x="f293" y="f294"/>
                </a:cubicBezTo>
                <a:moveTo>
                  <a:pt x="f52" y="f309"/>
                </a:moveTo>
                <a:cubicBezTo>
                  <a:pt x="f52" y="f309"/>
                  <a:pt x="f52" y="f309"/>
                  <a:pt x="f155" y="f309"/>
                </a:cubicBezTo>
                <a:cubicBezTo>
                  <a:pt x="f155" y="f309"/>
                  <a:pt x="f155" y="f309"/>
                  <a:pt x="f155" y="f309"/>
                </a:cubicBezTo>
                <a:cubicBezTo>
                  <a:pt x="f155" y="f216"/>
                  <a:pt x="f155" y="f216"/>
                  <a:pt x="f155" y="f216"/>
                </a:cubicBezTo>
                <a:cubicBezTo>
                  <a:pt x="f155" y="f216"/>
                  <a:pt x="f113" y="f218"/>
                  <a:pt x="f113" y="f218"/>
                </a:cubicBezTo>
                <a:cubicBezTo>
                  <a:pt x="f307" y="f310"/>
                  <a:pt x="f311" y="f312"/>
                  <a:pt x="f313" y="f241"/>
                </a:cubicBezTo>
                <a:cubicBezTo>
                  <a:pt x="f314" y="f263"/>
                  <a:pt x="f112" y="f277"/>
                  <a:pt x="f315" y="f239"/>
                </a:cubicBezTo>
                <a:cubicBezTo>
                  <a:pt x="f73" y="f239"/>
                  <a:pt x="f73" y="f316"/>
                  <a:pt x="f73" y="f316"/>
                </a:cubicBezTo>
                <a:cubicBezTo>
                  <a:pt x="f73" y="f316"/>
                  <a:pt x="f317" y="f316"/>
                  <a:pt x="f317" y="f316"/>
                </a:cubicBezTo>
                <a:cubicBezTo>
                  <a:pt x="f317" y="f316"/>
                  <a:pt x="f317" y="f316"/>
                  <a:pt x="f317" y="f316"/>
                </a:cubicBezTo>
                <a:cubicBezTo>
                  <a:pt x="f317" y="f316"/>
                  <a:pt x="f317" y="f252"/>
                  <a:pt x="f317" y="f252"/>
                </a:cubicBezTo>
                <a:cubicBezTo>
                  <a:pt x="f165" y="f8"/>
                  <a:pt x="f295" y="f8"/>
                  <a:pt x="f155" y="f316"/>
                </a:cubicBezTo>
                <a:cubicBezTo>
                  <a:pt x="f169" y="f318"/>
                  <a:pt x="f169" y="f278"/>
                  <a:pt x="f52" y="f319"/>
                </a:cubicBezTo>
                <a:cubicBezTo>
                  <a:pt x="f52" y="f309"/>
                  <a:pt x="f52" y="f309"/>
                  <a:pt x="f52" y="f309"/>
                </a:cubicBezTo>
                <a:moveTo>
                  <a:pt x="f49" y="f309"/>
                </a:moveTo>
                <a:cubicBezTo>
                  <a:pt x="f49" y="f309"/>
                  <a:pt x="f49" y="f309"/>
                  <a:pt x="f49" y="f309"/>
                </a:cubicBezTo>
                <a:cubicBezTo>
                  <a:pt x="f38" y="f309"/>
                  <a:pt x="f38" y="f309"/>
                  <a:pt x="f38" y="f309"/>
                </a:cubicBezTo>
                <a:cubicBezTo>
                  <a:pt x="f38" y="f216"/>
                  <a:pt x="f38" y="f216"/>
                  <a:pt x="f38" y="f216"/>
                </a:cubicBezTo>
                <a:cubicBezTo>
                  <a:pt x="f38" y="f216"/>
                  <a:pt x="f256" y="f218"/>
                  <a:pt x="f256" y="f218"/>
                </a:cubicBezTo>
                <a:cubicBezTo>
                  <a:pt x="f320" y="f310"/>
                  <a:pt x="f321" y="f312"/>
                  <a:pt x="f97" y="f241"/>
                </a:cubicBezTo>
                <a:cubicBezTo>
                  <a:pt x="f322" y="f263"/>
                  <a:pt x="f145" y="f277"/>
                  <a:pt x="f36" y="f239"/>
                </a:cubicBezTo>
                <a:cubicBezTo>
                  <a:pt x="f188" y="f239"/>
                  <a:pt x="f188" y="f316"/>
                  <a:pt x="f63" y="f316"/>
                </a:cubicBezTo>
                <a:cubicBezTo>
                  <a:pt x="f63" y="f316"/>
                  <a:pt x="f63" y="f316"/>
                  <a:pt x="f63" y="f316"/>
                </a:cubicBezTo>
                <a:cubicBezTo>
                  <a:pt x="f63" y="f316"/>
                  <a:pt x="f63" y="f316"/>
                  <a:pt x="f63" y="f316"/>
                </a:cubicBezTo>
                <a:cubicBezTo>
                  <a:pt x="f63" y="f316"/>
                  <a:pt x="f63" y="f252"/>
                  <a:pt x="f63" y="f252"/>
                </a:cubicBezTo>
                <a:cubicBezTo>
                  <a:pt x="f323" y="f8"/>
                  <a:pt x="f136" y="f8"/>
                  <a:pt x="f38" y="f316"/>
                </a:cubicBezTo>
                <a:cubicBezTo>
                  <a:pt x="f171" y="f318"/>
                  <a:pt x="f171" y="f278"/>
                  <a:pt x="f49" y="f319"/>
                </a:cubicBezTo>
                <a:cubicBezTo>
                  <a:pt x="f49" y="f309"/>
                  <a:pt x="f49" y="f309"/>
                  <a:pt x="f49" y="f309"/>
                </a:cubicBezTo>
                <a:moveTo>
                  <a:pt x="f32" y="f319"/>
                </a:moveTo>
                <a:cubicBezTo>
                  <a:pt x="f32" y="f309"/>
                  <a:pt x="f32" y="f309"/>
                  <a:pt x="f32" y="f309"/>
                </a:cubicBezTo>
                <a:cubicBezTo>
                  <a:pt x="f32" y="f309"/>
                  <a:pt x="f32" y="f309"/>
                  <a:pt x="f32" y="f309"/>
                </a:cubicBezTo>
                <a:cubicBezTo>
                  <a:pt x="f32" y="f309"/>
                  <a:pt x="f32" y="f309"/>
                  <a:pt x="f32" y="f309"/>
                </a:cubicBezTo>
                <a:cubicBezTo>
                  <a:pt x="f324" y="f216"/>
                  <a:pt x="f324" y="f216"/>
                  <a:pt x="f324" y="f216"/>
                </a:cubicBezTo>
                <a:cubicBezTo>
                  <a:pt x="f324" y="f216"/>
                  <a:pt x="f325" y="f218"/>
                  <a:pt x="f325" y="f218"/>
                </a:cubicBezTo>
                <a:cubicBezTo>
                  <a:pt x="f232" y="f310"/>
                  <a:pt x="f326" y="f312"/>
                  <a:pt x="f327" y="f241"/>
                </a:cubicBezTo>
                <a:cubicBezTo>
                  <a:pt x="f223" y="f263"/>
                  <a:pt x="f328" y="f277"/>
                  <a:pt x="f329" y="f239"/>
                </a:cubicBezTo>
                <a:cubicBezTo>
                  <a:pt x="f330" y="f239"/>
                  <a:pt x="f330" y="f316"/>
                  <a:pt x="f62" y="f316"/>
                </a:cubicBezTo>
                <a:cubicBezTo>
                  <a:pt x="f62" y="f316"/>
                  <a:pt x="f62" y="f316"/>
                  <a:pt x="f62" y="f316"/>
                </a:cubicBezTo>
                <a:cubicBezTo>
                  <a:pt x="f62" y="f316"/>
                  <a:pt x="f62" y="f316"/>
                  <a:pt x="f62" y="f316"/>
                </a:cubicBezTo>
                <a:cubicBezTo>
                  <a:pt x="f62" y="f316"/>
                  <a:pt x="f62" y="f252"/>
                  <a:pt x="f62" y="f252"/>
                </a:cubicBezTo>
                <a:cubicBezTo>
                  <a:pt x="f233" y="f8"/>
                  <a:pt x="f331" y="f8"/>
                  <a:pt x="f324" y="f316"/>
                </a:cubicBezTo>
                <a:cubicBezTo>
                  <a:pt x="f59" y="f318"/>
                  <a:pt x="f59" y="f278"/>
                  <a:pt x="f32" y="f319"/>
                </a:cubicBezTo>
                <a:close/>
                <a:moveTo>
                  <a:pt x="f268" y="f332"/>
                </a:moveTo>
                <a:cubicBezTo>
                  <a:pt x="f268" y="f333"/>
                  <a:pt x="f268" y="f333"/>
                  <a:pt x="f268" y="f333"/>
                </a:cubicBezTo>
                <a:cubicBezTo>
                  <a:pt x="f62" y="f205"/>
                  <a:pt x="f62" y="f205"/>
                  <a:pt x="f62" y="f205"/>
                </a:cubicBezTo>
                <a:cubicBezTo>
                  <a:pt x="f334" y="f16"/>
                  <a:pt x="f235" y="f16"/>
                  <a:pt x="f237" y="f16"/>
                </a:cubicBezTo>
                <a:cubicBezTo>
                  <a:pt x="f220" y="f16"/>
                  <a:pt x="f335" y="f336"/>
                  <a:pt x="f337" y="f338"/>
                </a:cubicBezTo>
                <a:cubicBezTo>
                  <a:pt x="f339" y="f288"/>
                  <a:pt x="f139" y="f37"/>
                  <a:pt x="f61" y="f340"/>
                </a:cubicBezTo>
                <a:cubicBezTo>
                  <a:pt x="f334" y="f118"/>
                  <a:pt x="f334" y="f118"/>
                  <a:pt x="f334" y="f118"/>
                </a:cubicBezTo>
                <a:cubicBezTo>
                  <a:pt x="f61" y="f341"/>
                  <a:pt x="f61" y="f341"/>
                  <a:pt x="f61" y="f341"/>
                </a:cubicBezTo>
                <a:cubicBezTo>
                  <a:pt x="f139" y="f23"/>
                  <a:pt x="f339" y="f39"/>
                  <a:pt x="f337" y="f342"/>
                </a:cubicBezTo>
                <a:cubicBezTo>
                  <a:pt x="f232" y="f85"/>
                  <a:pt x="f237" y="f82"/>
                  <a:pt x="f62" y="f343"/>
                </a:cubicBezTo>
                <a:cubicBezTo>
                  <a:pt x="f268" y="f43"/>
                  <a:pt x="f268" y="f43"/>
                  <a:pt x="f268" y="f43"/>
                </a:cubicBezTo>
                <a:cubicBezTo>
                  <a:pt x="f268" y="f80"/>
                  <a:pt x="f268" y="f80"/>
                  <a:pt x="f268" y="f80"/>
                </a:cubicBezTo>
                <a:cubicBezTo>
                  <a:pt x="f268" y="f300"/>
                  <a:pt x="f328" y="f153"/>
                  <a:pt x="f327" y="f153"/>
                </a:cubicBezTo>
                <a:cubicBezTo>
                  <a:pt x="f19" y="f153"/>
                  <a:pt x="f344" y="f300"/>
                  <a:pt x="f344" y="f80"/>
                </a:cubicBezTo>
                <a:cubicBezTo>
                  <a:pt x="f344" y="f43"/>
                  <a:pt x="f344" y="f43"/>
                  <a:pt x="f344" y="f43"/>
                </a:cubicBezTo>
                <a:cubicBezTo>
                  <a:pt x="f98" y="f343"/>
                  <a:pt x="f98" y="f343"/>
                  <a:pt x="f98" y="f343"/>
                </a:cubicBezTo>
                <a:cubicBezTo>
                  <a:pt x="f281" y="f82"/>
                  <a:pt x="f68" y="f85"/>
                  <a:pt x="f238" y="f342"/>
                </a:cubicBezTo>
                <a:cubicBezTo>
                  <a:pt x="f285" y="f39"/>
                  <a:pt x="f238" y="f23"/>
                  <a:pt x="f68" y="f341"/>
                </a:cubicBezTo>
                <a:cubicBezTo>
                  <a:pt x="f83" y="f118"/>
                  <a:pt x="f83" y="f118"/>
                  <a:pt x="f83" y="f118"/>
                </a:cubicBezTo>
                <a:cubicBezTo>
                  <a:pt x="f68" y="f340"/>
                  <a:pt x="f68" y="f340"/>
                  <a:pt x="f68" y="f340"/>
                </a:cubicBezTo>
                <a:cubicBezTo>
                  <a:pt x="f238" y="f37"/>
                  <a:pt x="f285" y="f288"/>
                  <a:pt x="f238" y="f338"/>
                </a:cubicBezTo>
                <a:cubicBezTo>
                  <a:pt x="f70" y="f336"/>
                  <a:pt x="f75" y="f16"/>
                  <a:pt x="f279" y="f16"/>
                </a:cubicBezTo>
                <a:cubicBezTo>
                  <a:pt x="f230" y="f16"/>
                  <a:pt x="f83" y="f16"/>
                  <a:pt x="f98" y="f205"/>
                </a:cubicBezTo>
                <a:cubicBezTo>
                  <a:pt x="f344" y="f333"/>
                  <a:pt x="f344" y="f333"/>
                  <a:pt x="f344" y="f333"/>
                </a:cubicBezTo>
                <a:cubicBezTo>
                  <a:pt x="f344" y="f332"/>
                  <a:pt x="f344" y="f332"/>
                  <a:pt x="f344" y="f332"/>
                </a:cubicBezTo>
                <a:cubicBezTo>
                  <a:pt x="f344" y="f2"/>
                  <a:pt x="f19" y="f291"/>
                  <a:pt x="f327" y="f291"/>
                </a:cubicBezTo>
                <a:cubicBezTo>
                  <a:pt x="f328" y="f291"/>
                  <a:pt x="f268" y="f2"/>
                  <a:pt x="f268" y="f332"/>
                </a:cubicBezTo>
                <a:moveTo>
                  <a:pt x="f345" y="f332"/>
                </a:moveTo>
                <a:cubicBezTo>
                  <a:pt x="f345" y="f333"/>
                  <a:pt x="f345" y="f333"/>
                  <a:pt x="f345" y="f333"/>
                </a:cubicBezTo>
                <a:cubicBezTo>
                  <a:pt x="f63" y="f205"/>
                  <a:pt x="f63" y="f205"/>
                  <a:pt x="f63" y="f205"/>
                </a:cubicBezTo>
                <a:cubicBezTo>
                  <a:pt x="f172" y="f16"/>
                  <a:pt x="f189" y="f16"/>
                  <a:pt x="f108" y="f16"/>
                </a:cubicBezTo>
                <a:cubicBezTo>
                  <a:pt x="f245" y="f16"/>
                  <a:pt x="f320" y="f336"/>
                  <a:pt x="f137" y="f338"/>
                </a:cubicBezTo>
                <a:cubicBezTo>
                  <a:pt x="f60" y="f288"/>
                  <a:pt x="f110" y="f37"/>
                  <a:pt x="f346" y="f340"/>
                </a:cubicBezTo>
                <a:cubicBezTo>
                  <a:pt x="f172" y="f118"/>
                  <a:pt x="f172" y="f118"/>
                  <a:pt x="f172" y="f118"/>
                </a:cubicBezTo>
                <a:cubicBezTo>
                  <a:pt x="f346" y="f341"/>
                  <a:pt x="f346" y="f341"/>
                  <a:pt x="f346" y="f341"/>
                </a:cubicBezTo>
                <a:cubicBezTo>
                  <a:pt x="f110" y="f23"/>
                  <a:pt x="f60" y="f39"/>
                  <a:pt x="f137" y="f342"/>
                </a:cubicBezTo>
                <a:cubicBezTo>
                  <a:pt x="f346" y="f85"/>
                  <a:pt x="f108" y="f82"/>
                  <a:pt x="f63" y="f343"/>
                </a:cubicBezTo>
                <a:cubicBezTo>
                  <a:pt x="f345" y="f43"/>
                  <a:pt x="f345" y="f43"/>
                  <a:pt x="f345" y="f43"/>
                </a:cubicBezTo>
                <a:cubicBezTo>
                  <a:pt x="f345" y="f80"/>
                  <a:pt x="f345" y="f80"/>
                  <a:pt x="f345" y="f80"/>
                </a:cubicBezTo>
                <a:cubicBezTo>
                  <a:pt x="f345" y="f300"/>
                  <a:pt x="f148" y="f153"/>
                  <a:pt x="f97" y="f153"/>
                </a:cubicBezTo>
                <a:cubicBezTo>
                  <a:pt x="f150" y="f153"/>
                  <a:pt x="f347" y="f300"/>
                  <a:pt x="f347" y="f80"/>
                </a:cubicBezTo>
                <a:cubicBezTo>
                  <a:pt x="f347" y="f43"/>
                  <a:pt x="f347" y="f43"/>
                  <a:pt x="f347" y="f43"/>
                </a:cubicBezTo>
                <a:cubicBezTo>
                  <a:pt x="f198" y="f343"/>
                  <a:pt x="f198" y="f343"/>
                  <a:pt x="f198" y="f343"/>
                </a:cubicBezTo>
                <a:cubicBezTo>
                  <a:pt x="f56" y="f82"/>
                  <a:pt x="f101" y="f85"/>
                  <a:pt x="f226" y="f342"/>
                </a:cubicBezTo>
                <a:cubicBezTo>
                  <a:pt x="f103" y="f39"/>
                  <a:pt x="f13" y="f23"/>
                  <a:pt x="f227" y="f341"/>
                </a:cubicBezTo>
                <a:cubicBezTo>
                  <a:pt x="f99" y="f118"/>
                  <a:pt x="f99" y="f118"/>
                  <a:pt x="f99" y="f118"/>
                </a:cubicBezTo>
                <a:cubicBezTo>
                  <a:pt x="f227" y="f340"/>
                  <a:pt x="f227" y="f340"/>
                  <a:pt x="f227" y="f340"/>
                </a:cubicBezTo>
                <a:cubicBezTo>
                  <a:pt x="f13" y="f37"/>
                  <a:pt x="f103" y="f288"/>
                  <a:pt x="f226" y="f338"/>
                </a:cubicBezTo>
                <a:cubicBezTo>
                  <a:pt x="f101" y="f336"/>
                  <a:pt x="f12" y="f16"/>
                  <a:pt x="f56" y="f16"/>
                </a:cubicBezTo>
                <a:cubicBezTo>
                  <a:pt x="f348" y="f16"/>
                  <a:pt x="f99" y="f16"/>
                  <a:pt x="f198" y="f205"/>
                </a:cubicBezTo>
                <a:cubicBezTo>
                  <a:pt x="f347" y="f333"/>
                  <a:pt x="f347" y="f333"/>
                  <a:pt x="f347" y="f333"/>
                </a:cubicBezTo>
                <a:cubicBezTo>
                  <a:pt x="f347" y="f332"/>
                  <a:pt x="f347" y="f332"/>
                  <a:pt x="f347" y="f332"/>
                </a:cubicBezTo>
                <a:cubicBezTo>
                  <a:pt x="f347" y="f2"/>
                  <a:pt x="f150" y="f291"/>
                  <a:pt x="f97" y="f291"/>
                </a:cubicBezTo>
                <a:cubicBezTo>
                  <a:pt x="f148" y="f291"/>
                  <a:pt x="f345" y="f2"/>
                  <a:pt x="f345" y="f332"/>
                </a:cubicBezTo>
                <a:moveTo>
                  <a:pt x="f349" y="f332"/>
                </a:moveTo>
                <a:cubicBezTo>
                  <a:pt x="f349" y="f333"/>
                  <a:pt x="f349" y="f333"/>
                  <a:pt x="f349" y="f333"/>
                </a:cubicBezTo>
                <a:cubicBezTo>
                  <a:pt x="f73" y="f205"/>
                  <a:pt x="f73" y="f205"/>
                  <a:pt x="f73" y="f205"/>
                </a:cubicBezTo>
                <a:cubicBezTo>
                  <a:pt x="f90" y="f16"/>
                  <a:pt x="f210" y="f16"/>
                  <a:pt x="f350" y="f16"/>
                </a:cubicBezTo>
                <a:cubicBezTo>
                  <a:pt x="f165" y="f16"/>
                  <a:pt x="f307" y="f336"/>
                  <a:pt x="f351" y="f338"/>
                </a:cubicBezTo>
                <a:cubicBezTo>
                  <a:pt x="f130" y="f288"/>
                  <a:pt x="f352" y="f37"/>
                  <a:pt x="f306" y="f340"/>
                </a:cubicBezTo>
                <a:cubicBezTo>
                  <a:pt x="f90" y="f118"/>
                  <a:pt x="f90" y="f118"/>
                  <a:pt x="f90" y="f118"/>
                </a:cubicBezTo>
                <a:cubicBezTo>
                  <a:pt x="f306" y="f341"/>
                  <a:pt x="f306" y="f341"/>
                  <a:pt x="f306" y="f341"/>
                </a:cubicBezTo>
                <a:cubicBezTo>
                  <a:pt x="f352" y="f23"/>
                  <a:pt x="f130" y="f39"/>
                  <a:pt x="f351" y="f342"/>
                </a:cubicBezTo>
                <a:cubicBezTo>
                  <a:pt x="f304" y="f85"/>
                  <a:pt x="f350" y="f82"/>
                  <a:pt x="f73" y="f343"/>
                </a:cubicBezTo>
                <a:cubicBezTo>
                  <a:pt x="f349" y="f43"/>
                  <a:pt x="f349" y="f43"/>
                  <a:pt x="f349" y="f43"/>
                </a:cubicBezTo>
                <a:cubicBezTo>
                  <a:pt x="f349" y="f80"/>
                  <a:pt x="f349" y="f80"/>
                  <a:pt x="f349" y="f80"/>
                </a:cubicBezTo>
                <a:cubicBezTo>
                  <a:pt x="f349" y="f300"/>
                  <a:pt x="f353" y="f153"/>
                  <a:pt x="f54" y="f153"/>
                </a:cubicBezTo>
                <a:cubicBezTo>
                  <a:pt x="f207" y="f153"/>
                  <a:pt x="f149" y="f300"/>
                  <a:pt x="f149" y="f80"/>
                </a:cubicBezTo>
                <a:cubicBezTo>
                  <a:pt x="f149" y="f43"/>
                  <a:pt x="f149" y="f43"/>
                  <a:pt x="f149" y="f43"/>
                </a:cubicBezTo>
                <a:cubicBezTo>
                  <a:pt x="f162" y="f343"/>
                  <a:pt x="f162" y="f343"/>
                  <a:pt x="f162" y="f343"/>
                </a:cubicBezTo>
                <a:cubicBezTo>
                  <a:pt x="f94" y="f82"/>
                  <a:pt x="f144" y="f85"/>
                  <a:pt x="f142" y="f342"/>
                </a:cubicBezTo>
                <a:cubicBezTo>
                  <a:pt x="f40" y="f39"/>
                  <a:pt x="f111" y="f23"/>
                  <a:pt x="f158" y="f341"/>
                </a:cubicBezTo>
                <a:cubicBezTo>
                  <a:pt x="f57" y="f118"/>
                  <a:pt x="f57" y="f118"/>
                  <a:pt x="f57" y="f118"/>
                </a:cubicBezTo>
                <a:cubicBezTo>
                  <a:pt x="f158" y="f340"/>
                  <a:pt x="f158" y="f340"/>
                  <a:pt x="f158" y="f340"/>
                </a:cubicBezTo>
                <a:cubicBezTo>
                  <a:pt x="f111" y="f37"/>
                  <a:pt x="f40" y="f288"/>
                  <a:pt x="f142" y="f338"/>
                </a:cubicBezTo>
                <a:cubicBezTo>
                  <a:pt x="f157" y="f336"/>
                  <a:pt x="f175" y="f16"/>
                  <a:pt x="f94" y="f16"/>
                </a:cubicBezTo>
                <a:cubicBezTo>
                  <a:pt x="f161" y="f16"/>
                  <a:pt x="f67" y="f16"/>
                  <a:pt x="f162" y="f205"/>
                </a:cubicBezTo>
                <a:cubicBezTo>
                  <a:pt x="f149" y="f333"/>
                  <a:pt x="f149" y="f333"/>
                  <a:pt x="f149" y="f333"/>
                </a:cubicBezTo>
                <a:cubicBezTo>
                  <a:pt x="f149" y="f332"/>
                  <a:pt x="f149" y="f332"/>
                  <a:pt x="f149" y="f332"/>
                </a:cubicBezTo>
                <a:cubicBezTo>
                  <a:pt x="f149" y="f2"/>
                  <a:pt x="f207" y="f291"/>
                  <a:pt x="f54" y="f291"/>
                </a:cubicBezTo>
                <a:cubicBezTo>
                  <a:pt x="f353" y="f291"/>
                  <a:pt x="f349" y="f2"/>
                  <a:pt x="f349" y="f332"/>
                </a:cubicBezTo>
              </a:path>
            </a:pathLst>
          </a:custGeom>
          <a:noFill/>
          <a:ln cap="flat">
            <a:noFill/>
            <a:prstDash val="solid"/>
          </a:ln>
        </p:spPr>
        <p:txBody>
          <a:bodyPr vert="horz" wrap="square" lIns="91440" tIns="45720" rIns="91440" bIns="45720" anchor="t" anchorCtr="1" compatLnSpc="1">
            <a:noAutofit/>
          </a:bodyPr>
          <a:lstStyle/>
          <a:p>
            <a:pPr marL="0" marR="0" lvl="0" indent="0" algn="ctr"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1" i="0" u="none" strike="noStrike" kern="1200" cap="none" spc="0" baseline="0">
              <a:solidFill>
                <a:srgbClr val="58585A"/>
              </a:solidFill>
              <a:uFillTx/>
              <a:latin typeface="Arial"/>
            </a:endParaRPr>
          </a:p>
        </p:txBody>
      </p:sp>
      <p:sp>
        <p:nvSpPr>
          <p:cNvPr id="53" name="Freeform 3">
            <a:extLst>
              <a:ext uri="{FF2B5EF4-FFF2-40B4-BE49-F238E27FC236}">
                <a16:creationId xmlns:a16="http://schemas.microsoft.com/office/drawing/2014/main" id="{282F0907-BC93-4524-A8DE-6EDE21EB9CEC}"/>
              </a:ext>
            </a:extLst>
          </p:cNvPr>
          <p:cNvSpPr/>
          <p:nvPr/>
        </p:nvSpPr>
        <p:spPr>
          <a:xfrm>
            <a:off x="3855851" y="2213994"/>
            <a:ext cx="421008" cy="366080"/>
          </a:xfrm>
          <a:custGeom>
            <a:avLst/>
            <a:gdLst>
              <a:gd name="f0" fmla="val 10800000"/>
              <a:gd name="f1" fmla="val 5400000"/>
              <a:gd name="f2" fmla="val 180"/>
              <a:gd name="f3" fmla="val w"/>
              <a:gd name="f4" fmla="val h"/>
              <a:gd name="f5" fmla="val 0"/>
              <a:gd name="f6" fmla="val 454"/>
              <a:gd name="f7" fmla="val 395"/>
              <a:gd name="f8" fmla="val 446"/>
              <a:gd name="f9" fmla="val 82"/>
              <a:gd name="f10" fmla="val 436"/>
              <a:gd name="f11" fmla="val 76"/>
              <a:gd name="f12" fmla="val 351"/>
              <a:gd name="f13" fmla="val 28"/>
              <a:gd name="f14" fmla="val 350"/>
              <a:gd name="f15" fmla="val 347"/>
              <a:gd name="f16" fmla="val 26"/>
              <a:gd name="f17" fmla="val 342"/>
              <a:gd name="f18" fmla="val 27"/>
              <a:gd name="f19" fmla="val 339"/>
              <a:gd name="f20" fmla="val 31"/>
              <a:gd name="f21" fmla="val 337"/>
              <a:gd name="f22" fmla="val 35"/>
              <a:gd name="f23" fmla="val 39"/>
              <a:gd name="f24" fmla="val 42"/>
              <a:gd name="f25" fmla="val 343"/>
              <a:gd name="f26" fmla="val 415"/>
              <a:gd name="f27" fmla="val 83"/>
              <a:gd name="f28" fmla="val 434"/>
              <a:gd name="f29" fmla="val 93"/>
              <a:gd name="f30" fmla="val 426"/>
              <a:gd name="f31" fmla="val 98"/>
              <a:gd name="f32" fmla="val 407"/>
              <a:gd name="f33" fmla="val 109"/>
              <a:gd name="f34" fmla="val 382"/>
              <a:gd name="f35" fmla="val 123"/>
              <a:gd name="f36" fmla="val 381"/>
              <a:gd name="f37" fmla="val 245"/>
              <a:gd name="f38" fmla="val 47"/>
              <a:gd name="f39" fmla="val 292"/>
              <a:gd name="f40" fmla="val 20"/>
              <a:gd name="f41" fmla="val 297"/>
              <a:gd name="f42" fmla="val 17"/>
              <a:gd name="f43" fmla="val 301"/>
              <a:gd name="f44" fmla="val 302"/>
              <a:gd name="f45" fmla="val 316"/>
              <a:gd name="f46" fmla="val 320"/>
              <a:gd name="f47" fmla="val 30"/>
              <a:gd name="f48" fmla="val 325"/>
              <a:gd name="f49" fmla="val 327"/>
              <a:gd name="f50" fmla="val 24"/>
              <a:gd name="f51" fmla="val 329"/>
              <a:gd name="f52" fmla="val 328"/>
              <a:gd name="f53" fmla="val 16"/>
              <a:gd name="f54" fmla="val 324"/>
              <a:gd name="f55" fmla="val 13"/>
              <a:gd name="f56" fmla="val 310"/>
              <a:gd name="f57" fmla="val 6"/>
              <a:gd name="f58" fmla="val 306"/>
              <a:gd name="f59" fmla="val 3"/>
              <a:gd name="f60" fmla="val 295"/>
              <a:gd name="f61" fmla="val 284"/>
              <a:gd name="f62" fmla="val 9"/>
              <a:gd name="f63" fmla="val 163"/>
              <a:gd name="f64" fmla="val 5"/>
              <a:gd name="f65" fmla="val 165"/>
              <a:gd name="f66" fmla="val 169"/>
              <a:gd name="f67" fmla="val 175"/>
              <a:gd name="f68" fmla="val 178"/>
              <a:gd name="f69" fmla="val 1"/>
              <a:gd name="f70" fmla="val 183"/>
              <a:gd name="f71" fmla="val 188"/>
              <a:gd name="f72" fmla="val 73"/>
              <a:gd name="f73" fmla="val 224"/>
              <a:gd name="f74" fmla="val 300"/>
              <a:gd name="f75" fmla="val 75"/>
              <a:gd name="f76" fmla="val 309"/>
              <a:gd name="f77" fmla="val 84"/>
              <a:gd name="f78" fmla="val 314"/>
              <a:gd name="f79" fmla="val 219"/>
              <a:gd name="f80" fmla="val 392"/>
              <a:gd name="f81" fmla="val 223"/>
              <a:gd name="f82" fmla="val 394"/>
              <a:gd name="f83" fmla="val 227"/>
              <a:gd name="f84" fmla="val 231"/>
              <a:gd name="f85" fmla="val 238"/>
              <a:gd name="f86" fmla="val 242"/>
              <a:gd name="f87" fmla="val 393"/>
              <a:gd name="f88" fmla="val 243"/>
              <a:gd name="f89" fmla="val 244"/>
              <a:gd name="f90" fmla="val 378"/>
              <a:gd name="f91" fmla="val 383"/>
              <a:gd name="f92" fmla="val 312"/>
              <a:gd name="f93" fmla="val 389"/>
              <a:gd name="f94" fmla="val 137"/>
              <a:gd name="f95" fmla="val 420"/>
              <a:gd name="f96" fmla="val 120"/>
              <a:gd name="f97" fmla="val 442"/>
              <a:gd name="f98" fmla="val 107"/>
              <a:gd name="f99" fmla="val 445"/>
              <a:gd name="f100" fmla="val 105"/>
              <a:gd name="f101" fmla="val 449"/>
              <a:gd name="f102" fmla="val 103"/>
              <a:gd name="f103" fmla="val 99"/>
              <a:gd name="f104" fmla="val 94"/>
              <a:gd name="f105" fmla="val 91"/>
              <a:gd name="f106" fmla="val 453"/>
              <a:gd name="f107" fmla="val 86"/>
              <a:gd name="f108" fmla="val 81"/>
              <a:gd name="f109" fmla="val 140"/>
              <a:gd name="f110" fmla="val 215"/>
              <a:gd name="f111" fmla="val 218"/>
              <a:gd name="f112" fmla="val 185"/>
              <a:gd name="f113" fmla="val 235"/>
              <a:gd name="f114" fmla="val 248"/>
              <a:gd name="f115" fmla="val 161"/>
              <a:gd name="f116" fmla="val 249"/>
              <a:gd name="f117" fmla="val 157"/>
              <a:gd name="f118" fmla="val 251"/>
              <a:gd name="f119" fmla="val 151"/>
              <a:gd name="f120" fmla="val 376"/>
              <a:gd name="f121" fmla="val 92"/>
              <a:gd name="f122" fmla="val 89"/>
              <a:gd name="f123" fmla="val 299"/>
              <a:gd name="f124" fmla="val 296"/>
              <a:gd name="f125" fmla="val 233"/>
              <a:gd name="f126" fmla="val 144"/>
              <a:gd name="f127" fmla="val 263"/>
              <a:gd name="f128" fmla="val 146"/>
              <a:gd name="f129" fmla="val 264"/>
              <a:gd name="f130" fmla="val 266"/>
              <a:gd name="f131" fmla="val 265"/>
              <a:gd name="f132" fmla="val 171"/>
              <a:gd name="f133" fmla="val 261"/>
              <a:gd name="f134" fmla="val 193"/>
              <a:gd name="f135" fmla="val 232"/>
              <a:gd name="f136" fmla="val 204"/>
              <a:gd name="f137" fmla="val 97"/>
              <a:gd name="f138" fmla="val 131"/>
              <a:gd name="f139" fmla="val 59"/>
              <a:gd name="f140" fmla="val 239"/>
              <a:gd name="f141" fmla="val 63"/>
              <a:gd name="f142" fmla="val 364"/>
              <a:gd name="f143" fmla="val 132"/>
              <a:gd name="f144" fmla="val 373"/>
              <a:gd name="f145" fmla="val 372"/>
              <a:gd name="f146" fmla="val 371"/>
              <a:gd name="f147" fmla="val 280"/>
              <a:gd name="f148" fmla="val 199"/>
              <a:gd name="f149" fmla="val 332"/>
              <a:gd name="f150" fmla="val 170"/>
              <a:gd name="f151" fmla="+- 0 0 -90"/>
              <a:gd name="f152" fmla="*/ f3 1 454"/>
              <a:gd name="f153" fmla="*/ f4 1 395"/>
              <a:gd name="f154" fmla="+- f7 0 f5"/>
              <a:gd name="f155" fmla="+- f6 0 f5"/>
              <a:gd name="f156" fmla="*/ f151 f0 1"/>
              <a:gd name="f157" fmla="*/ f155 1 454"/>
              <a:gd name="f158" fmla="*/ f154 1 395"/>
              <a:gd name="f159" fmla="*/ 2147483647 f155 1"/>
              <a:gd name="f160" fmla="*/ 2147483647 f154 1"/>
              <a:gd name="f161" fmla="*/ 0 f155 1"/>
              <a:gd name="f162" fmla="*/ f156 1 f2"/>
              <a:gd name="f163" fmla="*/ f159 1 454"/>
              <a:gd name="f164" fmla="*/ f160 1 395"/>
              <a:gd name="f165" fmla="*/ f161 1 454"/>
              <a:gd name="f166" fmla="*/ 0 1 f157"/>
              <a:gd name="f167" fmla="*/ f6 1 f157"/>
              <a:gd name="f168" fmla="*/ 0 1 f158"/>
              <a:gd name="f169" fmla="*/ f7 1 f158"/>
              <a:gd name="f170" fmla="+- f162 0 f1"/>
              <a:gd name="f171" fmla="*/ f163 1 f157"/>
              <a:gd name="f172" fmla="*/ f164 1 f158"/>
              <a:gd name="f173" fmla="*/ f165 1 f157"/>
              <a:gd name="f174" fmla="*/ f166 f152 1"/>
              <a:gd name="f175" fmla="*/ f167 f152 1"/>
              <a:gd name="f176" fmla="*/ f169 f153 1"/>
              <a:gd name="f177" fmla="*/ f168 f153 1"/>
              <a:gd name="f178" fmla="*/ f171 f152 1"/>
              <a:gd name="f179" fmla="*/ f172 f153 1"/>
              <a:gd name="f180" fmla="*/ f173 f152 1"/>
            </a:gdLst>
            <a:ahLst/>
            <a:cxnLst>
              <a:cxn ang="3cd4">
                <a:pos x="hc" y="t"/>
              </a:cxn>
              <a:cxn ang="0">
                <a:pos x="r" y="vc"/>
              </a:cxn>
              <a:cxn ang="cd4">
                <a:pos x="hc" y="b"/>
              </a:cxn>
              <a:cxn ang="cd2">
                <a:pos x="l" y="vc"/>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80"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Lst>
            <a:rect l="f174" t="f177" r="f175" b="f176"/>
            <a:pathLst>
              <a:path w="454" h="395">
                <a:moveTo>
                  <a:pt x="f8" y="f9"/>
                </a:moveTo>
                <a:cubicBezTo>
                  <a:pt x="f10" y="f11"/>
                  <a:pt x="f12" y="f13"/>
                  <a:pt x="f14" y="f13"/>
                </a:cubicBezTo>
                <a:cubicBezTo>
                  <a:pt x="f15" y="f16"/>
                  <a:pt x="f17" y="f18"/>
                  <a:pt x="f19" y="f20"/>
                </a:cubicBezTo>
                <a:cubicBezTo>
                  <a:pt x="f21" y="f22"/>
                  <a:pt x="f19" y="f23"/>
                  <a:pt x="f17" y="f24"/>
                </a:cubicBezTo>
                <a:cubicBezTo>
                  <a:pt x="f25" y="f24"/>
                  <a:pt x="f26" y="f27"/>
                  <a:pt x="f28" y="f29"/>
                </a:cubicBezTo>
                <a:cubicBezTo>
                  <a:pt x="f30" y="f31"/>
                  <a:pt x="f32" y="f33"/>
                  <a:pt x="f34" y="f35"/>
                </a:cubicBezTo>
                <a:cubicBezTo>
                  <a:pt x="f36" y="f35"/>
                  <a:pt x="f36" y="f35"/>
                  <a:pt x="f36" y="f35"/>
                </a:cubicBezTo>
                <a:cubicBezTo>
                  <a:pt x="f37" y="f38"/>
                  <a:pt x="f37" y="f38"/>
                  <a:pt x="f37" y="f38"/>
                </a:cubicBezTo>
                <a:cubicBezTo>
                  <a:pt x="f39" y="f40"/>
                  <a:pt x="f39" y="f40"/>
                  <a:pt x="f39" y="f40"/>
                </a:cubicBezTo>
                <a:cubicBezTo>
                  <a:pt x="f41" y="f42"/>
                  <a:pt x="f43" y="f40"/>
                  <a:pt x="f44" y="f40"/>
                </a:cubicBezTo>
                <a:cubicBezTo>
                  <a:pt x="f44" y="f40"/>
                  <a:pt x="f44" y="f40"/>
                  <a:pt x="f44" y="f40"/>
                </a:cubicBezTo>
                <a:cubicBezTo>
                  <a:pt x="f45" y="f18"/>
                  <a:pt x="f45" y="f18"/>
                  <a:pt x="f45" y="f18"/>
                </a:cubicBezTo>
                <a:cubicBezTo>
                  <a:pt x="f46" y="f47"/>
                  <a:pt x="f48" y="f13"/>
                  <a:pt x="f49" y="f50"/>
                </a:cubicBezTo>
                <a:cubicBezTo>
                  <a:pt x="f51" y="f40"/>
                  <a:pt x="f52" y="f53"/>
                  <a:pt x="f54" y="f55"/>
                </a:cubicBezTo>
                <a:cubicBezTo>
                  <a:pt x="f56" y="f57"/>
                  <a:pt x="f56" y="f57"/>
                  <a:pt x="f56" y="f57"/>
                </a:cubicBezTo>
                <a:cubicBezTo>
                  <a:pt x="f58" y="f59"/>
                  <a:pt x="f60" y="f5"/>
                  <a:pt x="f61" y="f57"/>
                </a:cubicBezTo>
                <a:cubicBezTo>
                  <a:pt x="f62" y="f63"/>
                  <a:pt x="f62" y="f63"/>
                  <a:pt x="f62" y="f63"/>
                </a:cubicBezTo>
                <a:cubicBezTo>
                  <a:pt x="f64" y="f65"/>
                  <a:pt x="f5" y="f66"/>
                  <a:pt x="f5" y="f67"/>
                </a:cubicBezTo>
                <a:cubicBezTo>
                  <a:pt x="f5" y="f68"/>
                  <a:pt x="f69" y="f70"/>
                  <a:pt x="f62" y="f71"/>
                </a:cubicBezTo>
                <a:cubicBezTo>
                  <a:pt x="f72" y="f73"/>
                  <a:pt x="f72" y="f73"/>
                  <a:pt x="f72" y="f73"/>
                </a:cubicBezTo>
                <a:cubicBezTo>
                  <a:pt x="f72" y="f60"/>
                  <a:pt x="f72" y="f60"/>
                  <a:pt x="f72" y="f60"/>
                </a:cubicBezTo>
                <a:cubicBezTo>
                  <a:pt x="f72" y="f74"/>
                  <a:pt x="f75" y="f76"/>
                  <a:pt x="f77" y="f78"/>
                </a:cubicBezTo>
                <a:cubicBezTo>
                  <a:pt x="f79" y="f80"/>
                  <a:pt x="f79" y="f80"/>
                  <a:pt x="f79" y="f80"/>
                </a:cubicBezTo>
                <a:cubicBezTo>
                  <a:pt x="f79" y="f80"/>
                  <a:pt x="f79" y="f80"/>
                  <a:pt x="f79" y="f80"/>
                </a:cubicBezTo>
                <a:cubicBezTo>
                  <a:pt x="f81" y="f82"/>
                  <a:pt x="f83" y="f7"/>
                  <a:pt x="f84" y="f7"/>
                </a:cubicBezTo>
                <a:cubicBezTo>
                  <a:pt x="f84" y="f7"/>
                  <a:pt x="f84" y="f7"/>
                  <a:pt x="f84" y="f7"/>
                </a:cubicBezTo>
                <a:cubicBezTo>
                  <a:pt x="f84" y="f7"/>
                  <a:pt x="f84" y="f7"/>
                  <a:pt x="f84" y="f7"/>
                </a:cubicBezTo>
                <a:cubicBezTo>
                  <a:pt x="f85" y="f7"/>
                  <a:pt x="f86" y="f87"/>
                  <a:pt x="f88" y="f80"/>
                </a:cubicBezTo>
                <a:cubicBezTo>
                  <a:pt x="f88" y="f80"/>
                  <a:pt x="f89" y="f80"/>
                  <a:pt x="f89" y="f80"/>
                </a:cubicBezTo>
                <a:cubicBezTo>
                  <a:pt x="f90" y="f78"/>
                  <a:pt x="f90" y="f78"/>
                  <a:pt x="f90" y="f78"/>
                </a:cubicBezTo>
                <a:cubicBezTo>
                  <a:pt x="f91" y="f92"/>
                  <a:pt x="f93" y="f58"/>
                  <a:pt x="f93" y="f60"/>
                </a:cubicBezTo>
                <a:cubicBezTo>
                  <a:pt x="f93" y="f94"/>
                  <a:pt x="f93" y="f94"/>
                  <a:pt x="f93" y="f94"/>
                </a:cubicBezTo>
                <a:cubicBezTo>
                  <a:pt x="f95" y="f96"/>
                  <a:pt x="f97" y="f98"/>
                  <a:pt x="f99" y="f100"/>
                </a:cubicBezTo>
                <a:cubicBezTo>
                  <a:pt x="f101" y="f102"/>
                  <a:pt x="f6" y="f103"/>
                  <a:pt x="f6" y="f104"/>
                </a:cubicBezTo>
                <a:cubicBezTo>
                  <a:pt x="f6" y="f105"/>
                  <a:pt x="f106" y="f107"/>
                  <a:pt x="f8" y="f9"/>
                </a:cubicBezTo>
                <a:close/>
                <a:moveTo>
                  <a:pt x="f40" y="f67"/>
                </a:moveTo>
                <a:cubicBezTo>
                  <a:pt x="f108" y="f109"/>
                  <a:pt x="f108" y="f109"/>
                  <a:pt x="f108" y="f109"/>
                </a:cubicBezTo>
                <a:cubicBezTo>
                  <a:pt x="f110" y="f111"/>
                  <a:pt x="f110" y="f111"/>
                  <a:pt x="f110" y="f111"/>
                </a:cubicBezTo>
                <a:cubicBezTo>
                  <a:pt x="f112" y="f113"/>
                  <a:pt x="f63" y="f114"/>
                  <a:pt x="f115" y="f116"/>
                </a:cubicBezTo>
                <a:cubicBezTo>
                  <a:pt x="f117" y="f118"/>
                  <a:pt x="f119" y="f116"/>
                  <a:pt x="f119" y="f116"/>
                </a:cubicBezTo>
                <a:cubicBezTo>
                  <a:pt x="f119" y="f116"/>
                  <a:pt x="f119" y="f116"/>
                  <a:pt x="f119" y="f116"/>
                </a:cubicBezTo>
                <a:lnTo>
                  <a:pt x="f40" y="f67"/>
                </a:lnTo>
                <a:close/>
                <a:moveTo>
                  <a:pt x="f81" y="f120"/>
                </a:moveTo>
                <a:cubicBezTo>
                  <a:pt x="f121" y="f74"/>
                  <a:pt x="f121" y="f74"/>
                  <a:pt x="f121" y="f74"/>
                </a:cubicBezTo>
                <a:cubicBezTo>
                  <a:pt x="f122" y="f123"/>
                  <a:pt x="f122" y="f124"/>
                  <a:pt x="f122" y="f124"/>
                </a:cubicBezTo>
                <a:cubicBezTo>
                  <a:pt x="f122" y="f125"/>
                  <a:pt x="f122" y="f125"/>
                  <a:pt x="f122" y="f125"/>
                </a:cubicBezTo>
                <a:cubicBezTo>
                  <a:pt x="f126" y="f127"/>
                  <a:pt x="f126" y="f127"/>
                  <a:pt x="f126" y="f127"/>
                </a:cubicBezTo>
                <a:cubicBezTo>
                  <a:pt x="f128" y="f129"/>
                  <a:pt x="f119" y="f130"/>
                  <a:pt x="f117" y="f130"/>
                </a:cubicBezTo>
                <a:cubicBezTo>
                  <a:pt x="f115" y="f130"/>
                  <a:pt x="f65" y="f131"/>
                  <a:pt x="f66" y="f127"/>
                </a:cubicBezTo>
                <a:cubicBezTo>
                  <a:pt x="f132" y="f133"/>
                  <a:pt x="f134" y="f116"/>
                  <a:pt x="f81" y="f135"/>
                </a:cubicBezTo>
                <a:lnTo>
                  <a:pt x="f81" y="f120"/>
                </a:lnTo>
                <a:close/>
                <a:moveTo>
                  <a:pt x="f81" y="f136"/>
                </a:moveTo>
                <a:cubicBezTo>
                  <a:pt x="f137" y="f138"/>
                  <a:pt x="f137" y="f138"/>
                  <a:pt x="f137" y="f138"/>
                </a:cubicBezTo>
                <a:cubicBezTo>
                  <a:pt x="f81" y="f139"/>
                  <a:pt x="f81" y="f139"/>
                  <a:pt x="f81" y="f139"/>
                </a:cubicBezTo>
                <a:lnTo>
                  <a:pt x="f81" y="f136"/>
                </a:lnTo>
                <a:close/>
                <a:moveTo>
                  <a:pt x="f140" y="f141"/>
                </a:moveTo>
                <a:cubicBezTo>
                  <a:pt x="f142" y="f143"/>
                  <a:pt x="f142" y="f143"/>
                  <a:pt x="f142" y="f143"/>
                </a:cubicBezTo>
                <a:cubicBezTo>
                  <a:pt x="f140" y="f136"/>
                  <a:pt x="f140" y="f136"/>
                  <a:pt x="f140" y="f136"/>
                </a:cubicBezTo>
                <a:lnTo>
                  <a:pt x="f140" y="f141"/>
                </a:lnTo>
                <a:close/>
                <a:moveTo>
                  <a:pt x="f144" y="f60"/>
                </a:moveTo>
                <a:cubicBezTo>
                  <a:pt x="f144" y="f123"/>
                  <a:pt x="f145" y="f74"/>
                  <a:pt x="f146" y="f74"/>
                </a:cubicBezTo>
                <a:cubicBezTo>
                  <a:pt x="f146" y="f74"/>
                  <a:pt x="f146" y="f74"/>
                  <a:pt x="f146" y="f74"/>
                </a:cubicBezTo>
                <a:cubicBezTo>
                  <a:pt x="f140" y="f120"/>
                  <a:pt x="f140" y="f120"/>
                  <a:pt x="f140" y="f120"/>
                </a:cubicBezTo>
                <a:cubicBezTo>
                  <a:pt x="f140" y="f81"/>
                  <a:pt x="f140" y="f81"/>
                  <a:pt x="f140" y="f81"/>
                </a:cubicBezTo>
                <a:cubicBezTo>
                  <a:pt x="f147" y="f148"/>
                  <a:pt x="f149" y="f150"/>
                  <a:pt x="f144" y="f128"/>
                </a:cubicBezTo>
                <a:lnTo>
                  <a:pt x="f144" y="f60"/>
                </a:lnTo>
                <a:close/>
              </a:path>
            </a:pathLst>
          </a:custGeom>
          <a:solidFill>
            <a:srgbClr val="7B0663"/>
          </a:solidFill>
          <a:ln cap="flat">
            <a:noFill/>
            <a:prstDash val="solid"/>
          </a:ln>
        </p:spPr>
        <p:txBody>
          <a:bodyPr vert="horz" wrap="square" lIns="91440" tIns="45720" rIns="91440" bIns="45720" anchor="t" anchorCtr="1" compatLnSpc="1">
            <a:noAutofit/>
          </a:bodyPr>
          <a:lstStyle/>
          <a:p>
            <a:pPr marL="0" marR="0" lvl="0" indent="0" algn="ctr"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sv-SE" sz="2000" b="1" i="0" u="none" strike="noStrike" kern="1200" cap="none" spc="0" baseline="0">
              <a:solidFill>
                <a:srgbClr val="58585A"/>
              </a:solidFill>
              <a:uFillTx/>
              <a:latin typeface="Arial"/>
            </a:endParaRPr>
          </a:p>
        </p:txBody>
      </p:sp>
      <p:sp>
        <p:nvSpPr>
          <p:cNvPr id="54" name="Freeform 6">
            <a:extLst>
              <a:ext uri="{FF2B5EF4-FFF2-40B4-BE49-F238E27FC236}">
                <a16:creationId xmlns:a16="http://schemas.microsoft.com/office/drawing/2014/main" id="{3286F164-953E-4C34-A3A3-C31F5E821985}"/>
              </a:ext>
            </a:extLst>
          </p:cNvPr>
          <p:cNvSpPr/>
          <p:nvPr/>
        </p:nvSpPr>
        <p:spPr>
          <a:xfrm>
            <a:off x="1871273" y="3323426"/>
            <a:ext cx="394975" cy="395404"/>
          </a:xfrm>
          <a:custGeom>
            <a:avLst/>
            <a:gdLst>
              <a:gd name="f0" fmla="val 10800000"/>
              <a:gd name="f1" fmla="val 5400000"/>
              <a:gd name="f2" fmla="val 180"/>
              <a:gd name="f3" fmla="val w"/>
              <a:gd name="f4" fmla="val h"/>
              <a:gd name="f5" fmla="val 0"/>
              <a:gd name="f6" fmla="val 394"/>
              <a:gd name="f7" fmla="val 395"/>
              <a:gd name="f8" fmla="val 348"/>
              <a:gd name="f9" fmla="val 70"/>
              <a:gd name="f10" fmla="val 345"/>
              <a:gd name="f11" fmla="val 67"/>
              <a:gd name="f12" fmla="val 340"/>
              <a:gd name="f13" fmla="val 66"/>
              <a:gd name="f14" fmla="val 337"/>
              <a:gd name="f15" fmla="val 69"/>
              <a:gd name="f16" fmla="val 333"/>
              <a:gd name="f17" fmla="val 72"/>
              <a:gd name="f18" fmla="val 77"/>
              <a:gd name="f19" fmla="val 336"/>
              <a:gd name="f20" fmla="val 81"/>
              <a:gd name="f21" fmla="val 362"/>
              <a:gd name="f22" fmla="val 112"/>
              <a:gd name="f23" fmla="val 378"/>
              <a:gd name="f24" fmla="val 153"/>
              <a:gd name="f25" fmla="val 198"/>
              <a:gd name="f26" fmla="val 248"/>
              <a:gd name="f27" fmla="val 358"/>
              <a:gd name="f28" fmla="val 293"/>
              <a:gd name="f29" fmla="val 325"/>
              <a:gd name="f30" fmla="val 326"/>
              <a:gd name="f31" fmla="val 292"/>
              <a:gd name="f32" fmla="val 359"/>
              <a:gd name="f33" fmla="val 247"/>
              <a:gd name="f34" fmla="val 379"/>
              <a:gd name="f35" fmla="val 197"/>
              <a:gd name="f36" fmla="val 147"/>
              <a:gd name="f37" fmla="val 102"/>
              <a:gd name="f38" fmla="val 36"/>
              <a:gd name="f39" fmla="val 16"/>
              <a:gd name="f40" fmla="val 37"/>
              <a:gd name="f41" fmla="val 242"/>
              <a:gd name="f42" fmla="val 282"/>
              <a:gd name="f43" fmla="val 32"/>
              <a:gd name="f44" fmla="val 314"/>
              <a:gd name="f45" fmla="val 59"/>
              <a:gd name="f46" fmla="val 317"/>
              <a:gd name="f47" fmla="val 62"/>
              <a:gd name="f48" fmla="val 322"/>
              <a:gd name="f49" fmla="val 61"/>
              <a:gd name="f50" fmla="val 58"/>
              <a:gd name="f51" fmla="val 328"/>
              <a:gd name="f52" fmla="val 55"/>
              <a:gd name="f53" fmla="val 50"/>
              <a:gd name="f54" fmla="val 324"/>
              <a:gd name="f55" fmla="val 47"/>
              <a:gd name="f56" fmla="val 290"/>
              <a:gd name="f57" fmla="val 18"/>
              <a:gd name="f58" fmla="val 245"/>
              <a:gd name="f59" fmla="val 88"/>
              <a:gd name="f60" fmla="val 89"/>
              <a:gd name="f61" fmla="val 307"/>
              <a:gd name="f62" fmla="val 306"/>
              <a:gd name="f63" fmla="val 149"/>
              <a:gd name="f64" fmla="val 377"/>
              <a:gd name="f65" fmla="val 105"/>
              <a:gd name="f66" fmla="val 327"/>
              <a:gd name="f67" fmla="val 103"/>
              <a:gd name="f68" fmla="val 99"/>
              <a:gd name="f69" fmla="val 323"/>
              <a:gd name="f70" fmla="val 95"/>
              <a:gd name="f71" fmla="val 319"/>
              <a:gd name="f72" fmla="val 74"/>
              <a:gd name="f73" fmla="val 107"/>
              <a:gd name="f74" fmla="val 111"/>
              <a:gd name="f75" fmla="val 239"/>
              <a:gd name="f76" fmla="val 234"/>
              <a:gd name="f77" fmla="val 154"/>
              <a:gd name="f78" fmla="val 159"/>
              <a:gd name="f79" fmla="val 236"/>
              <a:gd name="f80" fmla="val 246"/>
              <a:gd name="f81" fmla="val 288"/>
              <a:gd name="f82" fmla="val 284"/>
              <a:gd name="f83" fmla="val 210"/>
              <a:gd name="f84" fmla="val 219"/>
              <a:gd name="f85" fmla="val 277"/>
              <a:gd name="f86" fmla="val 224"/>
              <a:gd name="f87" fmla="val 269"/>
              <a:gd name="f88" fmla="val 226"/>
              <a:gd name="f89" fmla="val 268"/>
              <a:gd name="f90" fmla="val 267"/>
              <a:gd name="f91" fmla="val 266"/>
              <a:gd name="f92" fmla="val 264"/>
              <a:gd name="f93" fmla="val 225"/>
              <a:gd name="f94" fmla="val 223"/>
              <a:gd name="f95" fmla="val 222"/>
              <a:gd name="f96" fmla="val 265"/>
              <a:gd name="f97" fmla="val 221"/>
              <a:gd name="f98" fmla="val 273"/>
              <a:gd name="f99" fmla="val 220"/>
              <a:gd name="f100" fmla="val 278"/>
              <a:gd name="f101" fmla="val 216"/>
              <a:gd name="f102" fmla="val 204"/>
              <a:gd name="f103" fmla="val 199"/>
              <a:gd name="f104" fmla="val 262"/>
              <a:gd name="f105" fmla="val 253"/>
              <a:gd name="f106" fmla="val 217"/>
              <a:gd name="f107" fmla="val 260"/>
              <a:gd name="f108" fmla="val 261"/>
              <a:gd name="f109" fmla="val 259"/>
              <a:gd name="f110" fmla="val 258"/>
              <a:gd name="f111" fmla="val 249"/>
              <a:gd name="f112" fmla="val 203"/>
              <a:gd name="f113" fmla="val 196"/>
              <a:gd name="f114" fmla="val 195"/>
              <a:gd name="f115" fmla="val 244"/>
              <a:gd name="f116" fmla="val 191"/>
              <a:gd name="f117" fmla="val 184"/>
              <a:gd name="f118" fmla="val 176"/>
              <a:gd name="f119" fmla="val 171"/>
              <a:gd name="f120" fmla="val 169"/>
              <a:gd name="f121" fmla="val 170"/>
              <a:gd name="f122" fmla="val 172"/>
              <a:gd name="f123" fmla="val 173"/>
              <a:gd name="f124" fmla="val 174"/>
              <a:gd name="f125" fmla="val 175"/>
              <a:gd name="f126" fmla="val 178"/>
              <a:gd name="f127" fmla="val 190"/>
              <a:gd name="f128" fmla="val 254"/>
              <a:gd name="f129" fmla="val 194"/>
              <a:gd name="f130" fmla="val 271"/>
              <a:gd name="f131" fmla="val 177"/>
              <a:gd name="f132" fmla="val 279"/>
              <a:gd name="f133" fmla="val 274"/>
              <a:gd name="f134" fmla="val 283"/>
              <a:gd name="f135" fmla="val 113"/>
              <a:gd name="f136" fmla="val 150"/>
              <a:gd name="f137" fmla="val 156"/>
              <a:gd name="f138" fmla="val 161"/>
              <a:gd name="f139" fmla="val 116"/>
              <a:gd name="f140" fmla="val 114"/>
              <a:gd name="f141" fmla="val 133"/>
              <a:gd name="f142" fmla="val 144"/>
              <a:gd name="f143" fmla="val 215"/>
              <a:gd name="f144" fmla="val 140"/>
              <a:gd name="f145" fmla="val 126"/>
              <a:gd name="f146" fmla="val 122"/>
              <a:gd name="f147" fmla="val 120"/>
              <a:gd name="f148" fmla="val 115"/>
              <a:gd name="f149" fmla="val 117"/>
              <a:gd name="f150" fmla="val 145"/>
              <a:gd name="f151" fmla="val 192"/>
              <a:gd name="f152" fmla="val 123"/>
              <a:gd name="f153" fmla="val 127"/>
              <a:gd name="f154" fmla="val 189"/>
              <a:gd name="f155" fmla="val 143"/>
              <a:gd name="f156" fmla="val 218"/>
              <a:gd name="f157" fmla="val 137"/>
              <a:gd name="f158" fmla="val 227"/>
              <a:gd name="f159" fmla="val 300"/>
              <a:gd name="f160" fmla="val 297"/>
              <a:gd name="f161" fmla="val 41"/>
              <a:gd name="f162" fmla="val 84"/>
              <a:gd name="f163" fmla="val 90"/>
              <a:gd name="f164" fmla="val 65"/>
              <a:gd name="f165" fmla="val 53"/>
              <a:gd name="f166" fmla="val 181"/>
              <a:gd name="f167" fmla="val 52"/>
              <a:gd name="f168" fmla="val 182"/>
              <a:gd name="f169" fmla="val 51"/>
              <a:gd name="f170" fmla="val 48"/>
              <a:gd name="f171" fmla="val 179"/>
              <a:gd name="f172" fmla="val 56"/>
              <a:gd name="f173" fmla="val 83"/>
              <a:gd name="f174" fmla="val 193"/>
              <a:gd name="f175" fmla="val 78"/>
              <a:gd name="f176" fmla="val 206"/>
              <a:gd name="f177" fmla="val 57"/>
              <a:gd name="f178" fmla="val 212"/>
              <a:gd name="f179" fmla="val 49"/>
              <a:gd name="f180" fmla="val 209"/>
              <a:gd name="f181" fmla="val 60"/>
              <a:gd name="f182" fmla="val 73"/>
              <a:gd name="f183" fmla="val 168"/>
              <a:gd name="f184" fmla="val 205"/>
              <a:gd name="f185" fmla="val 208"/>
              <a:gd name="f186" fmla="val 211"/>
              <a:gd name="f187" fmla="val 353"/>
              <a:gd name="f188" fmla="val 310"/>
              <a:gd name="f189" fmla="val 305"/>
              <a:gd name="f190" fmla="val 315"/>
              <a:gd name="f191" fmla="val 313"/>
              <a:gd name="f192" fmla="val 312"/>
              <a:gd name="f193" fmla="val 334"/>
              <a:gd name="f194" fmla="val 343"/>
              <a:gd name="f195" fmla="val 342"/>
              <a:gd name="f196" fmla="val 338"/>
              <a:gd name="f197" fmla="val 187"/>
              <a:gd name="f198" fmla="val 318"/>
              <a:gd name="f199" fmla="val 200"/>
              <a:gd name="f200" fmla="val 330"/>
              <a:gd name="f201" fmla="val 332"/>
              <a:gd name="f202" fmla="val 339"/>
              <a:gd name="f203" fmla="val 202"/>
              <a:gd name="f204" fmla="val 316"/>
              <a:gd name="f205" fmla="val 309"/>
              <a:gd name="f206" fmla="val 188"/>
              <a:gd name="f207" fmla="val 341"/>
              <a:gd name="f208" fmla="val 349"/>
              <a:gd name="f209" fmla="+- 0 0 -90"/>
              <a:gd name="f210" fmla="*/ f3 1 394"/>
              <a:gd name="f211" fmla="*/ f4 1 395"/>
              <a:gd name="f212" fmla="+- f7 0 f5"/>
              <a:gd name="f213" fmla="+- f6 0 f5"/>
              <a:gd name="f214" fmla="*/ f209 f0 1"/>
              <a:gd name="f215" fmla="*/ f213 1 394"/>
              <a:gd name="f216" fmla="*/ f212 1 395"/>
              <a:gd name="f217" fmla="*/ 2147483647 f213 1"/>
              <a:gd name="f218" fmla="*/ 2147483647 f212 1"/>
              <a:gd name="f219" fmla="*/ 0 f212 1"/>
              <a:gd name="f220" fmla="*/ f214 1 f2"/>
              <a:gd name="f221" fmla="*/ f217 1 394"/>
              <a:gd name="f222" fmla="*/ f218 1 395"/>
              <a:gd name="f223" fmla="*/ f219 1 395"/>
              <a:gd name="f224" fmla="*/ 0 1 f215"/>
              <a:gd name="f225" fmla="*/ f6 1 f215"/>
              <a:gd name="f226" fmla="*/ 0 1 f216"/>
              <a:gd name="f227" fmla="*/ f7 1 f216"/>
              <a:gd name="f228" fmla="+- f220 0 f1"/>
              <a:gd name="f229" fmla="*/ f221 1 f215"/>
              <a:gd name="f230" fmla="*/ f222 1 f216"/>
              <a:gd name="f231" fmla="*/ f223 1 f216"/>
              <a:gd name="f232" fmla="*/ f224 f210 1"/>
              <a:gd name="f233" fmla="*/ f225 f210 1"/>
              <a:gd name="f234" fmla="*/ f227 f211 1"/>
              <a:gd name="f235" fmla="*/ f226 f211 1"/>
              <a:gd name="f236" fmla="*/ f229 f210 1"/>
              <a:gd name="f237" fmla="*/ f230 f211 1"/>
              <a:gd name="f238" fmla="*/ f231 f211 1"/>
            </a:gdLst>
            <a:ahLst/>
            <a:cxnLst>
              <a:cxn ang="3cd4">
                <a:pos x="hc" y="t"/>
              </a:cxn>
              <a:cxn ang="0">
                <a:pos x="r" y="vc"/>
              </a:cxn>
              <a:cxn ang="cd4">
                <a:pos x="hc" y="b"/>
              </a:cxn>
              <a:cxn ang="cd2">
                <a:pos x="l" y="vc"/>
              </a:cxn>
              <a:cxn ang="f228">
                <a:pos x="f236" y="f237"/>
              </a:cxn>
              <a:cxn ang="f228">
                <a:pos x="f236" y="f237"/>
              </a:cxn>
              <a:cxn ang="f228">
                <a:pos x="f236" y="f237"/>
              </a:cxn>
              <a:cxn ang="f228">
                <a:pos x="f236" y="f237"/>
              </a:cxn>
              <a:cxn ang="f228">
                <a:pos x="f236" y="f238"/>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Lst>
            <a:rect l="f232" t="f235" r="f233" b="f234"/>
            <a:pathLst>
              <a:path w="394" h="395">
                <a:moveTo>
                  <a:pt x="f8" y="f9"/>
                </a:moveTo>
                <a:cubicBezTo>
                  <a:pt x="f10" y="f11"/>
                  <a:pt x="f12" y="f13"/>
                  <a:pt x="f14" y="f15"/>
                </a:cubicBezTo>
                <a:cubicBezTo>
                  <a:pt x="f16" y="f17"/>
                  <a:pt x="f16" y="f18"/>
                  <a:pt x="f19" y="f20"/>
                </a:cubicBezTo>
                <a:cubicBezTo>
                  <a:pt x="f21" y="f22"/>
                  <a:pt x="f23" y="f24"/>
                  <a:pt x="f23" y="f25"/>
                </a:cubicBezTo>
                <a:cubicBezTo>
                  <a:pt x="f23" y="f26"/>
                  <a:pt x="f27" y="f28"/>
                  <a:pt x="f29" y="f30"/>
                </a:cubicBezTo>
                <a:cubicBezTo>
                  <a:pt x="f31" y="f32"/>
                  <a:pt x="f33" y="f34"/>
                  <a:pt x="f35" y="f34"/>
                </a:cubicBezTo>
                <a:cubicBezTo>
                  <a:pt x="f36" y="f34"/>
                  <a:pt x="f37" y="f32"/>
                  <a:pt x="f15" y="f30"/>
                </a:cubicBezTo>
                <a:cubicBezTo>
                  <a:pt x="f38" y="f28"/>
                  <a:pt x="f39" y="f26"/>
                  <a:pt x="f39" y="f25"/>
                </a:cubicBezTo>
                <a:cubicBezTo>
                  <a:pt x="f39" y="f36"/>
                  <a:pt x="f38" y="f37"/>
                  <a:pt x="f15" y="f15"/>
                </a:cubicBezTo>
                <a:cubicBezTo>
                  <a:pt x="f37" y="f40"/>
                  <a:pt x="f36" y="f39"/>
                  <a:pt x="f35" y="f39"/>
                </a:cubicBezTo>
                <a:cubicBezTo>
                  <a:pt x="f41" y="f39"/>
                  <a:pt x="f42" y="f43"/>
                  <a:pt x="f44" y="f45"/>
                </a:cubicBezTo>
                <a:cubicBezTo>
                  <a:pt x="f46" y="f47"/>
                  <a:pt x="f48" y="f49"/>
                  <a:pt x="f29" y="f50"/>
                </a:cubicBezTo>
                <a:cubicBezTo>
                  <a:pt x="f51" y="f52"/>
                  <a:pt x="f51" y="f53"/>
                  <a:pt x="f54" y="f55"/>
                </a:cubicBezTo>
                <a:cubicBezTo>
                  <a:pt x="f54" y="f55"/>
                  <a:pt x="f54" y="f55"/>
                  <a:pt x="f54" y="f55"/>
                </a:cubicBezTo>
                <a:cubicBezTo>
                  <a:pt x="f56" y="f57"/>
                  <a:pt x="f58" y="f5"/>
                  <a:pt x="f35" y="f5"/>
                </a:cubicBezTo>
                <a:cubicBezTo>
                  <a:pt x="f59" y="f5"/>
                  <a:pt x="f5" y="f60"/>
                  <a:pt x="f5" y="f25"/>
                </a:cubicBezTo>
                <a:cubicBezTo>
                  <a:pt x="f5" y="f61"/>
                  <a:pt x="f59" y="f7"/>
                  <a:pt x="f35" y="f7"/>
                </a:cubicBezTo>
                <a:cubicBezTo>
                  <a:pt x="f62" y="f7"/>
                  <a:pt x="f6" y="f61"/>
                  <a:pt x="f6" y="f25"/>
                </a:cubicBezTo>
                <a:cubicBezTo>
                  <a:pt x="f6" y="f63"/>
                  <a:pt x="f64" y="f65"/>
                  <a:pt x="f8" y="f9"/>
                </a:cubicBezTo>
                <a:close/>
                <a:moveTo>
                  <a:pt x="f66" y="f67"/>
                </a:moveTo>
                <a:cubicBezTo>
                  <a:pt x="f66" y="f68"/>
                  <a:pt x="f69" y="f70"/>
                  <a:pt x="f71" y="f70"/>
                </a:cubicBezTo>
                <a:cubicBezTo>
                  <a:pt x="f72" y="f70"/>
                  <a:pt x="f72" y="f70"/>
                  <a:pt x="f72" y="f70"/>
                </a:cubicBezTo>
                <a:cubicBezTo>
                  <a:pt x="f9" y="f70"/>
                  <a:pt x="f13" y="f68"/>
                  <a:pt x="f13" y="f67"/>
                </a:cubicBezTo>
                <a:cubicBezTo>
                  <a:pt x="f13" y="f73"/>
                  <a:pt x="f9" y="f74"/>
                  <a:pt x="f72" y="f74"/>
                </a:cubicBezTo>
                <a:cubicBezTo>
                  <a:pt x="f71" y="f74"/>
                  <a:pt x="f71" y="f74"/>
                  <a:pt x="f71" y="f74"/>
                </a:cubicBezTo>
                <a:cubicBezTo>
                  <a:pt x="f69" y="f74"/>
                  <a:pt x="f66" y="f73"/>
                  <a:pt x="f66" y="f67"/>
                </a:cubicBezTo>
                <a:close/>
                <a:moveTo>
                  <a:pt x="f58" y="f63"/>
                </a:moveTo>
                <a:cubicBezTo>
                  <a:pt x="f75" y="f63"/>
                  <a:pt x="f76" y="f77"/>
                  <a:pt x="f76" y="f78"/>
                </a:cubicBezTo>
                <a:cubicBezTo>
                  <a:pt x="f76" y="f79"/>
                  <a:pt x="f76" y="f79"/>
                  <a:pt x="f76" y="f79"/>
                </a:cubicBezTo>
                <a:cubicBezTo>
                  <a:pt x="f76" y="f41"/>
                  <a:pt x="f75" y="f80"/>
                  <a:pt x="f58" y="f80"/>
                </a:cubicBezTo>
                <a:cubicBezTo>
                  <a:pt x="f42" y="f80"/>
                  <a:pt x="f42" y="f80"/>
                  <a:pt x="f42" y="f80"/>
                </a:cubicBezTo>
                <a:cubicBezTo>
                  <a:pt x="f81" y="f80"/>
                  <a:pt x="f31" y="f41"/>
                  <a:pt x="f31" y="f79"/>
                </a:cubicBezTo>
                <a:cubicBezTo>
                  <a:pt x="f31" y="f78"/>
                  <a:pt x="f31" y="f78"/>
                  <a:pt x="f31" y="f78"/>
                </a:cubicBezTo>
                <a:cubicBezTo>
                  <a:pt x="f31" y="f77"/>
                  <a:pt x="f81" y="f63"/>
                  <a:pt x="f42" y="f63"/>
                </a:cubicBezTo>
                <a:lnTo>
                  <a:pt x="f58" y="f63"/>
                </a:lnTo>
                <a:close/>
                <a:moveTo>
                  <a:pt x="f82" y="f83"/>
                </a:moveTo>
                <a:cubicBezTo>
                  <a:pt x="f82" y="f84"/>
                  <a:pt x="f85" y="f86"/>
                  <a:pt x="f87" y="f88"/>
                </a:cubicBezTo>
                <a:cubicBezTo>
                  <a:pt x="f89" y="f88"/>
                  <a:pt x="f90" y="f88"/>
                  <a:pt x="f90" y="f88"/>
                </a:cubicBezTo>
                <a:cubicBezTo>
                  <a:pt x="f91" y="f88"/>
                  <a:pt x="f92" y="f93"/>
                  <a:pt x="f92" y="f94"/>
                </a:cubicBezTo>
                <a:cubicBezTo>
                  <a:pt x="f92" y="f95"/>
                  <a:pt x="f96" y="f97"/>
                  <a:pt x="f90" y="f97"/>
                </a:cubicBezTo>
                <a:cubicBezTo>
                  <a:pt x="f98" y="f99"/>
                  <a:pt x="f100" y="f101"/>
                  <a:pt x="f100" y="f83"/>
                </a:cubicBezTo>
                <a:cubicBezTo>
                  <a:pt x="f100" y="f102"/>
                  <a:pt x="f98" y="f103"/>
                  <a:pt x="f104" y="f103"/>
                </a:cubicBezTo>
                <a:cubicBezTo>
                  <a:pt x="f105" y="f103"/>
                  <a:pt x="f26" y="f102"/>
                  <a:pt x="f26" y="f83"/>
                </a:cubicBezTo>
                <a:cubicBezTo>
                  <a:pt x="f26" y="f106"/>
                  <a:pt x="f105" y="f99"/>
                  <a:pt x="f107" y="f97"/>
                </a:cubicBezTo>
                <a:cubicBezTo>
                  <a:pt x="f108" y="f97"/>
                  <a:pt x="f104" y="f95"/>
                  <a:pt x="f104" y="f94"/>
                </a:cubicBezTo>
                <a:cubicBezTo>
                  <a:pt x="f104" y="f93"/>
                  <a:pt x="f108" y="f88"/>
                  <a:pt x="f109" y="f88"/>
                </a:cubicBezTo>
                <a:cubicBezTo>
                  <a:pt x="f109" y="f88"/>
                  <a:pt x="f110" y="f88"/>
                  <a:pt x="f110" y="f88"/>
                </a:cubicBezTo>
                <a:cubicBezTo>
                  <a:pt x="f111" y="f86"/>
                  <a:pt x="f41" y="f84"/>
                  <a:pt x="f41" y="f83"/>
                </a:cubicBezTo>
                <a:cubicBezTo>
                  <a:pt x="f41" y="f112"/>
                  <a:pt x="f33" y="f25"/>
                  <a:pt x="f105" y="f113"/>
                </a:cubicBezTo>
                <a:cubicBezTo>
                  <a:pt x="f105" y="f113"/>
                  <a:pt x="f105" y="f113"/>
                  <a:pt x="f105" y="f113"/>
                </a:cubicBezTo>
                <a:cubicBezTo>
                  <a:pt x="f33" y="f114"/>
                  <a:pt x="f115" y="f116"/>
                  <a:pt x="f115" y="f117"/>
                </a:cubicBezTo>
                <a:cubicBezTo>
                  <a:pt x="f115" y="f118"/>
                  <a:pt x="f26" y="f119"/>
                  <a:pt x="f110" y="f120"/>
                </a:cubicBezTo>
                <a:cubicBezTo>
                  <a:pt x="f110" y="f120"/>
                  <a:pt x="f109" y="f120"/>
                  <a:pt x="f109" y="f120"/>
                </a:cubicBezTo>
                <a:cubicBezTo>
                  <a:pt x="f108" y="f120"/>
                  <a:pt x="f104" y="f121"/>
                  <a:pt x="f104" y="f122"/>
                </a:cubicBezTo>
                <a:cubicBezTo>
                  <a:pt x="f104" y="f123"/>
                  <a:pt x="f108" y="f124"/>
                  <a:pt x="f107" y="f124"/>
                </a:cubicBezTo>
                <a:cubicBezTo>
                  <a:pt x="f105" y="f125"/>
                  <a:pt x="f111" y="f126"/>
                  <a:pt x="f111" y="f117"/>
                </a:cubicBezTo>
                <a:cubicBezTo>
                  <a:pt x="f111" y="f127"/>
                  <a:pt x="f128" y="f129"/>
                  <a:pt x="f92" y="f129"/>
                </a:cubicBezTo>
                <a:cubicBezTo>
                  <a:pt x="f130" y="f129"/>
                  <a:pt x="f85" y="f127"/>
                  <a:pt x="f85" y="f117"/>
                </a:cubicBezTo>
                <a:cubicBezTo>
                  <a:pt x="f85" y="f126"/>
                  <a:pt x="f98" y="f125"/>
                  <a:pt x="f90" y="f124"/>
                </a:cubicBezTo>
                <a:cubicBezTo>
                  <a:pt x="f96" y="f124"/>
                  <a:pt x="f92" y="f123"/>
                  <a:pt x="f92" y="f122"/>
                </a:cubicBezTo>
                <a:cubicBezTo>
                  <a:pt x="f92" y="f121"/>
                  <a:pt x="f91" y="f120"/>
                  <a:pt x="f90" y="f120"/>
                </a:cubicBezTo>
                <a:cubicBezTo>
                  <a:pt x="f90" y="f120"/>
                  <a:pt x="f89" y="f120"/>
                  <a:pt x="f87" y="f120"/>
                </a:cubicBezTo>
                <a:cubicBezTo>
                  <a:pt x="f100" y="f119"/>
                  <a:pt x="f42" y="f131"/>
                  <a:pt x="f42" y="f117"/>
                </a:cubicBezTo>
                <a:cubicBezTo>
                  <a:pt x="f42" y="f127"/>
                  <a:pt x="f132" y="f129"/>
                  <a:pt x="f133" y="f113"/>
                </a:cubicBezTo>
                <a:cubicBezTo>
                  <a:pt x="f133" y="f113"/>
                  <a:pt x="f133" y="f113"/>
                  <a:pt x="f133" y="f113"/>
                </a:cubicBezTo>
                <a:cubicBezTo>
                  <a:pt x="f132" y="f25"/>
                  <a:pt x="f134" y="f112"/>
                  <a:pt x="f82" y="f83"/>
                </a:cubicBezTo>
                <a:close/>
                <a:moveTo>
                  <a:pt x="f135" y="f63"/>
                </a:moveTo>
                <a:cubicBezTo>
                  <a:pt x="f73" y="f63"/>
                  <a:pt x="f37" y="f77"/>
                  <a:pt x="f37" y="f78"/>
                </a:cubicBezTo>
                <a:cubicBezTo>
                  <a:pt x="f37" y="f79"/>
                  <a:pt x="f37" y="f79"/>
                  <a:pt x="f37" y="f79"/>
                </a:cubicBezTo>
                <a:cubicBezTo>
                  <a:pt x="f37" y="f41"/>
                  <a:pt x="f73" y="f80"/>
                  <a:pt x="f135" y="f80"/>
                </a:cubicBezTo>
                <a:cubicBezTo>
                  <a:pt x="f136" y="f80"/>
                  <a:pt x="f136" y="f80"/>
                  <a:pt x="f136" y="f80"/>
                </a:cubicBezTo>
                <a:cubicBezTo>
                  <a:pt x="f137" y="f80"/>
                  <a:pt x="f138" y="f41"/>
                  <a:pt x="f138" y="f79"/>
                </a:cubicBezTo>
                <a:cubicBezTo>
                  <a:pt x="f138" y="f78"/>
                  <a:pt x="f138" y="f78"/>
                  <a:pt x="f138" y="f78"/>
                </a:cubicBezTo>
                <a:cubicBezTo>
                  <a:pt x="f138" y="f77"/>
                  <a:pt x="f137" y="f63"/>
                  <a:pt x="f136" y="f63"/>
                </a:cubicBezTo>
                <a:lnTo>
                  <a:pt x="f135" y="f63"/>
                </a:lnTo>
                <a:close/>
                <a:moveTo>
                  <a:pt x="f139" y="f88"/>
                </a:moveTo>
                <a:cubicBezTo>
                  <a:pt x="f140" y="f88"/>
                  <a:pt x="f135" y="f93"/>
                  <a:pt x="f135" y="f94"/>
                </a:cubicBezTo>
                <a:cubicBezTo>
                  <a:pt x="f135" y="f95"/>
                  <a:pt x="f140" y="f99"/>
                  <a:pt x="f139" y="f99"/>
                </a:cubicBezTo>
                <a:cubicBezTo>
                  <a:pt x="f141" y="f97"/>
                  <a:pt x="f142" y="f143"/>
                  <a:pt x="f142" y="f102"/>
                </a:cubicBezTo>
                <a:cubicBezTo>
                  <a:pt x="f142" y="f25"/>
                  <a:pt x="f144" y="f129"/>
                  <a:pt x="f141" y="f129"/>
                </a:cubicBezTo>
                <a:cubicBezTo>
                  <a:pt x="f145" y="f129"/>
                  <a:pt x="f146" y="f113"/>
                  <a:pt x="f147" y="f25"/>
                </a:cubicBezTo>
                <a:cubicBezTo>
                  <a:pt x="f139" y="f103"/>
                  <a:pt x="f148" y="f35"/>
                  <a:pt x="f148" y="f114"/>
                </a:cubicBezTo>
                <a:cubicBezTo>
                  <a:pt x="f148" y="f124"/>
                  <a:pt x="f148" y="f124"/>
                  <a:pt x="f148" y="f124"/>
                </a:cubicBezTo>
                <a:cubicBezTo>
                  <a:pt x="f148" y="f119"/>
                  <a:pt x="f149" y="f121"/>
                  <a:pt x="f147" y="f121"/>
                </a:cubicBezTo>
                <a:cubicBezTo>
                  <a:pt x="f142" y="f120"/>
                  <a:pt x="f142" y="f120"/>
                  <a:pt x="f142" y="f120"/>
                </a:cubicBezTo>
                <a:cubicBezTo>
                  <a:pt x="f150" y="f120"/>
                  <a:pt x="f36" y="f119"/>
                  <a:pt x="f36" y="f122"/>
                </a:cubicBezTo>
                <a:cubicBezTo>
                  <a:pt x="f36" y="f124"/>
                  <a:pt x="f150" y="f125"/>
                  <a:pt x="f142" y="f125"/>
                </a:cubicBezTo>
                <a:cubicBezTo>
                  <a:pt x="f147" y="f125"/>
                  <a:pt x="f147" y="f125"/>
                  <a:pt x="f147" y="f125"/>
                </a:cubicBezTo>
                <a:cubicBezTo>
                  <a:pt x="f147" y="f151"/>
                  <a:pt x="f147" y="f151"/>
                  <a:pt x="f147" y="f151"/>
                </a:cubicBezTo>
                <a:cubicBezTo>
                  <a:pt x="f152" y="f127"/>
                  <a:pt x="f153" y="f154"/>
                  <a:pt x="f141" y="f154"/>
                </a:cubicBezTo>
                <a:cubicBezTo>
                  <a:pt x="f155" y="f154"/>
                  <a:pt x="f136" y="f114"/>
                  <a:pt x="f136" y="f102"/>
                </a:cubicBezTo>
                <a:cubicBezTo>
                  <a:pt x="f136" y="f156"/>
                  <a:pt x="f157" y="f158"/>
                  <a:pt x="f139" y="f88"/>
                </a:cubicBezTo>
                <a:close/>
                <a:moveTo>
                  <a:pt x="f72" y="f159"/>
                </a:moveTo>
                <a:cubicBezTo>
                  <a:pt x="f71" y="f159"/>
                  <a:pt x="f71" y="f159"/>
                  <a:pt x="f71" y="f159"/>
                </a:cubicBezTo>
                <a:cubicBezTo>
                  <a:pt x="f69" y="f159"/>
                  <a:pt x="f66" y="f160"/>
                  <a:pt x="f66" y="f31"/>
                </a:cubicBezTo>
                <a:cubicBezTo>
                  <a:pt x="f66" y="f81"/>
                  <a:pt x="f69" y="f82"/>
                  <a:pt x="f71" y="f82"/>
                </a:cubicBezTo>
                <a:cubicBezTo>
                  <a:pt x="f72" y="f82"/>
                  <a:pt x="f72" y="f82"/>
                  <a:pt x="f72" y="f82"/>
                </a:cubicBezTo>
                <a:cubicBezTo>
                  <a:pt x="f9" y="f82"/>
                  <a:pt x="f13" y="f81"/>
                  <a:pt x="f13" y="f31"/>
                </a:cubicBezTo>
                <a:cubicBezTo>
                  <a:pt x="f13" y="f160"/>
                  <a:pt x="f9" y="f159"/>
                  <a:pt x="f72" y="f159"/>
                </a:cubicBezTo>
                <a:close/>
                <a:moveTo>
                  <a:pt x="f40" y="f78"/>
                </a:moveTo>
                <a:cubicBezTo>
                  <a:pt x="f40" y="f79"/>
                  <a:pt x="f40" y="f79"/>
                  <a:pt x="f40" y="f79"/>
                </a:cubicBezTo>
                <a:cubicBezTo>
                  <a:pt x="f40" y="f41"/>
                  <a:pt x="f161" y="f80"/>
                  <a:pt x="f55" y="f80"/>
                </a:cubicBezTo>
                <a:cubicBezTo>
                  <a:pt x="f162" y="f80"/>
                  <a:pt x="f162" y="f80"/>
                  <a:pt x="f162" y="f80"/>
                </a:cubicBezTo>
                <a:cubicBezTo>
                  <a:pt x="f163" y="f80"/>
                  <a:pt x="f70" y="f41"/>
                  <a:pt x="f70" y="f79"/>
                </a:cubicBezTo>
                <a:cubicBezTo>
                  <a:pt x="f70" y="f78"/>
                  <a:pt x="f70" y="f78"/>
                  <a:pt x="f70" y="f78"/>
                </a:cubicBezTo>
                <a:cubicBezTo>
                  <a:pt x="f70" y="f77"/>
                  <a:pt x="f163" y="f63"/>
                  <a:pt x="f162" y="f63"/>
                </a:cubicBezTo>
                <a:cubicBezTo>
                  <a:pt x="f55" y="f63"/>
                  <a:pt x="f55" y="f63"/>
                  <a:pt x="f55" y="f63"/>
                </a:cubicBezTo>
                <a:cubicBezTo>
                  <a:pt x="f161" y="f63"/>
                  <a:pt x="f40" y="f77"/>
                  <a:pt x="f40" y="f78"/>
                </a:cubicBezTo>
                <a:close/>
                <a:moveTo>
                  <a:pt x="f164" y="f125"/>
                </a:moveTo>
                <a:cubicBezTo>
                  <a:pt x="f45" y="f125"/>
                  <a:pt x="f52" y="f131"/>
                  <a:pt x="f165" y="f166"/>
                </a:cubicBezTo>
                <a:cubicBezTo>
                  <a:pt x="f165" y="f166"/>
                  <a:pt x="f167" y="f168"/>
                  <a:pt x="f169" y="f168"/>
                </a:cubicBezTo>
                <a:cubicBezTo>
                  <a:pt x="f53" y="f168"/>
                  <a:pt x="f170" y="f166"/>
                  <a:pt x="f170" y="f2"/>
                </a:cubicBezTo>
                <a:cubicBezTo>
                  <a:pt x="f55" y="f171"/>
                  <a:pt x="f170" y="f126"/>
                  <a:pt x="f170" y="f126"/>
                </a:cubicBezTo>
                <a:cubicBezTo>
                  <a:pt x="f169" y="f124"/>
                  <a:pt x="f172" y="f120"/>
                  <a:pt x="f164" y="f120"/>
                </a:cubicBezTo>
                <a:cubicBezTo>
                  <a:pt x="f18" y="f120"/>
                  <a:pt x="f173" y="f118"/>
                  <a:pt x="f173" y="f117"/>
                </a:cubicBezTo>
                <a:cubicBezTo>
                  <a:pt x="f173" y="f174"/>
                  <a:pt x="f175" y="f35"/>
                  <a:pt x="f164" y="f176"/>
                </a:cubicBezTo>
                <a:cubicBezTo>
                  <a:pt x="f177" y="f178"/>
                  <a:pt x="f165" y="f101"/>
                  <a:pt x="f165" y="f99"/>
                </a:cubicBezTo>
                <a:cubicBezTo>
                  <a:pt x="f20" y="f99"/>
                  <a:pt x="f20" y="f99"/>
                  <a:pt x="f20" y="f99"/>
                </a:cubicBezTo>
                <a:cubicBezTo>
                  <a:pt x="f173" y="f99"/>
                  <a:pt x="f162" y="f95"/>
                  <a:pt x="f162" y="f94"/>
                </a:cubicBezTo>
                <a:cubicBezTo>
                  <a:pt x="f162" y="f93"/>
                  <a:pt x="f173" y="f88"/>
                  <a:pt x="f20" y="f88"/>
                </a:cubicBezTo>
                <a:cubicBezTo>
                  <a:pt x="f167" y="f88"/>
                  <a:pt x="f167" y="f88"/>
                  <a:pt x="f167" y="f88"/>
                </a:cubicBezTo>
                <a:cubicBezTo>
                  <a:pt x="f179" y="f88"/>
                  <a:pt x="f170" y="f86"/>
                  <a:pt x="f170" y="f95"/>
                </a:cubicBezTo>
                <a:cubicBezTo>
                  <a:pt x="f170" y="f143"/>
                  <a:pt x="f169" y="f180"/>
                  <a:pt x="f181" y="f112"/>
                </a:cubicBezTo>
                <a:cubicBezTo>
                  <a:pt x="f182" y="f129"/>
                  <a:pt x="f18" y="f116"/>
                  <a:pt x="f18" y="f117"/>
                </a:cubicBezTo>
                <a:cubicBezTo>
                  <a:pt x="f18" y="f2"/>
                  <a:pt x="f72" y="f125"/>
                  <a:pt x="f164" y="f125"/>
                </a:cubicBezTo>
                <a:close/>
                <a:moveTo>
                  <a:pt x="f171" y="f63"/>
                </a:moveTo>
                <a:cubicBezTo>
                  <a:pt x="f123" y="f63"/>
                  <a:pt x="f183" y="f77"/>
                  <a:pt x="f183" y="f78"/>
                </a:cubicBezTo>
                <a:cubicBezTo>
                  <a:pt x="f183" y="f79"/>
                  <a:pt x="f183" y="f79"/>
                  <a:pt x="f183" y="f79"/>
                </a:cubicBezTo>
                <a:cubicBezTo>
                  <a:pt x="f183" y="f41"/>
                  <a:pt x="f123" y="f80"/>
                  <a:pt x="f171" y="f80"/>
                </a:cubicBezTo>
                <a:cubicBezTo>
                  <a:pt x="f101" y="f80"/>
                  <a:pt x="f101" y="f80"/>
                  <a:pt x="f101" y="f80"/>
                </a:cubicBezTo>
                <a:cubicBezTo>
                  <a:pt x="f95" y="f80"/>
                  <a:pt x="f88" y="f41"/>
                  <a:pt x="f88" y="f79"/>
                </a:cubicBezTo>
                <a:cubicBezTo>
                  <a:pt x="f88" y="f78"/>
                  <a:pt x="f88" y="f78"/>
                  <a:pt x="f88" y="f78"/>
                </a:cubicBezTo>
                <a:cubicBezTo>
                  <a:pt x="f88" y="f77"/>
                  <a:pt x="f95" y="f63"/>
                  <a:pt x="f101" y="f63"/>
                </a:cubicBezTo>
                <a:lnTo>
                  <a:pt x="f171" y="f63"/>
                </a:lnTo>
                <a:close/>
                <a:moveTo>
                  <a:pt x="f168" y="f88"/>
                </a:moveTo>
                <a:cubicBezTo>
                  <a:pt x="f2" y="f88"/>
                  <a:pt x="f171" y="f93"/>
                  <a:pt x="f171" y="f94"/>
                </a:cubicBezTo>
                <a:cubicBezTo>
                  <a:pt x="f171" y="f97"/>
                  <a:pt x="f2" y="f99"/>
                  <a:pt x="f168" y="f99"/>
                </a:cubicBezTo>
                <a:cubicBezTo>
                  <a:pt x="f103" y="f97"/>
                  <a:pt x="f83" y="f101"/>
                  <a:pt x="f83" y="f184"/>
                </a:cubicBezTo>
                <a:cubicBezTo>
                  <a:pt x="f83" y="f103"/>
                  <a:pt x="f184" y="f114"/>
                  <a:pt x="f25" y="f114"/>
                </a:cubicBezTo>
                <a:cubicBezTo>
                  <a:pt x="f114" y="f114"/>
                  <a:pt x="f129" y="f113"/>
                  <a:pt x="f174" y="f113"/>
                </a:cubicBezTo>
                <a:cubicBezTo>
                  <a:pt x="f116" y="f113"/>
                  <a:pt x="f127" y="f129"/>
                  <a:pt x="f127" y="f174"/>
                </a:cubicBezTo>
                <a:cubicBezTo>
                  <a:pt x="f127" y="f151"/>
                  <a:pt x="f127" y="f151"/>
                  <a:pt x="f116" y="f116"/>
                </a:cubicBezTo>
                <a:cubicBezTo>
                  <a:pt x="f184" y="f125"/>
                  <a:pt x="f184" y="f125"/>
                  <a:pt x="f184" y="f125"/>
                </a:cubicBezTo>
                <a:cubicBezTo>
                  <a:pt x="f168" y="f125"/>
                  <a:pt x="f168" y="f125"/>
                  <a:pt x="f168" y="f125"/>
                </a:cubicBezTo>
                <a:cubicBezTo>
                  <a:pt x="f2" y="f125"/>
                  <a:pt x="f171" y="f124"/>
                  <a:pt x="f171" y="f122"/>
                </a:cubicBezTo>
                <a:cubicBezTo>
                  <a:pt x="f171" y="f119"/>
                  <a:pt x="f2" y="f120"/>
                  <a:pt x="f168" y="f120"/>
                </a:cubicBezTo>
                <a:cubicBezTo>
                  <a:pt x="f185" y="f120"/>
                  <a:pt x="f185" y="f120"/>
                  <a:pt x="f185" y="f120"/>
                </a:cubicBezTo>
                <a:cubicBezTo>
                  <a:pt x="f83" y="f120"/>
                  <a:pt x="f178" y="f119"/>
                  <a:pt x="f178" y="f124"/>
                </a:cubicBezTo>
                <a:cubicBezTo>
                  <a:pt x="f178" y="f124"/>
                  <a:pt x="f178" y="f125"/>
                  <a:pt x="f186" y="f118"/>
                </a:cubicBezTo>
                <a:cubicBezTo>
                  <a:pt x="f103" y="f127"/>
                  <a:pt x="f103" y="f127"/>
                  <a:pt x="f103" y="f127"/>
                </a:cubicBezTo>
                <a:cubicBezTo>
                  <a:pt x="f185" y="f127"/>
                  <a:pt x="f101" y="f113"/>
                  <a:pt x="f101" y="f184"/>
                </a:cubicBezTo>
                <a:cubicBezTo>
                  <a:pt x="f101" y="f84"/>
                  <a:pt x="f112" y="f158"/>
                  <a:pt x="f168" y="f88"/>
                </a:cubicBezTo>
                <a:close/>
                <a:moveTo>
                  <a:pt x="f27" y="f79"/>
                </a:moveTo>
                <a:cubicBezTo>
                  <a:pt x="f27" y="f78"/>
                  <a:pt x="f27" y="f78"/>
                  <a:pt x="f27" y="f78"/>
                </a:cubicBezTo>
                <a:cubicBezTo>
                  <a:pt x="f27" y="f77"/>
                  <a:pt x="f187" y="f63"/>
                  <a:pt x="f8" y="f63"/>
                </a:cubicBezTo>
                <a:cubicBezTo>
                  <a:pt x="f188" y="f63"/>
                  <a:pt x="f188" y="f63"/>
                  <a:pt x="f188" y="f63"/>
                </a:cubicBezTo>
                <a:cubicBezTo>
                  <a:pt x="f189" y="f63"/>
                  <a:pt x="f159" y="f77"/>
                  <a:pt x="f159" y="f78"/>
                </a:cubicBezTo>
                <a:cubicBezTo>
                  <a:pt x="f159" y="f79"/>
                  <a:pt x="f159" y="f79"/>
                  <a:pt x="f159" y="f79"/>
                </a:cubicBezTo>
                <a:cubicBezTo>
                  <a:pt x="f159" y="f41"/>
                  <a:pt x="f189" y="f80"/>
                  <a:pt x="f188" y="f80"/>
                </a:cubicBezTo>
                <a:cubicBezTo>
                  <a:pt x="f8" y="f80"/>
                  <a:pt x="f8" y="f80"/>
                  <a:pt x="f8" y="f80"/>
                </a:cubicBezTo>
                <a:cubicBezTo>
                  <a:pt x="f187" y="f80"/>
                  <a:pt x="f27" y="f41"/>
                  <a:pt x="f27" y="f79"/>
                </a:cubicBezTo>
                <a:close/>
                <a:moveTo>
                  <a:pt x="f190" y="f88"/>
                </a:moveTo>
                <a:cubicBezTo>
                  <a:pt x="f44" y="f88"/>
                  <a:pt x="f191" y="f93"/>
                  <a:pt x="f192" y="f86"/>
                </a:cubicBezTo>
                <a:cubicBezTo>
                  <a:pt x="f192" y="f95"/>
                  <a:pt x="f44" y="f97"/>
                  <a:pt x="f190" y="f97"/>
                </a:cubicBezTo>
                <a:cubicBezTo>
                  <a:pt x="f193" y="f97"/>
                  <a:pt x="f194" y="f101"/>
                  <a:pt x="f194" y="f35"/>
                </a:cubicBezTo>
                <a:cubicBezTo>
                  <a:pt x="f194" y="f129"/>
                  <a:pt x="f194" y="f116"/>
                  <a:pt x="f194" y="f154"/>
                </a:cubicBezTo>
                <a:cubicBezTo>
                  <a:pt x="f195" y="f171"/>
                  <a:pt x="f196" y="f124"/>
                  <a:pt x="f51" y="f124"/>
                </a:cubicBezTo>
                <a:cubicBezTo>
                  <a:pt x="f71" y="f124"/>
                  <a:pt x="f190" y="f171"/>
                  <a:pt x="f190" y="f197"/>
                </a:cubicBezTo>
                <a:cubicBezTo>
                  <a:pt x="f190" y="f113"/>
                  <a:pt x="f198" y="f199"/>
                  <a:pt x="f51" y="f199"/>
                </a:cubicBezTo>
                <a:cubicBezTo>
                  <a:pt x="f200" y="f199"/>
                  <a:pt x="f201" y="f103"/>
                  <a:pt x="f19" y="f25"/>
                </a:cubicBezTo>
                <a:cubicBezTo>
                  <a:pt x="f196" y="f25"/>
                  <a:pt x="f202" y="f103"/>
                  <a:pt x="f202" y="f199"/>
                </a:cubicBezTo>
                <a:cubicBezTo>
                  <a:pt x="f12" y="f203"/>
                  <a:pt x="f202" y="f112"/>
                  <a:pt x="f14" y="f102"/>
                </a:cubicBezTo>
                <a:cubicBezTo>
                  <a:pt x="f193" y="f102"/>
                  <a:pt x="f201" y="f184"/>
                  <a:pt x="f51" y="f184"/>
                </a:cubicBezTo>
                <a:cubicBezTo>
                  <a:pt x="f204" y="f184"/>
                  <a:pt x="f205" y="f103"/>
                  <a:pt x="f205" y="f206"/>
                </a:cubicBezTo>
                <a:cubicBezTo>
                  <a:pt x="f205" y="f126"/>
                  <a:pt x="f204" y="f120"/>
                  <a:pt x="f51" y="f120"/>
                </a:cubicBezTo>
                <a:cubicBezTo>
                  <a:pt x="f207" y="f120"/>
                  <a:pt x="f8" y="f118"/>
                  <a:pt x="f208" y="f154"/>
                </a:cubicBezTo>
                <a:cubicBezTo>
                  <a:pt x="f208" y="f116"/>
                  <a:pt x="f208" y="f174"/>
                  <a:pt x="f208" y="f35"/>
                </a:cubicBezTo>
                <a:cubicBezTo>
                  <a:pt x="f8" y="f84"/>
                  <a:pt x="f14" y="f88"/>
                  <a:pt x="f190" y="f88"/>
                </a:cubicBezTo>
                <a:close/>
              </a:path>
            </a:pathLst>
          </a:custGeom>
          <a:solidFill>
            <a:srgbClr val="7B0663"/>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sv-SE" sz="2000" b="0" i="0" u="none" strike="noStrike" kern="1200" cap="none" spc="0" baseline="0">
              <a:solidFill>
                <a:srgbClr val="58585A"/>
              </a:solidFill>
              <a:uFillTx/>
              <a:latin typeface="Arial"/>
            </a:endParaRPr>
          </a:p>
        </p:txBody>
      </p:sp>
      <p:sp>
        <p:nvSpPr>
          <p:cNvPr id="55" name="Freeform 3">
            <a:extLst>
              <a:ext uri="{FF2B5EF4-FFF2-40B4-BE49-F238E27FC236}">
                <a16:creationId xmlns:a16="http://schemas.microsoft.com/office/drawing/2014/main" id="{FD7D7415-F003-4AEA-81BC-856640823880}"/>
              </a:ext>
            </a:extLst>
          </p:cNvPr>
          <p:cNvSpPr/>
          <p:nvPr/>
        </p:nvSpPr>
        <p:spPr>
          <a:xfrm>
            <a:off x="4081387" y="3357607"/>
            <a:ext cx="144146" cy="110496"/>
          </a:xfrm>
          <a:custGeom>
            <a:avLst/>
            <a:gdLst>
              <a:gd name="f0" fmla="val 10800000"/>
              <a:gd name="f1" fmla="val 5400000"/>
              <a:gd name="f2" fmla="val 180"/>
              <a:gd name="f3" fmla="val w"/>
              <a:gd name="f4" fmla="val h"/>
              <a:gd name="f5" fmla="val 0"/>
              <a:gd name="f6" fmla="val 339"/>
              <a:gd name="f7" fmla="val 293"/>
              <a:gd name="f8" fmla="val 335"/>
              <a:gd name="f9" fmla="val 69"/>
              <a:gd name="f10" fmla="val 290"/>
              <a:gd name="f11" fmla="val 23"/>
              <a:gd name="f12" fmla="val 229"/>
              <a:gd name="f13" fmla="val 169"/>
              <a:gd name="f14" fmla="val 109"/>
              <a:gd name="f15" fmla="val 49"/>
              <a:gd name="f16" fmla="val 3"/>
              <a:gd name="f17" fmla="val 72"/>
              <a:gd name="f18" fmla="val 77"/>
              <a:gd name="f19" fmla="val 80"/>
              <a:gd name="f20" fmla="val 4"/>
              <a:gd name="f21" fmla="val 82"/>
              <a:gd name="f22" fmla="val 6"/>
              <a:gd name="f23" fmla="val 8"/>
              <a:gd name="f24" fmla="val 10"/>
              <a:gd name="f25" fmla="val 13"/>
              <a:gd name="f26" fmla="val 14"/>
              <a:gd name="f27" fmla="val 57"/>
              <a:gd name="f28" fmla="val 37"/>
              <a:gd name="f29" fmla="val 113"/>
              <a:gd name="f30" fmla="val 16"/>
              <a:gd name="f31" fmla="val 225"/>
              <a:gd name="f32" fmla="val 281"/>
              <a:gd name="f33" fmla="val 324"/>
              <a:gd name="f34" fmla="val 327"/>
              <a:gd name="f35" fmla="val 83"/>
              <a:gd name="f36" fmla="val 332"/>
              <a:gd name="f37" fmla="val 68"/>
              <a:gd name="f38" fmla="val 126"/>
              <a:gd name="f39" fmla="val 84"/>
              <a:gd name="f40" fmla="val 51"/>
              <a:gd name="f41" fmla="val 117"/>
              <a:gd name="f42" fmla="val 48"/>
              <a:gd name="f43" fmla="val 120"/>
              <a:gd name="f44" fmla="val 125"/>
              <a:gd name="f45" fmla="val 128"/>
              <a:gd name="f46" fmla="val 52"/>
              <a:gd name="f47" fmla="val 130"/>
              <a:gd name="f48" fmla="val 55"/>
              <a:gd name="f49" fmla="val 59"/>
              <a:gd name="f50" fmla="val 61"/>
              <a:gd name="f51" fmla="val 62"/>
              <a:gd name="f52" fmla="val 92"/>
              <a:gd name="f53" fmla="val 99"/>
              <a:gd name="f54" fmla="val 208"/>
              <a:gd name="f55" fmla="val 246"/>
              <a:gd name="f56" fmla="val 276"/>
              <a:gd name="f57" fmla="val 279"/>
              <a:gd name="f58" fmla="val 131"/>
              <a:gd name="f59" fmla="val 284"/>
              <a:gd name="f60" fmla="val 287"/>
              <a:gd name="f61" fmla="val 255"/>
              <a:gd name="f62" fmla="val 212"/>
              <a:gd name="f63" fmla="val 136"/>
              <a:gd name="f64" fmla="val 144"/>
              <a:gd name="f65" fmla="val 118"/>
              <a:gd name="f66" fmla="val 146"/>
              <a:gd name="f67" fmla="val 165"/>
              <a:gd name="f68" fmla="val 96"/>
              <a:gd name="f69" fmla="val 168"/>
              <a:gd name="f70" fmla="val 173"/>
              <a:gd name="f71" fmla="val 176"/>
              <a:gd name="f72" fmla="val 102"/>
              <a:gd name="f73" fmla="val 179"/>
              <a:gd name="f74" fmla="val 107"/>
              <a:gd name="f75" fmla="val 110"/>
              <a:gd name="f76" fmla="val 127"/>
              <a:gd name="f77" fmla="val 160"/>
              <a:gd name="f78" fmla="val 148"/>
              <a:gd name="f79" fmla="val 152"/>
              <a:gd name="f80" fmla="val 190"/>
              <a:gd name="f81" fmla="val 228"/>
              <a:gd name="f82" fmla="val 178"/>
              <a:gd name="f83" fmla="val 231"/>
              <a:gd name="f84" fmla="val 234"/>
              <a:gd name="f85" fmla="val 236"/>
              <a:gd name="f86" fmla="val 238"/>
              <a:gd name="f87" fmla="val 239"/>
              <a:gd name="f88" fmla="val 242"/>
              <a:gd name="f89" fmla="val 220"/>
              <a:gd name="f90" fmla="val 194"/>
              <a:gd name="f91" fmla="val 139"/>
              <a:gd name="f92" fmla="val 217"/>
              <a:gd name="f93" fmla="val 123"/>
              <a:gd name="f94" fmla="val 260"/>
              <a:gd name="f95" fmla="val 277"/>
              <a:gd name="f96" fmla="val 156"/>
              <a:gd name="f97" fmla="val 183"/>
              <a:gd name="f98" fmla="val 199"/>
              <a:gd name="f99" fmla="val 216"/>
              <a:gd name="f100" fmla="val 200"/>
              <a:gd name="f101" fmla="+- 0 0 -90"/>
              <a:gd name="f102" fmla="*/ f3 1 339"/>
              <a:gd name="f103" fmla="*/ f4 1 293"/>
              <a:gd name="f104" fmla="+- f7 0 f5"/>
              <a:gd name="f105" fmla="+- f6 0 f5"/>
              <a:gd name="f106" fmla="*/ f101 f0 1"/>
              <a:gd name="f107" fmla="*/ f105 1 339"/>
              <a:gd name="f108" fmla="*/ f104 1 293"/>
              <a:gd name="f109" fmla="*/ 2147483647 f105 1"/>
              <a:gd name="f110" fmla="*/ 2147483647 f104 1"/>
              <a:gd name="f111" fmla="*/ 0 f104 1"/>
              <a:gd name="f112" fmla="*/ 0 f105 1"/>
              <a:gd name="f113" fmla="*/ 339 f105 1"/>
              <a:gd name="f114" fmla="*/ 293 f104 1"/>
              <a:gd name="f115" fmla="*/ f106 1 f2"/>
              <a:gd name="f116" fmla="*/ f109 1 339"/>
              <a:gd name="f117" fmla="*/ f110 1 293"/>
              <a:gd name="f118" fmla="*/ f111 1 293"/>
              <a:gd name="f119" fmla="*/ f112 1 339"/>
              <a:gd name="f120" fmla="*/ f113 1 339"/>
              <a:gd name="f121" fmla="*/ f114 1 293"/>
              <a:gd name="f122" fmla="+- f115 0 f1"/>
              <a:gd name="f123" fmla="*/ f116 1 f107"/>
              <a:gd name="f124" fmla="*/ f117 1 f108"/>
              <a:gd name="f125" fmla="*/ f118 1 f108"/>
              <a:gd name="f126" fmla="*/ f119 1 f107"/>
              <a:gd name="f127" fmla="*/ f120 1 f107"/>
              <a:gd name="f128" fmla="*/ f121 1 f108"/>
              <a:gd name="f129" fmla="*/ f126 f102 1"/>
              <a:gd name="f130" fmla="*/ f127 f102 1"/>
              <a:gd name="f131" fmla="*/ f128 f103 1"/>
              <a:gd name="f132" fmla="*/ f125 f103 1"/>
              <a:gd name="f133" fmla="*/ f123 f102 1"/>
              <a:gd name="f134" fmla="*/ f124 f103 1"/>
            </a:gdLst>
            <a:ahLst/>
            <a:cxnLst>
              <a:cxn ang="3cd4">
                <a:pos x="hc" y="t"/>
              </a:cxn>
              <a:cxn ang="0">
                <a:pos x="r" y="vc"/>
              </a:cxn>
              <a:cxn ang="cd4">
                <a:pos x="hc" y="b"/>
              </a:cxn>
              <a:cxn ang="cd2">
                <a:pos x="l" y="vc"/>
              </a:cxn>
              <a:cxn ang="f122">
                <a:pos x="f133" y="f134"/>
              </a:cxn>
              <a:cxn ang="f122">
                <a:pos x="f133" y="f132"/>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Lst>
            <a:rect l="f129" t="f132" r="f130" b="f131"/>
            <a:pathLst>
              <a:path w="339" h="293">
                <a:moveTo>
                  <a:pt x="f8" y="f9"/>
                </a:moveTo>
                <a:cubicBezTo>
                  <a:pt x="f10" y="f11"/>
                  <a:pt x="f12" y="f5"/>
                  <a:pt x="f13" y="f5"/>
                </a:cubicBezTo>
                <a:cubicBezTo>
                  <a:pt x="f14" y="f5"/>
                  <a:pt x="f15" y="f11"/>
                  <a:pt x="f16" y="f9"/>
                </a:cubicBezTo>
                <a:cubicBezTo>
                  <a:pt x="f5" y="f17"/>
                  <a:pt x="f5" y="f18"/>
                  <a:pt x="f16" y="f19"/>
                </a:cubicBezTo>
                <a:cubicBezTo>
                  <a:pt x="f20" y="f21"/>
                  <a:pt x="f22" y="f21"/>
                  <a:pt x="f23" y="f21"/>
                </a:cubicBezTo>
                <a:cubicBezTo>
                  <a:pt x="f24" y="f21"/>
                  <a:pt x="f25" y="f21"/>
                  <a:pt x="f26" y="f19"/>
                </a:cubicBezTo>
                <a:cubicBezTo>
                  <a:pt x="f27" y="f28"/>
                  <a:pt x="f29" y="f30"/>
                  <a:pt x="f13" y="f30"/>
                </a:cubicBezTo>
                <a:cubicBezTo>
                  <a:pt x="f31" y="f30"/>
                  <a:pt x="f32" y="f28"/>
                  <a:pt x="f33" y="f19"/>
                </a:cubicBezTo>
                <a:cubicBezTo>
                  <a:pt x="f34" y="f35"/>
                  <a:pt x="f36" y="f35"/>
                  <a:pt x="f8" y="f19"/>
                </a:cubicBezTo>
                <a:cubicBezTo>
                  <a:pt x="f6" y="f18"/>
                  <a:pt x="f6" y="f17"/>
                  <a:pt x="f8" y="f9"/>
                </a:cubicBezTo>
                <a:close/>
                <a:moveTo>
                  <a:pt x="f13" y="f37"/>
                </a:moveTo>
                <a:cubicBezTo>
                  <a:pt x="f38" y="f37"/>
                  <a:pt x="f39" y="f39"/>
                  <a:pt x="f40" y="f41"/>
                </a:cubicBezTo>
                <a:cubicBezTo>
                  <a:pt x="f42" y="f43"/>
                  <a:pt x="f42" y="f44"/>
                  <a:pt x="f40" y="f45"/>
                </a:cubicBezTo>
                <a:cubicBezTo>
                  <a:pt x="f46" y="f47"/>
                  <a:pt x="f48" y="f47"/>
                  <a:pt x="f27" y="f47"/>
                </a:cubicBezTo>
                <a:cubicBezTo>
                  <a:pt x="f49" y="f47"/>
                  <a:pt x="f50" y="f47"/>
                  <a:pt x="f51" y="f45"/>
                </a:cubicBezTo>
                <a:cubicBezTo>
                  <a:pt x="f51" y="f45"/>
                  <a:pt x="f51" y="f45"/>
                  <a:pt x="f51" y="f45"/>
                </a:cubicBezTo>
                <a:cubicBezTo>
                  <a:pt x="f52" y="f53"/>
                  <a:pt x="f47" y="f39"/>
                  <a:pt x="f13" y="f39"/>
                </a:cubicBezTo>
                <a:cubicBezTo>
                  <a:pt x="f54" y="f39"/>
                  <a:pt x="f55" y="f53"/>
                  <a:pt x="f56" y="f45"/>
                </a:cubicBezTo>
                <a:cubicBezTo>
                  <a:pt x="f57" y="f58"/>
                  <a:pt x="f59" y="f58"/>
                  <a:pt x="f60" y="f45"/>
                </a:cubicBezTo>
                <a:cubicBezTo>
                  <a:pt x="f10" y="f44"/>
                  <a:pt x="f10" y="f43"/>
                  <a:pt x="f60" y="f41"/>
                </a:cubicBezTo>
                <a:cubicBezTo>
                  <a:pt x="f61" y="f39"/>
                  <a:pt x="f62" y="f37"/>
                  <a:pt x="f13" y="f37"/>
                </a:cubicBezTo>
                <a:close/>
                <a:moveTo>
                  <a:pt x="f13" y="f63"/>
                </a:moveTo>
                <a:cubicBezTo>
                  <a:pt x="f64" y="f63"/>
                  <a:pt x="f65" y="f66"/>
                  <a:pt x="f53" y="f67"/>
                </a:cubicBezTo>
                <a:cubicBezTo>
                  <a:pt x="f68" y="f69"/>
                  <a:pt x="f68" y="f70"/>
                  <a:pt x="f53" y="f71"/>
                </a:cubicBezTo>
                <a:cubicBezTo>
                  <a:pt x="f72" y="f73"/>
                  <a:pt x="f74" y="f73"/>
                  <a:pt x="f75" y="f71"/>
                </a:cubicBezTo>
                <a:cubicBezTo>
                  <a:pt x="f75" y="f71"/>
                  <a:pt x="f75" y="f71"/>
                  <a:pt x="f75" y="f71"/>
                </a:cubicBezTo>
                <a:cubicBezTo>
                  <a:pt x="f76" y="f77"/>
                  <a:pt x="f78" y="f79"/>
                  <a:pt x="f13" y="f79"/>
                </a:cubicBezTo>
                <a:cubicBezTo>
                  <a:pt x="f80" y="f79"/>
                  <a:pt x="f62" y="f77"/>
                  <a:pt x="f81" y="f71"/>
                </a:cubicBezTo>
                <a:cubicBezTo>
                  <a:pt x="f12" y="f82"/>
                  <a:pt x="f83" y="f73"/>
                  <a:pt x="f84" y="f73"/>
                </a:cubicBezTo>
                <a:cubicBezTo>
                  <a:pt x="f85" y="f73"/>
                  <a:pt x="f86" y="f82"/>
                  <a:pt x="f87" y="f71"/>
                </a:cubicBezTo>
                <a:cubicBezTo>
                  <a:pt x="f88" y="f70"/>
                  <a:pt x="f88" y="f69"/>
                  <a:pt x="f87" y="f67"/>
                </a:cubicBezTo>
                <a:cubicBezTo>
                  <a:pt x="f89" y="f66"/>
                  <a:pt x="f90" y="f63"/>
                  <a:pt x="f13" y="f63"/>
                </a:cubicBezTo>
                <a:close/>
                <a:moveTo>
                  <a:pt x="f91" y="f92"/>
                </a:moveTo>
                <a:cubicBezTo>
                  <a:pt x="f93" y="f84"/>
                  <a:pt x="f93" y="f94"/>
                  <a:pt x="f91" y="f95"/>
                </a:cubicBezTo>
                <a:cubicBezTo>
                  <a:pt x="f96" y="f7"/>
                  <a:pt x="f97" y="f7"/>
                  <a:pt x="f98" y="f95"/>
                </a:cubicBezTo>
                <a:cubicBezTo>
                  <a:pt x="f99" y="f94"/>
                  <a:pt x="f99" y="f84"/>
                  <a:pt x="f98" y="f92"/>
                </a:cubicBezTo>
                <a:cubicBezTo>
                  <a:pt x="f97" y="f100"/>
                  <a:pt x="f96" y="f100"/>
                  <a:pt x="f91" y="f92"/>
                </a:cubicBezTo>
                <a:close/>
              </a:path>
            </a:pathLst>
          </a:custGeom>
          <a:solidFill>
            <a:srgbClr val="7B0663"/>
          </a:solidFill>
          <a:ln cap="flat">
            <a:noFill/>
            <a:prstDash val="solid"/>
          </a:ln>
        </p:spPr>
        <p:txBody>
          <a:bodyPr vert="horz" wrap="square" lIns="91440" tIns="45720" rIns="91440" bIns="45720" anchor="t" anchorCtr="1" compatLnSpc="1">
            <a:noAutofit/>
          </a:bodyPr>
          <a:lstStyle/>
          <a:p>
            <a:pPr marL="0" marR="0" lvl="0" indent="0" algn="ctr"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1" i="0" u="none" strike="noStrike" kern="1200" cap="none" spc="0" baseline="0">
              <a:solidFill>
                <a:srgbClr val="58585A"/>
              </a:solidFill>
              <a:uFillTx/>
              <a:latin typeface="Arial"/>
            </a:endParaRPr>
          </a:p>
        </p:txBody>
      </p:sp>
      <p:sp>
        <p:nvSpPr>
          <p:cNvPr id="56" name="Freeform 2">
            <a:extLst>
              <a:ext uri="{FF2B5EF4-FFF2-40B4-BE49-F238E27FC236}">
                <a16:creationId xmlns:a16="http://schemas.microsoft.com/office/drawing/2014/main" id="{351D2E7C-D8BE-4CBD-A32E-C0EECBB63063}"/>
              </a:ext>
            </a:extLst>
          </p:cNvPr>
          <p:cNvSpPr/>
          <p:nvPr/>
        </p:nvSpPr>
        <p:spPr>
          <a:xfrm>
            <a:off x="4888967" y="2751277"/>
            <a:ext cx="394508" cy="366610"/>
          </a:xfrm>
          <a:custGeom>
            <a:avLst/>
            <a:gdLst>
              <a:gd name="f0" fmla="val 10800000"/>
              <a:gd name="f1" fmla="val 5400000"/>
              <a:gd name="f2" fmla="val 180"/>
              <a:gd name="f3" fmla="val w"/>
              <a:gd name="f4" fmla="val h"/>
              <a:gd name="f5" fmla="val 0"/>
              <a:gd name="f6" fmla="val 383"/>
              <a:gd name="f7" fmla="val 356"/>
              <a:gd name="f8" fmla="val 343"/>
              <a:gd name="f9" fmla="val 220"/>
              <a:gd name="f10" fmla="val 347"/>
              <a:gd name="f11" fmla="val 351"/>
              <a:gd name="f12" fmla="val 216"/>
              <a:gd name="f13" fmla="val 212"/>
              <a:gd name="f14" fmla="val 182"/>
              <a:gd name="f15" fmla="val 350"/>
              <a:gd name="f16" fmla="val 178"/>
              <a:gd name="f17" fmla="val 349"/>
              <a:gd name="f18" fmla="val 177"/>
              <a:gd name="f19" fmla="val 175"/>
              <a:gd name="f20" fmla="val 345"/>
              <a:gd name="f21" fmla="val 174"/>
              <a:gd name="f22" fmla="val 300"/>
              <a:gd name="f23" fmla="val 297"/>
              <a:gd name="f24" fmla="val 295"/>
              <a:gd name="f25" fmla="val 294"/>
              <a:gd name="f26" fmla="val 292"/>
              <a:gd name="f27" fmla="val 305"/>
              <a:gd name="f28" fmla="val 279"/>
              <a:gd name="f29" fmla="val 158"/>
              <a:gd name="f30" fmla="val 155"/>
              <a:gd name="f31" fmla="val 278"/>
              <a:gd name="f32" fmla="val 153"/>
              <a:gd name="f33" fmla="val 277"/>
              <a:gd name="f34" fmla="val 152"/>
              <a:gd name="f35" fmla="val 256"/>
              <a:gd name="f36" fmla="val 132"/>
              <a:gd name="f37" fmla="val 123"/>
              <a:gd name="f38" fmla="val 121"/>
              <a:gd name="f39" fmla="val 255"/>
              <a:gd name="f40" fmla="val 119"/>
              <a:gd name="f41" fmla="val 254"/>
              <a:gd name="f42" fmla="val 117"/>
              <a:gd name="f43" fmla="val 245"/>
              <a:gd name="f44" fmla="val 108"/>
              <a:gd name="f45" fmla="val 92"/>
              <a:gd name="f46" fmla="val 89"/>
              <a:gd name="f47" fmla="val 244"/>
              <a:gd name="f48" fmla="val 87"/>
              <a:gd name="f49" fmla="val 243"/>
              <a:gd name="f50" fmla="val 86"/>
              <a:gd name="f51" fmla="val 239"/>
              <a:gd name="f52" fmla="val 82"/>
              <a:gd name="f53" fmla="val 60"/>
              <a:gd name="f54" fmla="val 57"/>
              <a:gd name="f55" fmla="val 238"/>
              <a:gd name="f56" fmla="val 55"/>
              <a:gd name="f57" fmla="val 236"/>
              <a:gd name="f58" fmla="val 54"/>
              <a:gd name="f59" fmla="val 217"/>
              <a:gd name="f60" fmla="val 35"/>
              <a:gd name="f61" fmla="val 8"/>
              <a:gd name="f62" fmla="val 4"/>
              <a:gd name="f63" fmla="val 214"/>
              <a:gd name="f64" fmla="val 209"/>
              <a:gd name="f65" fmla="val 205"/>
              <a:gd name="f66" fmla="val 201"/>
              <a:gd name="f67" fmla="val 181"/>
              <a:gd name="f68" fmla="val 176"/>
              <a:gd name="f69" fmla="val 165"/>
              <a:gd name="f70" fmla="val 163"/>
              <a:gd name="f71" fmla="val 162"/>
              <a:gd name="f72" fmla="val 142"/>
              <a:gd name="f73" fmla="val 141"/>
              <a:gd name="f74" fmla="val 140"/>
              <a:gd name="f75" fmla="val 264"/>
              <a:gd name="f76" fmla="val 127"/>
              <a:gd name="f77" fmla="val 126"/>
              <a:gd name="f78" fmla="val 138"/>
              <a:gd name="f79" fmla="val 124"/>
              <a:gd name="f80" fmla="val 136"/>
              <a:gd name="f81" fmla="val 103"/>
              <a:gd name="f82" fmla="val 100"/>
              <a:gd name="f83" fmla="val 96"/>
              <a:gd name="f84" fmla="val 93"/>
              <a:gd name="f85" fmla="val 73"/>
              <a:gd name="f86" fmla="val 71"/>
              <a:gd name="f87" fmla="val 70"/>
              <a:gd name="f88" fmla="val 226"/>
              <a:gd name="f89" fmla="val 40"/>
              <a:gd name="f90" fmla="val 38"/>
              <a:gd name="f91" fmla="val 227"/>
              <a:gd name="f92" fmla="val 34"/>
              <a:gd name="f93" fmla="val 228"/>
              <a:gd name="f94" fmla="val 33"/>
              <a:gd name="f95" fmla="val 230"/>
              <a:gd name="f96" fmla="val 32"/>
              <a:gd name="f97" fmla="val 232"/>
              <a:gd name="f98" fmla="val 234"/>
              <a:gd name="f99" fmla="val 340"/>
              <a:gd name="f100" fmla="val 3"/>
              <a:gd name="f101" fmla="val 348"/>
              <a:gd name="f102" fmla="val 352"/>
              <a:gd name="f103" fmla="val 42"/>
              <a:gd name="f104" fmla="val 44"/>
              <a:gd name="f105" fmla="val 355"/>
              <a:gd name="f106" fmla="val 45"/>
              <a:gd name="f107" fmla="val 353"/>
              <a:gd name="f108" fmla="val 47"/>
              <a:gd name="f109" fmla="val 48"/>
              <a:gd name="f110" fmla="val 242"/>
              <a:gd name="f111" fmla="val 78"/>
              <a:gd name="f112" fmla="val 80"/>
              <a:gd name="f113" fmla="val 241"/>
              <a:gd name="f114" fmla="val 83"/>
              <a:gd name="f115" fmla="val 240"/>
              <a:gd name="f116" fmla="val 85"/>
              <a:gd name="f117" fmla="val 146"/>
              <a:gd name="f118" fmla="val 98"/>
              <a:gd name="f119" fmla="val 111"/>
              <a:gd name="f120" fmla="val 272"/>
              <a:gd name="f121" fmla="val 274"/>
              <a:gd name="f122" fmla="val 112"/>
              <a:gd name="f123" fmla="val 276"/>
              <a:gd name="f124" fmla="val 113"/>
              <a:gd name="f125" fmla="val 115"/>
              <a:gd name="f126" fmla="val 280"/>
              <a:gd name="f127" fmla="val 148"/>
              <a:gd name="f128" fmla="val 150"/>
              <a:gd name="f129" fmla="val 156"/>
              <a:gd name="f130" fmla="val 161"/>
              <a:gd name="f131" fmla="val 139"/>
              <a:gd name="f132" fmla="val 137"/>
              <a:gd name="f133" fmla="val 135"/>
              <a:gd name="f134" fmla="val 187"/>
              <a:gd name="f135" fmla="val 189"/>
              <a:gd name="f136" fmla="val 116"/>
              <a:gd name="f137" fmla="val 190"/>
              <a:gd name="f138" fmla="val 114"/>
              <a:gd name="f139" fmla="val 95"/>
              <a:gd name="f140" fmla="val 194"/>
              <a:gd name="f141" fmla="val 91"/>
              <a:gd name="f142" fmla="val 195"/>
              <a:gd name="f143" fmla="val 196"/>
              <a:gd name="f144" fmla="val 63"/>
              <a:gd name="f145" fmla="val 50"/>
              <a:gd name="f146" fmla="val 223"/>
              <a:gd name="f147" fmla="val 224"/>
              <a:gd name="f148" fmla="val 225"/>
              <a:gd name="f149" fmla="val 229"/>
              <a:gd name="f150" fmla="val 231"/>
              <a:gd name="f151" fmla="val 263"/>
              <a:gd name="f152" fmla="val 313"/>
              <a:gd name="f153" fmla="val 315"/>
              <a:gd name="f154" fmla="val 317"/>
              <a:gd name="f155" fmla="val 265"/>
              <a:gd name="f156" fmla="val 318"/>
              <a:gd name="f157" fmla="val 267"/>
              <a:gd name="f158" fmla="val 320"/>
              <a:gd name="f159" fmla="val 269"/>
              <a:gd name="f160" fmla="val 321"/>
              <a:gd name="f161" fmla="val 271"/>
              <a:gd name="f162" fmla="val 302"/>
              <a:gd name="f163" fmla="val 304"/>
              <a:gd name="f164" fmla="val 307"/>
              <a:gd name="f165" fmla="val 308"/>
              <a:gd name="f166" fmla="val 335"/>
              <a:gd name="f167" fmla="val 339"/>
              <a:gd name="f168" fmla="val 375"/>
              <a:gd name="f169" fmla="val 235"/>
              <a:gd name="f170" fmla="val 336"/>
              <a:gd name="f171" fmla="val 337"/>
              <a:gd name="f172" fmla="val 341"/>
              <a:gd name="f173" fmla="val 379"/>
              <a:gd name="f174" fmla="+- 0 0 -90"/>
              <a:gd name="f175" fmla="*/ f3 1 383"/>
              <a:gd name="f176" fmla="*/ f4 1 356"/>
              <a:gd name="f177" fmla="+- f7 0 f5"/>
              <a:gd name="f178" fmla="+- f6 0 f5"/>
              <a:gd name="f179" fmla="*/ f174 f0 1"/>
              <a:gd name="f180" fmla="*/ f178 1 383"/>
              <a:gd name="f181" fmla="*/ f177 1 356"/>
              <a:gd name="f182" fmla="*/ 2147483646 f178 1"/>
              <a:gd name="f183" fmla="*/ 2147483646 f177 1"/>
              <a:gd name="f184" fmla="*/ 0 f177 1"/>
              <a:gd name="f185" fmla="*/ 0 f178 1"/>
              <a:gd name="f186" fmla="*/ f179 1 f2"/>
              <a:gd name="f187" fmla="*/ f182 1 383"/>
              <a:gd name="f188" fmla="*/ f183 1 356"/>
              <a:gd name="f189" fmla="*/ f184 1 356"/>
              <a:gd name="f190" fmla="*/ f185 1 383"/>
              <a:gd name="f191" fmla="*/ 0 1 f180"/>
              <a:gd name="f192" fmla="*/ f6 1 f180"/>
              <a:gd name="f193" fmla="*/ 0 1 f181"/>
              <a:gd name="f194" fmla="*/ f7 1 f181"/>
              <a:gd name="f195" fmla="+- f186 0 f1"/>
              <a:gd name="f196" fmla="*/ f187 1 f180"/>
              <a:gd name="f197" fmla="*/ f188 1 f181"/>
              <a:gd name="f198" fmla="*/ f189 1 f181"/>
              <a:gd name="f199" fmla="*/ f190 1 f180"/>
              <a:gd name="f200" fmla="*/ f191 f175 1"/>
              <a:gd name="f201" fmla="*/ f192 f175 1"/>
              <a:gd name="f202" fmla="*/ f194 f176 1"/>
              <a:gd name="f203" fmla="*/ f193 f176 1"/>
              <a:gd name="f204" fmla="*/ f196 f175 1"/>
              <a:gd name="f205" fmla="*/ f197 f176 1"/>
              <a:gd name="f206" fmla="*/ f198 f176 1"/>
              <a:gd name="f207" fmla="*/ f199 f175 1"/>
            </a:gdLst>
            <a:ahLst/>
            <a:cxnLst>
              <a:cxn ang="3cd4">
                <a:pos x="hc" y="t"/>
              </a:cxn>
              <a:cxn ang="0">
                <a:pos x="r" y="vc"/>
              </a:cxn>
              <a:cxn ang="cd4">
                <a:pos x="hc" y="b"/>
              </a:cxn>
              <a:cxn ang="cd2">
                <a:pos x="l" y="vc"/>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6"/>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7"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Lst>
            <a:rect l="f200" t="f203" r="f201" b="f202"/>
            <a:pathLst>
              <a:path w="383" h="356">
                <a:moveTo>
                  <a:pt x="f8" y="f9"/>
                </a:moveTo>
                <a:cubicBezTo>
                  <a:pt x="f10" y="f9"/>
                  <a:pt x="f11" y="f12"/>
                  <a:pt x="f11" y="f13"/>
                </a:cubicBezTo>
                <a:cubicBezTo>
                  <a:pt x="f11" y="f13"/>
                  <a:pt x="f11" y="f13"/>
                  <a:pt x="f11" y="f13"/>
                </a:cubicBezTo>
                <a:cubicBezTo>
                  <a:pt x="f11" y="f14"/>
                  <a:pt x="f11" y="f14"/>
                  <a:pt x="f11" y="f14"/>
                </a:cubicBezTo>
                <a:cubicBezTo>
                  <a:pt x="f11" y="f2"/>
                  <a:pt x="f15" y="f16"/>
                  <a:pt x="f17" y="f18"/>
                </a:cubicBezTo>
                <a:cubicBezTo>
                  <a:pt x="f10" y="f19"/>
                  <a:pt x="f20" y="f21"/>
                  <a:pt x="f8" y="f21"/>
                </a:cubicBezTo>
                <a:cubicBezTo>
                  <a:pt x="f22" y="f21"/>
                  <a:pt x="f22" y="f21"/>
                  <a:pt x="f22" y="f21"/>
                </a:cubicBezTo>
                <a:cubicBezTo>
                  <a:pt x="f23" y="f21"/>
                  <a:pt x="f24" y="f19"/>
                  <a:pt x="f25" y="f18"/>
                </a:cubicBezTo>
                <a:cubicBezTo>
                  <a:pt x="f26" y="f16"/>
                  <a:pt x="f26" y="f2"/>
                  <a:pt x="f26" y="f14"/>
                </a:cubicBezTo>
                <a:cubicBezTo>
                  <a:pt x="f26" y="f27"/>
                  <a:pt x="f26" y="f27"/>
                  <a:pt x="f26" y="f27"/>
                </a:cubicBezTo>
                <a:cubicBezTo>
                  <a:pt x="f28" y="f27"/>
                  <a:pt x="f28" y="f27"/>
                  <a:pt x="f28" y="f27"/>
                </a:cubicBezTo>
                <a:cubicBezTo>
                  <a:pt x="f28" y="f29"/>
                  <a:pt x="f28" y="f29"/>
                  <a:pt x="f28" y="f29"/>
                </a:cubicBezTo>
                <a:cubicBezTo>
                  <a:pt x="f28" y="f30"/>
                  <a:pt x="f31" y="f32"/>
                  <a:pt x="f33" y="f34"/>
                </a:cubicBezTo>
                <a:cubicBezTo>
                  <a:pt x="f35" y="f36"/>
                  <a:pt x="f35" y="f36"/>
                  <a:pt x="f35" y="f36"/>
                </a:cubicBezTo>
                <a:cubicBezTo>
                  <a:pt x="f35" y="f37"/>
                  <a:pt x="f35" y="f37"/>
                  <a:pt x="f35" y="f37"/>
                </a:cubicBezTo>
                <a:cubicBezTo>
                  <a:pt x="f35" y="f38"/>
                  <a:pt x="f39" y="f40"/>
                  <a:pt x="f41" y="f42"/>
                </a:cubicBezTo>
                <a:cubicBezTo>
                  <a:pt x="f43" y="f44"/>
                  <a:pt x="f43" y="f44"/>
                  <a:pt x="f43" y="f44"/>
                </a:cubicBezTo>
                <a:cubicBezTo>
                  <a:pt x="f43" y="f45"/>
                  <a:pt x="f43" y="f45"/>
                  <a:pt x="f43" y="f45"/>
                </a:cubicBezTo>
                <a:cubicBezTo>
                  <a:pt x="f43" y="f46"/>
                  <a:pt x="f47" y="f48"/>
                  <a:pt x="f49" y="f50"/>
                </a:cubicBezTo>
                <a:cubicBezTo>
                  <a:pt x="f49" y="f50"/>
                  <a:pt x="f49" y="f50"/>
                  <a:pt x="f49" y="f50"/>
                </a:cubicBezTo>
                <a:cubicBezTo>
                  <a:pt x="f51" y="f52"/>
                  <a:pt x="f51" y="f52"/>
                  <a:pt x="f51" y="f52"/>
                </a:cubicBezTo>
                <a:cubicBezTo>
                  <a:pt x="f51" y="f53"/>
                  <a:pt x="f51" y="f53"/>
                  <a:pt x="f51" y="f53"/>
                </a:cubicBezTo>
                <a:cubicBezTo>
                  <a:pt x="f51" y="f54"/>
                  <a:pt x="f55" y="f56"/>
                  <a:pt x="f57" y="f58"/>
                </a:cubicBezTo>
                <a:cubicBezTo>
                  <a:pt x="f59" y="f60"/>
                  <a:pt x="f59" y="f60"/>
                  <a:pt x="f59" y="f60"/>
                </a:cubicBezTo>
                <a:cubicBezTo>
                  <a:pt x="f59" y="f61"/>
                  <a:pt x="f59" y="f61"/>
                  <a:pt x="f59" y="f61"/>
                </a:cubicBezTo>
                <a:cubicBezTo>
                  <a:pt x="f59" y="f62"/>
                  <a:pt x="f63" y="f5"/>
                  <a:pt x="f64" y="f5"/>
                </a:cubicBezTo>
                <a:cubicBezTo>
                  <a:pt x="f65" y="f5"/>
                  <a:pt x="f66" y="f62"/>
                  <a:pt x="f66" y="f61"/>
                </a:cubicBezTo>
                <a:cubicBezTo>
                  <a:pt x="f66" y="f60"/>
                  <a:pt x="f66" y="f60"/>
                  <a:pt x="f66" y="f60"/>
                </a:cubicBezTo>
                <a:cubicBezTo>
                  <a:pt x="f14" y="f58"/>
                  <a:pt x="f14" y="f58"/>
                  <a:pt x="f14" y="f58"/>
                </a:cubicBezTo>
                <a:cubicBezTo>
                  <a:pt x="f67" y="f56"/>
                  <a:pt x="f2" y="f54"/>
                  <a:pt x="f2" y="f53"/>
                </a:cubicBezTo>
                <a:cubicBezTo>
                  <a:pt x="f2" y="f52"/>
                  <a:pt x="f2" y="f52"/>
                  <a:pt x="f2" y="f52"/>
                </a:cubicBezTo>
                <a:cubicBezTo>
                  <a:pt x="f68" y="f50"/>
                  <a:pt x="f68" y="f50"/>
                  <a:pt x="f68" y="f50"/>
                </a:cubicBezTo>
                <a:cubicBezTo>
                  <a:pt x="f21" y="f48"/>
                  <a:pt x="f21" y="f46"/>
                  <a:pt x="f21" y="f45"/>
                </a:cubicBezTo>
                <a:cubicBezTo>
                  <a:pt x="f21" y="f44"/>
                  <a:pt x="f21" y="f44"/>
                  <a:pt x="f21" y="f44"/>
                </a:cubicBezTo>
                <a:cubicBezTo>
                  <a:pt x="f69" y="f42"/>
                  <a:pt x="f69" y="f42"/>
                  <a:pt x="f69" y="f42"/>
                </a:cubicBezTo>
                <a:cubicBezTo>
                  <a:pt x="f70" y="f40"/>
                  <a:pt x="f71" y="f38"/>
                  <a:pt x="f71" y="f37"/>
                </a:cubicBezTo>
                <a:cubicBezTo>
                  <a:pt x="f71" y="f36"/>
                  <a:pt x="f71" y="f36"/>
                  <a:pt x="f71" y="f36"/>
                </a:cubicBezTo>
                <a:cubicBezTo>
                  <a:pt x="f72" y="f34"/>
                  <a:pt x="f72" y="f34"/>
                  <a:pt x="f72" y="f34"/>
                </a:cubicBezTo>
                <a:cubicBezTo>
                  <a:pt x="f73" y="f32"/>
                  <a:pt x="f74" y="f30"/>
                  <a:pt x="f74" y="f29"/>
                </a:cubicBezTo>
                <a:cubicBezTo>
                  <a:pt x="f74" y="f75"/>
                  <a:pt x="f74" y="f75"/>
                  <a:pt x="f74" y="f75"/>
                </a:cubicBezTo>
                <a:cubicBezTo>
                  <a:pt x="f76" y="f75"/>
                  <a:pt x="f76" y="f75"/>
                  <a:pt x="f76" y="f75"/>
                </a:cubicBezTo>
                <a:cubicBezTo>
                  <a:pt x="f76" y="f72"/>
                  <a:pt x="f76" y="f72"/>
                  <a:pt x="f76" y="f72"/>
                </a:cubicBezTo>
                <a:cubicBezTo>
                  <a:pt x="f76" y="f74"/>
                  <a:pt x="f77" y="f78"/>
                  <a:pt x="f79" y="f80"/>
                </a:cubicBezTo>
                <a:cubicBezTo>
                  <a:pt x="f81" y="f40"/>
                  <a:pt x="f81" y="f40"/>
                  <a:pt x="f81" y="f40"/>
                </a:cubicBezTo>
                <a:cubicBezTo>
                  <a:pt x="f82" y="f42"/>
                  <a:pt x="f83" y="f42"/>
                  <a:pt x="f84" y="f40"/>
                </a:cubicBezTo>
                <a:cubicBezTo>
                  <a:pt x="f85" y="f80"/>
                  <a:pt x="f85" y="f80"/>
                  <a:pt x="f85" y="f80"/>
                </a:cubicBezTo>
                <a:cubicBezTo>
                  <a:pt x="f86" y="f78"/>
                  <a:pt x="f87" y="f74"/>
                  <a:pt x="f87" y="f72"/>
                </a:cubicBezTo>
                <a:cubicBezTo>
                  <a:pt x="f87" y="f88"/>
                  <a:pt x="f87" y="f88"/>
                  <a:pt x="f87" y="f88"/>
                </a:cubicBezTo>
                <a:cubicBezTo>
                  <a:pt x="f89" y="f88"/>
                  <a:pt x="f89" y="f88"/>
                  <a:pt x="f89" y="f88"/>
                </a:cubicBezTo>
                <a:cubicBezTo>
                  <a:pt x="f90" y="f88"/>
                  <a:pt x="f60" y="f91"/>
                  <a:pt x="f92" y="f93"/>
                </a:cubicBezTo>
                <a:cubicBezTo>
                  <a:pt x="f94" y="f95"/>
                  <a:pt x="f96" y="f97"/>
                  <a:pt x="f96" y="f98"/>
                </a:cubicBezTo>
                <a:cubicBezTo>
                  <a:pt x="f96" y="f99"/>
                  <a:pt x="f96" y="f99"/>
                  <a:pt x="f96" y="f99"/>
                </a:cubicBezTo>
                <a:cubicBezTo>
                  <a:pt x="f61" y="f99"/>
                  <a:pt x="f61" y="f99"/>
                  <a:pt x="f61" y="f99"/>
                </a:cubicBezTo>
                <a:cubicBezTo>
                  <a:pt x="f100" y="f99"/>
                  <a:pt x="f5" y="f8"/>
                  <a:pt x="f5" y="f101"/>
                </a:cubicBezTo>
                <a:cubicBezTo>
                  <a:pt x="f5" y="f102"/>
                  <a:pt x="f100" y="f7"/>
                  <a:pt x="f61" y="f7"/>
                </a:cubicBezTo>
                <a:cubicBezTo>
                  <a:pt x="f89" y="f7"/>
                  <a:pt x="f89" y="f7"/>
                  <a:pt x="f89" y="f7"/>
                </a:cubicBezTo>
                <a:cubicBezTo>
                  <a:pt x="f103" y="f7"/>
                  <a:pt x="f104" y="f105"/>
                  <a:pt x="f106" y="f107"/>
                </a:cubicBezTo>
                <a:cubicBezTo>
                  <a:pt x="f108" y="f102"/>
                  <a:pt x="f109" y="f15"/>
                  <a:pt x="f109" y="f101"/>
                </a:cubicBezTo>
                <a:cubicBezTo>
                  <a:pt x="f109" y="f110"/>
                  <a:pt x="f109" y="f110"/>
                  <a:pt x="f109" y="f110"/>
                </a:cubicBezTo>
                <a:cubicBezTo>
                  <a:pt x="f111" y="f110"/>
                  <a:pt x="f111" y="f110"/>
                  <a:pt x="f111" y="f110"/>
                </a:cubicBezTo>
                <a:cubicBezTo>
                  <a:pt x="f112" y="f110"/>
                  <a:pt x="f52" y="f113"/>
                  <a:pt x="f114" y="f115"/>
                </a:cubicBezTo>
                <a:cubicBezTo>
                  <a:pt x="f116" y="f55"/>
                  <a:pt x="f50" y="f57"/>
                  <a:pt x="f50" y="f98"/>
                </a:cubicBezTo>
                <a:cubicBezTo>
                  <a:pt x="f50" y="f117"/>
                  <a:pt x="f50" y="f117"/>
                  <a:pt x="f50" y="f117"/>
                </a:cubicBezTo>
                <a:cubicBezTo>
                  <a:pt x="f118" y="f80"/>
                  <a:pt x="f118" y="f80"/>
                  <a:pt x="f118" y="f80"/>
                </a:cubicBezTo>
                <a:cubicBezTo>
                  <a:pt x="f119" y="f117"/>
                  <a:pt x="f119" y="f117"/>
                  <a:pt x="f119" y="f117"/>
                </a:cubicBezTo>
                <a:cubicBezTo>
                  <a:pt x="f119" y="f120"/>
                  <a:pt x="f119" y="f120"/>
                  <a:pt x="f119" y="f120"/>
                </a:cubicBezTo>
                <a:cubicBezTo>
                  <a:pt x="f119" y="f121"/>
                  <a:pt x="f122" y="f123"/>
                  <a:pt x="f124" y="f31"/>
                </a:cubicBezTo>
                <a:cubicBezTo>
                  <a:pt x="f125" y="f28"/>
                  <a:pt x="f42" y="f126"/>
                  <a:pt x="f40" y="f126"/>
                </a:cubicBezTo>
                <a:cubicBezTo>
                  <a:pt x="f127" y="f126"/>
                  <a:pt x="f127" y="f126"/>
                  <a:pt x="f127" y="f126"/>
                </a:cubicBezTo>
                <a:cubicBezTo>
                  <a:pt x="f128" y="f126"/>
                  <a:pt x="f34" y="f28"/>
                  <a:pt x="f32" y="f31"/>
                </a:cubicBezTo>
                <a:cubicBezTo>
                  <a:pt x="f30" y="f123"/>
                  <a:pt x="f129" y="f121"/>
                  <a:pt x="f129" y="f120"/>
                </a:cubicBezTo>
                <a:cubicBezTo>
                  <a:pt x="f129" y="f130"/>
                  <a:pt x="f129" y="f130"/>
                  <a:pt x="f129" y="f130"/>
                </a:cubicBezTo>
                <a:cubicBezTo>
                  <a:pt x="f68" y="f73"/>
                  <a:pt x="f68" y="f73"/>
                  <a:pt x="f68" y="f73"/>
                </a:cubicBezTo>
                <a:cubicBezTo>
                  <a:pt x="f18" y="f131"/>
                  <a:pt x="f16" y="f132"/>
                  <a:pt x="f16" y="f133"/>
                </a:cubicBezTo>
                <a:cubicBezTo>
                  <a:pt x="f16" y="f77"/>
                  <a:pt x="f16" y="f77"/>
                  <a:pt x="f16" y="f77"/>
                </a:cubicBezTo>
                <a:cubicBezTo>
                  <a:pt x="f134" y="f42"/>
                  <a:pt x="f134" y="f42"/>
                  <a:pt x="f134" y="f42"/>
                </a:cubicBezTo>
                <a:cubicBezTo>
                  <a:pt x="f135" y="f136"/>
                  <a:pt x="f137" y="f138"/>
                  <a:pt x="f137" y="f122"/>
                </a:cubicBezTo>
                <a:cubicBezTo>
                  <a:pt x="f137" y="f139"/>
                  <a:pt x="f137" y="f139"/>
                  <a:pt x="f137" y="f139"/>
                </a:cubicBezTo>
                <a:cubicBezTo>
                  <a:pt x="f140" y="f141"/>
                  <a:pt x="f140" y="f141"/>
                  <a:pt x="f140" y="f141"/>
                </a:cubicBezTo>
                <a:cubicBezTo>
                  <a:pt x="f142" y="f46"/>
                  <a:pt x="f143" y="f48"/>
                  <a:pt x="f143" y="f116"/>
                </a:cubicBezTo>
                <a:cubicBezTo>
                  <a:pt x="f143" y="f144"/>
                  <a:pt x="f143" y="f144"/>
                  <a:pt x="f143" y="f144"/>
                </a:cubicBezTo>
                <a:cubicBezTo>
                  <a:pt x="f64" y="f145"/>
                  <a:pt x="f64" y="f145"/>
                  <a:pt x="f64" y="f145"/>
                </a:cubicBezTo>
                <a:cubicBezTo>
                  <a:pt x="f146" y="f144"/>
                  <a:pt x="f146" y="f144"/>
                  <a:pt x="f146" y="f144"/>
                </a:cubicBezTo>
                <a:cubicBezTo>
                  <a:pt x="f146" y="f116"/>
                  <a:pt x="f146" y="f116"/>
                  <a:pt x="f146" y="f116"/>
                </a:cubicBezTo>
                <a:cubicBezTo>
                  <a:pt x="f146" y="f48"/>
                  <a:pt x="f147" y="f46"/>
                  <a:pt x="f148" y="f141"/>
                </a:cubicBezTo>
                <a:cubicBezTo>
                  <a:pt x="f149" y="f139"/>
                  <a:pt x="f149" y="f139"/>
                  <a:pt x="f149" y="f139"/>
                </a:cubicBezTo>
                <a:cubicBezTo>
                  <a:pt x="f149" y="f122"/>
                  <a:pt x="f149" y="f122"/>
                  <a:pt x="f149" y="f122"/>
                </a:cubicBezTo>
                <a:cubicBezTo>
                  <a:pt x="f149" y="f138"/>
                  <a:pt x="f95" y="f136"/>
                  <a:pt x="f150" y="f42"/>
                </a:cubicBezTo>
                <a:cubicBezTo>
                  <a:pt x="f115" y="f77"/>
                  <a:pt x="f115" y="f77"/>
                  <a:pt x="f115" y="f77"/>
                </a:cubicBezTo>
                <a:cubicBezTo>
                  <a:pt x="f115" y="f133"/>
                  <a:pt x="f115" y="f133"/>
                  <a:pt x="f115" y="f133"/>
                </a:cubicBezTo>
                <a:cubicBezTo>
                  <a:pt x="f115" y="f132"/>
                  <a:pt x="f113" y="f131"/>
                  <a:pt x="f49" y="f73"/>
                </a:cubicBezTo>
                <a:cubicBezTo>
                  <a:pt x="f151" y="f130"/>
                  <a:pt x="f151" y="f130"/>
                  <a:pt x="f151" y="f130"/>
                </a:cubicBezTo>
                <a:cubicBezTo>
                  <a:pt x="f151" y="f152"/>
                  <a:pt x="f151" y="f152"/>
                  <a:pt x="f151" y="f152"/>
                </a:cubicBezTo>
                <a:cubicBezTo>
                  <a:pt x="f151" y="f153"/>
                  <a:pt x="f75" y="f154"/>
                  <a:pt x="f155" y="f156"/>
                </a:cubicBezTo>
                <a:cubicBezTo>
                  <a:pt x="f157" y="f158"/>
                  <a:pt x="f159" y="f160"/>
                  <a:pt x="f161" y="f160"/>
                </a:cubicBezTo>
                <a:cubicBezTo>
                  <a:pt x="f22" y="f160"/>
                  <a:pt x="f22" y="f160"/>
                  <a:pt x="f22" y="f160"/>
                </a:cubicBezTo>
                <a:cubicBezTo>
                  <a:pt x="f162" y="f160"/>
                  <a:pt x="f163" y="f158"/>
                  <a:pt x="f27" y="f156"/>
                </a:cubicBezTo>
                <a:cubicBezTo>
                  <a:pt x="f164" y="f154"/>
                  <a:pt x="f165" y="f153"/>
                  <a:pt x="f165" y="f152"/>
                </a:cubicBezTo>
                <a:cubicBezTo>
                  <a:pt x="f165" y="f137"/>
                  <a:pt x="f165" y="f137"/>
                  <a:pt x="f165" y="f137"/>
                </a:cubicBezTo>
                <a:cubicBezTo>
                  <a:pt x="f166" y="f137"/>
                  <a:pt x="f166" y="f137"/>
                  <a:pt x="f166" y="f137"/>
                </a:cubicBezTo>
                <a:cubicBezTo>
                  <a:pt x="f166" y="f13"/>
                  <a:pt x="f166" y="f13"/>
                  <a:pt x="f166" y="f13"/>
                </a:cubicBezTo>
                <a:cubicBezTo>
                  <a:pt x="f166" y="f12"/>
                  <a:pt x="f167" y="f9"/>
                  <a:pt x="f8" y="f9"/>
                </a:cubicBezTo>
                <a:close/>
                <a:moveTo>
                  <a:pt x="f168" y="f99"/>
                </a:moveTo>
                <a:cubicBezTo>
                  <a:pt x="f168" y="f99"/>
                  <a:pt x="f168" y="f99"/>
                  <a:pt x="f168" y="f99"/>
                </a:cubicBezTo>
                <a:cubicBezTo>
                  <a:pt x="f11" y="f99"/>
                  <a:pt x="f11" y="f99"/>
                  <a:pt x="f11" y="f99"/>
                </a:cubicBezTo>
                <a:cubicBezTo>
                  <a:pt x="f11" y="f49"/>
                  <a:pt x="f11" y="f49"/>
                  <a:pt x="f11" y="f49"/>
                </a:cubicBezTo>
                <a:cubicBezTo>
                  <a:pt x="f11" y="f51"/>
                  <a:pt x="f10" y="f169"/>
                  <a:pt x="f8" y="f169"/>
                </a:cubicBezTo>
                <a:cubicBezTo>
                  <a:pt x="f167" y="f169"/>
                  <a:pt x="f166" y="f51"/>
                  <a:pt x="f166" y="f49"/>
                </a:cubicBezTo>
                <a:cubicBezTo>
                  <a:pt x="f166" y="f101"/>
                  <a:pt x="f166" y="f101"/>
                  <a:pt x="f166" y="f101"/>
                </a:cubicBezTo>
                <a:cubicBezTo>
                  <a:pt x="f166" y="f15"/>
                  <a:pt x="f170" y="f102"/>
                  <a:pt x="f171" y="f107"/>
                </a:cubicBezTo>
                <a:cubicBezTo>
                  <a:pt x="f167" y="f105"/>
                  <a:pt x="f172" y="f7"/>
                  <a:pt x="f8" y="f7"/>
                </a:cubicBezTo>
                <a:cubicBezTo>
                  <a:pt x="f168" y="f7"/>
                  <a:pt x="f168" y="f7"/>
                  <a:pt x="f168" y="f7"/>
                </a:cubicBezTo>
                <a:cubicBezTo>
                  <a:pt x="f173" y="f7"/>
                  <a:pt x="f6" y="f102"/>
                  <a:pt x="f6" y="f101"/>
                </a:cubicBezTo>
                <a:cubicBezTo>
                  <a:pt x="f6" y="f8"/>
                  <a:pt x="f173" y="f99"/>
                  <a:pt x="f168" y="f99"/>
                </a:cubicBezTo>
                <a:close/>
              </a:path>
            </a:pathLst>
          </a:custGeom>
          <a:solidFill>
            <a:srgbClr val="7B0663"/>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dirty="0">
              <a:solidFill>
                <a:srgbClr val="58585A"/>
              </a:solidFill>
              <a:uFillTx/>
              <a:latin typeface="Arial"/>
            </a:endParaRPr>
          </a:p>
        </p:txBody>
      </p:sp>
      <p:sp>
        <p:nvSpPr>
          <p:cNvPr id="57" name="Freeform 3">
            <a:extLst>
              <a:ext uri="{FF2B5EF4-FFF2-40B4-BE49-F238E27FC236}">
                <a16:creationId xmlns:a16="http://schemas.microsoft.com/office/drawing/2014/main" id="{3FB4598F-FDCC-4A6D-A837-944382B98D91}"/>
              </a:ext>
            </a:extLst>
          </p:cNvPr>
          <p:cNvSpPr/>
          <p:nvPr/>
        </p:nvSpPr>
        <p:spPr>
          <a:xfrm>
            <a:off x="3879616" y="3510092"/>
            <a:ext cx="412403" cy="250600"/>
          </a:xfrm>
          <a:custGeom>
            <a:avLst/>
            <a:gdLst>
              <a:gd name="f0" fmla="val 10800000"/>
              <a:gd name="f1" fmla="val 5400000"/>
              <a:gd name="f2" fmla="val 360"/>
              <a:gd name="f3" fmla="val 180"/>
              <a:gd name="f4" fmla="val w"/>
              <a:gd name="f5" fmla="val h"/>
              <a:gd name="f6" fmla="val 0"/>
              <a:gd name="f7" fmla="val 464"/>
              <a:gd name="f8" fmla="val 282"/>
              <a:gd name="f9" fmla="val 456"/>
              <a:gd name="f10" fmla="val 52"/>
              <a:gd name="f11" fmla="val 461"/>
              <a:gd name="f12" fmla="val 49"/>
              <a:gd name="f13" fmla="val 44"/>
              <a:gd name="f14" fmla="val 17"/>
              <a:gd name="f15" fmla="val 8"/>
              <a:gd name="f16" fmla="val 447"/>
              <a:gd name="f17" fmla="val 196"/>
              <a:gd name="f18" fmla="val 187"/>
              <a:gd name="f19" fmla="val 179"/>
              <a:gd name="f20" fmla="val 71"/>
              <a:gd name="f21" fmla="val 156"/>
              <a:gd name="f22" fmla="val 63"/>
              <a:gd name="f23" fmla="val 53"/>
              <a:gd name="f24" fmla="val 148"/>
              <a:gd name="f25" fmla="val 45"/>
              <a:gd name="f26" fmla="val 138"/>
              <a:gd name="f27" fmla="val 59"/>
              <a:gd name="f28" fmla="val 24"/>
              <a:gd name="f29" fmla="val 101"/>
              <a:gd name="f30" fmla="val 153"/>
              <a:gd name="f31" fmla="val 240"/>
              <a:gd name="f32" fmla="val 242"/>
              <a:gd name="f33" fmla="val 1"/>
              <a:gd name="f34" fmla="val 244"/>
              <a:gd name="f35" fmla="val 2"/>
              <a:gd name="f36" fmla="val 246"/>
              <a:gd name="f37" fmla="val 4"/>
              <a:gd name="f38" fmla="val 247"/>
              <a:gd name="f39" fmla="val 6"/>
              <a:gd name="f40" fmla="val 248"/>
              <a:gd name="f41" fmla="val 40"/>
              <a:gd name="f42" fmla="val 267"/>
              <a:gd name="f43" fmla="val 61"/>
              <a:gd name="f44" fmla="val 81"/>
              <a:gd name="f45" fmla="val 118"/>
              <a:gd name="f46" fmla="val 122"/>
              <a:gd name="f47" fmla="val 152"/>
              <a:gd name="f48" fmla="val 155"/>
              <a:gd name="f49" fmla="val 245"/>
              <a:gd name="f50" fmla="val 241"/>
              <a:gd name="f51" fmla="val 319"/>
              <a:gd name="f52" fmla="val 263"/>
              <a:gd name="f53" fmla="val 338"/>
              <a:gd name="f54" fmla="val 383"/>
              <a:gd name="f55" fmla="val 402"/>
              <a:gd name="f56" fmla="val 233"/>
              <a:gd name="f57" fmla="val 223"/>
              <a:gd name="f58" fmla="val 76"/>
              <a:gd name="f59" fmla="val 68"/>
              <a:gd name="f60" fmla="val 452"/>
              <a:gd name="f61" fmla="val 448"/>
              <a:gd name="f62" fmla="val 168"/>
              <a:gd name="f63" fmla="val 195"/>
              <a:gd name="f64" fmla="val 16"/>
              <a:gd name="f65" fmla="val 27"/>
              <a:gd name="f66" fmla="val 95"/>
              <a:gd name="f67" fmla="val 28"/>
              <a:gd name="f68" fmla="val 86"/>
              <a:gd name="f69" fmla="val 145"/>
              <a:gd name="f70" fmla="val 127"/>
              <a:gd name="f71" fmla="val 21"/>
              <a:gd name="f72" fmla="val 109"/>
              <a:gd name="f73" fmla="val 266"/>
              <a:gd name="f74" fmla="val 67"/>
              <a:gd name="f75" fmla="val 55"/>
              <a:gd name="f76" fmla="val 254"/>
              <a:gd name="f77" fmla="val 226"/>
              <a:gd name="f78" fmla="val 214"/>
              <a:gd name="f79" fmla="val 107"/>
              <a:gd name="f80" fmla="val 140"/>
              <a:gd name="f81" fmla="val 232"/>
              <a:gd name="f82" fmla="val 213"/>
              <a:gd name="f83" fmla="val 198"/>
              <a:gd name="f84" fmla="val 161"/>
              <a:gd name="f85" fmla="val 94"/>
              <a:gd name="f86" fmla="val 99"/>
              <a:gd name="f87" fmla="val 102"/>
              <a:gd name="f88" fmla="val 157"/>
              <a:gd name="f89" fmla="val 87"/>
              <a:gd name="f90" fmla="val 83"/>
              <a:gd name="f91" fmla="val 79"/>
              <a:gd name="f92" fmla="val 35"/>
              <a:gd name="f93" fmla="val 42"/>
              <a:gd name="f94" fmla="val 50"/>
              <a:gd name="f95" fmla="val 139"/>
              <a:gd name="f96" fmla="val 62"/>
              <a:gd name="f97" fmla="val 225"/>
              <a:gd name="f98" fmla="val 346"/>
              <a:gd name="f99" fmla="val 335"/>
              <a:gd name="f100" fmla="val 375"/>
              <a:gd name="f101" fmla="val 386"/>
              <a:gd name="f102" fmla="val 184"/>
              <a:gd name="f103" fmla="val 224"/>
              <a:gd name="f104" fmla="val 399"/>
              <a:gd name="f105" fmla="val 393"/>
              <a:gd name="f106" fmla="val 209"/>
              <a:gd name="f107" fmla="val 378"/>
              <a:gd name="f108" fmla="val 343"/>
              <a:gd name="f109" fmla="val 327"/>
              <a:gd name="f110" fmla="val 321"/>
              <a:gd name="f111" fmla="+- 0 0 -90"/>
              <a:gd name="f112" fmla="*/ f4 1 464"/>
              <a:gd name="f113" fmla="*/ f5 1 282"/>
              <a:gd name="f114" fmla="+- f8 0 f6"/>
              <a:gd name="f115" fmla="+- f7 0 f6"/>
              <a:gd name="f116" fmla="*/ f111 f0 1"/>
              <a:gd name="f117" fmla="*/ f115 1 464"/>
              <a:gd name="f118" fmla="*/ f114 1 282"/>
              <a:gd name="f119" fmla="*/ 2147483646 f115 1"/>
              <a:gd name="f120" fmla="*/ 2147483646 f114 1"/>
              <a:gd name="f121" fmla="*/ 0 f114 1"/>
              <a:gd name="f122" fmla="*/ 0 f115 1"/>
              <a:gd name="f123" fmla="*/ f116 1 f3"/>
              <a:gd name="f124" fmla="*/ f119 1 464"/>
              <a:gd name="f125" fmla="*/ f120 1 282"/>
              <a:gd name="f126" fmla="*/ f121 1 282"/>
              <a:gd name="f127" fmla="*/ f122 1 464"/>
              <a:gd name="f128" fmla="*/ 0 1 f117"/>
              <a:gd name="f129" fmla="*/ f7 1 f117"/>
              <a:gd name="f130" fmla="*/ 0 1 f118"/>
              <a:gd name="f131" fmla="*/ f8 1 f118"/>
              <a:gd name="f132" fmla="+- f123 0 f1"/>
              <a:gd name="f133" fmla="*/ f124 1 f117"/>
              <a:gd name="f134" fmla="*/ f125 1 f118"/>
              <a:gd name="f135" fmla="*/ f126 1 f118"/>
              <a:gd name="f136" fmla="*/ f127 1 f117"/>
              <a:gd name="f137" fmla="*/ f128 f112 1"/>
              <a:gd name="f138" fmla="*/ f129 f112 1"/>
              <a:gd name="f139" fmla="*/ f131 f113 1"/>
              <a:gd name="f140" fmla="*/ f130 f113 1"/>
              <a:gd name="f141" fmla="*/ f133 f112 1"/>
              <a:gd name="f142" fmla="*/ f134 f113 1"/>
              <a:gd name="f143" fmla="*/ f135 f113 1"/>
              <a:gd name="f144" fmla="*/ f136 f112 1"/>
            </a:gdLst>
            <a:ahLst/>
            <a:cxnLst>
              <a:cxn ang="3cd4">
                <a:pos x="hc" y="t"/>
              </a:cxn>
              <a:cxn ang="0">
                <a:pos x="r" y="vc"/>
              </a:cxn>
              <a:cxn ang="cd4">
                <a:pos x="hc" y="b"/>
              </a:cxn>
              <a:cxn ang="cd2">
                <a:pos x="l" y="vc"/>
              </a:cxn>
              <a:cxn ang="f132">
                <a:pos x="f141" y="f142"/>
              </a:cxn>
              <a:cxn ang="f132">
                <a:pos x="f141" y="f143"/>
              </a:cxn>
              <a:cxn ang="f132">
                <a:pos x="f141" y="f142"/>
              </a:cxn>
              <a:cxn ang="f132">
                <a:pos x="f141" y="f142"/>
              </a:cxn>
              <a:cxn ang="f132">
                <a:pos x="f141" y="f142"/>
              </a:cxn>
              <a:cxn ang="f132">
                <a:pos x="f144"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 ang="f132">
                <a:pos x="f141" y="f142"/>
              </a:cxn>
            </a:cxnLst>
            <a:rect l="f137" t="f140" r="f138" b="f139"/>
            <a:pathLst>
              <a:path w="464" h="282">
                <a:moveTo>
                  <a:pt x="f9" y="f10"/>
                </a:moveTo>
                <a:cubicBezTo>
                  <a:pt x="f11" y="f10"/>
                  <a:pt x="f7" y="f12"/>
                  <a:pt x="f7" y="f13"/>
                </a:cubicBezTo>
                <a:cubicBezTo>
                  <a:pt x="f7" y="f14"/>
                  <a:pt x="f7" y="f14"/>
                  <a:pt x="f7" y="f14"/>
                </a:cubicBezTo>
                <a:cubicBezTo>
                  <a:pt x="f7" y="f15"/>
                  <a:pt x="f9" y="f6"/>
                  <a:pt x="f16" y="f6"/>
                </a:cubicBezTo>
                <a:cubicBezTo>
                  <a:pt x="f17" y="f6"/>
                  <a:pt x="f17" y="f6"/>
                  <a:pt x="f17" y="f6"/>
                </a:cubicBezTo>
                <a:cubicBezTo>
                  <a:pt x="f18" y="f6"/>
                  <a:pt x="f19" y="f15"/>
                  <a:pt x="f19" y="f14"/>
                </a:cubicBezTo>
                <a:cubicBezTo>
                  <a:pt x="f19" y="f20"/>
                  <a:pt x="f19" y="f20"/>
                  <a:pt x="f19" y="f20"/>
                </a:cubicBezTo>
                <a:cubicBezTo>
                  <a:pt x="f21" y="f20"/>
                  <a:pt x="f21" y="f20"/>
                  <a:pt x="f21" y="f20"/>
                </a:cubicBezTo>
                <a:cubicBezTo>
                  <a:pt x="f21" y="f22"/>
                  <a:pt x="f21" y="f22"/>
                  <a:pt x="f21" y="f22"/>
                </a:cubicBezTo>
                <a:cubicBezTo>
                  <a:pt x="f21" y="f23"/>
                  <a:pt x="f24" y="f25"/>
                  <a:pt x="f26" y="f25"/>
                </a:cubicBezTo>
                <a:cubicBezTo>
                  <a:pt x="f27" y="f25"/>
                  <a:pt x="f27" y="f25"/>
                  <a:pt x="f27" y="f25"/>
                </a:cubicBezTo>
                <a:cubicBezTo>
                  <a:pt x="f28" y="f25"/>
                  <a:pt x="f6" y="f29"/>
                  <a:pt x="f6" y="f30"/>
                </a:cubicBezTo>
                <a:cubicBezTo>
                  <a:pt x="f6" y="f31"/>
                  <a:pt x="f6" y="f31"/>
                  <a:pt x="f6" y="f31"/>
                </a:cubicBezTo>
                <a:cubicBezTo>
                  <a:pt x="f6" y="f32"/>
                  <a:pt x="f33" y="f34"/>
                  <a:pt x="f35" y="f36"/>
                </a:cubicBezTo>
                <a:cubicBezTo>
                  <a:pt x="f37" y="f38"/>
                  <a:pt x="f39" y="f40"/>
                  <a:pt x="f15" y="f40"/>
                </a:cubicBezTo>
                <a:cubicBezTo>
                  <a:pt x="f41" y="f40"/>
                  <a:pt x="f41" y="f40"/>
                  <a:pt x="f41" y="f40"/>
                </a:cubicBezTo>
                <a:cubicBezTo>
                  <a:pt x="f13" y="f42"/>
                  <a:pt x="f43" y="f8"/>
                  <a:pt x="f44" y="f8"/>
                </a:cubicBezTo>
                <a:cubicBezTo>
                  <a:pt x="f29" y="f8"/>
                  <a:pt x="f45" y="f42"/>
                  <a:pt x="f46" y="f40"/>
                </a:cubicBezTo>
                <a:cubicBezTo>
                  <a:pt x="f24" y="f40"/>
                  <a:pt x="f24" y="f40"/>
                  <a:pt x="f24" y="f40"/>
                </a:cubicBezTo>
                <a:cubicBezTo>
                  <a:pt x="f47" y="f40"/>
                  <a:pt x="f48" y="f49"/>
                  <a:pt x="f21" y="f50"/>
                </a:cubicBezTo>
                <a:cubicBezTo>
                  <a:pt x="f51" y="f50"/>
                  <a:pt x="f51" y="f50"/>
                  <a:pt x="f51" y="f50"/>
                </a:cubicBezTo>
                <a:cubicBezTo>
                  <a:pt x="f51" y="f52"/>
                  <a:pt x="f53" y="f8"/>
                  <a:pt x="f2" y="f8"/>
                </a:cubicBezTo>
                <a:cubicBezTo>
                  <a:pt x="f54" y="f8"/>
                  <a:pt x="f55" y="f52"/>
                  <a:pt x="f55" y="f50"/>
                </a:cubicBezTo>
                <a:cubicBezTo>
                  <a:pt x="f16" y="f50"/>
                  <a:pt x="f16" y="f50"/>
                  <a:pt x="f16" y="f50"/>
                </a:cubicBezTo>
                <a:cubicBezTo>
                  <a:pt x="f9" y="f50"/>
                  <a:pt x="f7" y="f56"/>
                  <a:pt x="f7" y="f57"/>
                </a:cubicBezTo>
                <a:cubicBezTo>
                  <a:pt x="f7" y="f58"/>
                  <a:pt x="f7" y="f58"/>
                  <a:pt x="f7" y="f58"/>
                </a:cubicBezTo>
                <a:cubicBezTo>
                  <a:pt x="f7" y="f20"/>
                  <a:pt x="f11" y="f59"/>
                  <a:pt x="f9" y="f59"/>
                </a:cubicBezTo>
                <a:cubicBezTo>
                  <a:pt x="f60" y="f59"/>
                  <a:pt x="f61" y="f20"/>
                  <a:pt x="f61" y="f58"/>
                </a:cubicBezTo>
                <a:cubicBezTo>
                  <a:pt x="f61" y="f62"/>
                  <a:pt x="f61" y="f62"/>
                  <a:pt x="f61" y="f62"/>
                </a:cubicBezTo>
                <a:cubicBezTo>
                  <a:pt x="f63" y="f62"/>
                  <a:pt x="f63" y="f62"/>
                  <a:pt x="f63" y="f62"/>
                </a:cubicBezTo>
                <a:cubicBezTo>
                  <a:pt x="f63" y="f14"/>
                  <a:pt x="f63" y="f14"/>
                  <a:pt x="f63" y="f14"/>
                </a:cubicBezTo>
                <a:cubicBezTo>
                  <a:pt x="f63" y="f14"/>
                  <a:pt x="f63" y="f64"/>
                  <a:pt x="f17" y="f64"/>
                </a:cubicBezTo>
                <a:cubicBezTo>
                  <a:pt x="f16" y="f64"/>
                  <a:pt x="f16" y="f64"/>
                  <a:pt x="f16" y="f64"/>
                </a:cubicBezTo>
                <a:cubicBezTo>
                  <a:pt x="f61" y="f64"/>
                  <a:pt x="f61" y="f14"/>
                  <a:pt x="f61" y="f14"/>
                </a:cubicBezTo>
                <a:cubicBezTo>
                  <a:pt x="f61" y="f13"/>
                  <a:pt x="f61" y="f13"/>
                  <a:pt x="f61" y="f13"/>
                </a:cubicBezTo>
                <a:cubicBezTo>
                  <a:pt x="f61" y="f12"/>
                  <a:pt x="f60" y="f10"/>
                  <a:pt x="f9" y="f10"/>
                </a:cubicBezTo>
                <a:close/>
                <a:moveTo>
                  <a:pt x="f65" y="f66"/>
                </a:moveTo>
                <a:cubicBezTo>
                  <a:pt x="f65" y="f66"/>
                  <a:pt x="f67" y="f66"/>
                  <a:pt x="f67" y="f66"/>
                </a:cubicBezTo>
                <a:cubicBezTo>
                  <a:pt x="f68" y="f66"/>
                  <a:pt x="f68" y="f66"/>
                  <a:pt x="f68" y="f66"/>
                </a:cubicBezTo>
                <a:cubicBezTo>
                  <a:pt x="f68" y="f69"/>
                  <a:pt x="f68" y="f69"/>
                  <a:pt x="f68" y="f69"/>
                </a:cubicBezTo>
                <a:cubicBezTo>
                  <a:pt x="f64" y="f69"/>
                  <a:pt x="f64" y="f69"/>
                  <a:pt x="f64" y="f69"/>
                </a:cubicBezTo>
                <a:cubicBezTo>
                  <a:pt x="f14" y="f70"/>
                  <a:pt x="f71" y="f72"/>
                  <a:pt x="f65" y="f66"/>
                </a:cubicBezTo>
                <a:close/>
                <a:moveTo>
                  <a:pt x="f44" y="f73"/>
                </a:moveTo>
                <a:cubicBezTo>
                  <a:pt x="f74" y="f73"/>
                  <a:pt x="f75" y="f76"/>
                  <a:pt x="f75" y="f31"/>
                </a:cubicBezTo>
                <a:cubicBezTo>
                  <a:pt x="f75" y="f77"/>
                  <a:pt x="f74" y="f78"/>
                  <a:pt x="f44" y="f78"/>
                </a:cubicBezTo>
                <a:cubicBezTo>
                  <a:pt x="f66" y="f78"/>
                  <a:pt x="f79" y="f77"/>
                  <a:pt x="f79" y="f31"/>
                </a:cubicBezTo>
                <a:cubicBezTo>
                  <a:pt x="f79" y="f76"/>
                  <a:pt x="f66" y="f73"/>
                  <a:pt x="f44" y="f73"/>
                </a:cubicBezTo>
                <a:close/>
                <a:moveTo>
                  <a:pt x="f80" y="f81"/>
                </a:moveTo>
                <a:cubicBezTo>
                  <a:pt x="f46" y="f81"/>
                  <a:pt x="f46" y="f81"/>
                  <a:pt x="f46" y="f81"/>
                </a:cubicBezTo>
                <a:cubicBezTo>
                  <a:pt x="f45" y="f82"/>
                  <a:pt x="f29" y="f83"/>
                  <a:pt x="f44" y="f83"/>
                </a:cubicBezTo>
                <a:cubicBezTo>
                  <a:pt x="f43" y="f83"/>
                  <a:pt x="f13" y="f82"/>
                  <a:pt x="f41" y="f81"/>
                </a:cubicBezTo>
                <a:cubicBezTo>
                  <a:pt x="f64" y="f81"/>
                  <a:pt x="f64" y="f81"/>
                  <a:pt x="f64" y="f81"/>
                </a:cubicBezTo>
                <a:cubicBezTo>
                  <a:pt x="f64" y="f84"/>
                  <a:pt x="f64" y="f84"/>
                  <a:pt x="f64" y="f84"/>
                </a:cubicBezTo>
                <a:cubicBezTo>
                  <a:pt x="f85" y="f84"/>
                  <a:pt x="f85" y="f84"/>
                  <a:pt x="f85" y="f84"/>
                </a:cubicBezTo>
                <a:cubicBezTo>
                  <a:pt x="f86" y="f84"/>
                  <a:pt x="f87" y="f88"/>
                  <a:pt x="f87" y="f30"/>
                </a:cubicBezTo>
                <a:cubicBezTo>
                  <a:pt x="f87" y="f89"/>
                  <a:pt x="f87" y="f89"/>
                  <a:pt x="f87" y="f89"/>
                </a:cubicBezTo>
                <a:cubicBezTo>
                  <a:pt x="f87" y="f90"/>
                  <a:pt x="f86" y="f91"/>
                  <a:pt x="f85" y="f91"/>
                </a:cubicBezTo>
                <a:cubicBezTo>
                  <a:pt x="f92" y="f91"/>
                  <a:pt x="f92" y="f91"/>
                  <a:pt x="f92" y="f91"/>
                </a:cubicBezTo>
                <a:cubicBezTo>
                  <a:pt x="f93" y="f59"/>
                  <a:pt x="f94" y="f43"/>
                  <a:pt x="f27" y="f43"/>
                </a:cubicBezTo>
                <a:cubicBezTo>
                  <a:pt x="f26" y="f43"/>
                  <a:pt x="f26" y="f43"/>
                  <a:pt x="f26" y="f43"/>
                </a:cubicBezTo>
                <a:cubicBezTo>
                  <a:pt x="f95" y="f43"/>
                  <a:pt x="f80" y="f96"/>
                  <a:pt x="f80" y="f22"/>
                </a:cubicBezTo>
                <a:lnTo>
                  <a:pt x="f80" y="f81"/>
                </a:lnTo>
                <a:close/>
                <a:moveTo>
                  <a:pt x="f19" y="f97"/>
                </a:moveTo>
                <a:cubicBezTo>
                  <a:pt x="f21" y="f97"/>
                  <a:pt x="f21" y="f97"/>
                  <a:pt x="f21" y="f97"/>
                </a:cubicBezTo>
                <a:cubicBezTo>
                  <a:pt x="f21" y="f89"/>
                  <a:pt x="f21" y="f89"/>
                  <a:pt x="f21" y="f89"/>
                </a:cubicBezTo>
                <a:cubicBezTo>
                  <a:pt x="f19" y="f89"/>
                  <a:pt x="f19" y="f89"/>
                  <a:pt x="f19" y="f89"/>
                </a:cubicBezTo>
                <a:lnTo>
                  <a:pt x="f19" y="f97"/>
                </a:lnTo>
                <a:close/>
                <a:moveTo>
                  <a:pt x="f2" y="f73"/>
                </a:moveTo>
                <a:cubicBezTo>
                  <a:pt x="f98" y="f73"/>
                  <a:pt x="f99" y="f76"/>
                  <a:pt x="f99" y="f31"/>
                </a:cubicBezTo>
                <a:cubicBezTo>
                  <a:pt x="f99" y="f77"/>
                  <a:pt x="f98" y="f78"/>
                  <a:pt x="f2" y="f78"/>
                </a:cubicBezTo>
                <a:cubicBezTo>
                  <a:pt x="f100" y="f78"/>
                  <a:pt x="f101" y="f77"/>
                  <a:pt x="f101" y="f31"/>
                </a:cubicBezTo>
                <a:cubicBezTo>
                  <a:pt x="f101" y="f76"/>
                  <a:pt x="f100" y="f73"/>
                  <a:pt x="f2" y="f73"/>
                </a:cubicBezTo>
                <a:close/>
                <a:moveTo>
                  <a:pt x="f61" y="f102"/>
                </a:moveTo>
                <a:cubicBezTo>
                  <a:pt x="f61" y="f57"/>
                  <a:pt x="f61" y="f57"/>
                  <a:pt x="f61" y="f57"/>
                </a:cubicBezTo>
                <a:cubicBezTo>
                  <a:pt x="f61" y="f103"/>
                  <a:pt x="f61" y="f97"/>
                  <a:pt x="f16" y="f97"/>
                </a:cubicBezTo>
                <a:cubicBezTo>
                  <a:pt x="f104" y="f97"/>
                  <a:pt x="f104" y="f97"/>
                  <a:pt x="f104" y="f97"/>
                </a:cubicBezTo>
                <a:cubicBezTo>
                  <a:pt x="f105" y="f106"/>
                  <a:pt x="f107" y="f83"/>
                  <a:pt x="f2" y="f83"/>
                </a:cubicBezTo>
                <a:cubicBezTo>
                  <a:pt x="f108" y="f83"/>
                  <a:pt x="f109" y="f106"/>
                  <a:pt x="f110" y="f97"/>
                </a:cubicBezTo>
                <a:cubicBezTo>
                  <a:pt x="f63" y="f97"/>
                  <a:pt x="f63" y="f97"/>
                  <a:pt x="f63" y="f97"/>
                </a:cubicBezTo>
                <a:cubicBezTo>
                  <a:pt x="f63" y="f102"/>
                  <a:pt x="f63" y="f102"/>
                  <a:pt x="f63" y="f102"/>
                </a:cubicBezTo>
                <a:lnTo>
                  <a:pt x="f61" y="f102"/>
                </a:lnTo>
                <a:close/>
              </a:path>
            </a:pathLst>
          </a:custGeom>
          <a:solidFill>
            <a:srgbClr val="7B0663"/>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dirty="0">
              <a:solidFill>
                <a:srgbClr val="58585A"/>
              </a:solidFill>
              <a:uFillTx/>
              <a:latin typeface="Arial"/>
            </a:endParaRPr>
          </a:p>
        </p:txBody>
      </p:sp>
      <p:sp>
        <p:nvSpPr>
          <p:cNvPr id="58" name="Freeform 3">
            <a:extLst>
              <a:ext uri="{FF2B5EF4-FFF2-40B4-BE49-F238E27FC236}">
                <a16:creationId xmlns:a16="http://schemas.microsoft.com/office/drawing/2014/main" id="{89101B61-5DF6-4C5F-A520-1F627BE13A80}"/>
              </a:ext>
            </a:extLst>
          </p:cNvPr>
          <p:cNvSpPr/>
          <p:nvPr/>
        </p:nvSpPr>
        <p:spPr>
          <a:xfrm>
            <a:off x="7993081" y="2172398"/>
            <a:ext cx="310923" cy="324996"/>
          </a:xfrm>
          <a:custGeom>
            <a:avLst/>
            <a:gdLst>
              <a:gd name="f0" fmla="val 10800000"/>
              <a:gd name="f1" fmla="val 5400000"/>
              <a:gd name="f2" fmla="val 360"/>
              <a:gd name="f3" fmla="val 180"/>
              <a:gd name="f4" fmla="val w"/>
              <a:gd name="f5" fmla="val h"/>
              <a:gd name="f6" fmla="val 0"/>
              <a:gd name="f7" fmla="val 378"/>
              <a:gd name="f8" fmla="val 395"/>
              <a:gd name="f9" fmla="val 370"/>
              <a:gd name="f10" fmla="val 90"/>
              <a:gd name="f11" fmla="val 368"/>
              <a:gd name="f12" fmla="val 86"/>
              <a:gd name="f13" fmla="val 363"/>
              <a:gd name="f14" fmla="val 84"/>
              <a:gd name="f15" fmla="val 359"/>
              <a:gd name="f16" fmla="val 355"/>
              <a:gd name="f17" fmla="val 88"/>
              <a:gd name="f18" fmla="val 354"/>
              <a:gd name="f19" fmla="val 93"/>
              <a:gd name="f20" fmla="val 356"/>
              <a:gd name="f21" fmla="val 97"/>
              <a:gd name="f22" fmla="val 105"/>
              <a:gd name="f23" fmla="val 361"/>
              <a:gd name="f24" fmla="val 114"/>
              <a:gd name="f25" fmla="val 123"/>
              <a:gd name="f26" fmla="val 145"/>
              <a:gd name="f27" fmla="val 332"/>
              <a:gd name="f28" fmla="val 159"/>
              <a:gd name="f29" fmla="val 310"/>
              <a:gd name="f30" fmla="val 154"/>
              <a:gd name="f31" fmla="val 299"/>
              <a:gd name="f32" fmla="val 152"/>
              <a:gd name="f33" fmla="val 289"/>
              <a:gd name="f34" fmla="val 146"/>
              <a:gd name="f35" fmla="val 283"/>
              <a:gd name="f36" fmla="val 137"/>
              <a:gd name="f37" fmla="val 277"/>
              <a:gd name="f38" fmla="val 128"/>
              <a:gd name="f39" fmla="val 275"/>
              <a:gd name="f40" fmla="val 117"/>
              <a:gd name="f41" fmla="val 278"/>
              <a:gd name="f42" fmla="val 107"/>
              <a:gd name="f43" fmla="val 282"/>
              <a:gd name="f44" fmla="val 85"/>
              <a:gd name="f45" fmla="val 304"/>
              <a:gd name="f46" fmla="val 71"/>
              <a:gd name="f47" fmla="val 327"/>
              <a:gd name="f48" fmla="val 76"/>
              <a:gd name="f49" fmla="val 330"/>
              <a:gd name="f50" fmla="val 333"/>
              <a:gd name="f51" fmla="val 77"/>
              <a:gd name="f52" fmla="val 336"/>
              <a:gd name="f53" fmla="val 79"/>
              <a:gd name="f54" fmla="val 340"/>
              <a:gd name="f55" fmla="val 80"/>
              <a:gd name="f56" fmla="val 345"/>
              <a:gd name="f57" fmla="val 347"/>
              <a:gd name="f58" fmla="val 75"/>
              <a:gd name="f59" fmla="val 349"/>
              <a:gd name="f60" fmla="val 66"/>
              <a:gd name="f61" fmla="val 343"/>
              <a:gd name="f62" fmla="val 64"/>
              <a:gd name="f63" fmla="val 339"/>
              <a:gd name="f64" fmla="val 62"/>
              <a:gd name="f65" fmla="val 335"/>
              <a:gd name="f66" fmla="val 61"/>
              <a:gd name="f67" fmla="val 60"/>
              <a:gd name="f68" fmla="val 314"/>
              <a:gd name="f69" fmla="val 57"/>
              <a:gd name="f70" fmla="val 286"/>
              <a:gd name="f71" fmla="val 68"/>
              <a:gd name="f72" fmla="val 201"/>
              <a:gd name="f73" fmla="val 42"/>
              <a:gd name="f74" fmla="val 199"/>
              <a:gd name="f75" fmla="val 35"/>
              <a:gd name="f76" fmla="val 195"/>
              <a:gd name="f77" fmla="val 28"/>
              <a:gd name="f78" fmla="val 190"/>
              <a:gd name="f79" fmla="val 22"/>
              <a:gd name="f80" fmla="val 181"/>
              <a:gd name="f81" fmla="val 10"/>
              <a:gd name="f82" fmla="val 167"/>
              <a:gd name="f83" fmla="val 3"/>
              <a:gd name="f84" fmla="val 151"/>
              <a:gd name="f85" fmla="val 2"/>
              <a:gd name="f86" fmla="val 136"/>
              <a:gd name="f87" fmla="val 122"/>
              <a:gd name="f88" fmla="val 5"/>
              <a:gd name="f89" fmla="val 111"/>
              <a:gd name="f90" fmla="val 13"/>
              <a:gd name="f91" fmla="val 103"/>
              <a:gd name="f92" fmla="val 9"/>
              <a:gd name="f93" fmla="val 91"/>
              <a:gd name="f94" fmla="val 70"/>
              <a:gd name="f95" fmla="val 4"/>
              <a:gd name="f96" fmla="val 21"/>
              <a:gd name="f97" fmla="val 40"/>
              <a:gd name="f98" fmla="val 45"/>
              <a:gd name="f99" fmla="val 1"/>
              <a:gd name="f100" fmla="val 48"/>
              <a:gd name="f101" fmla="val 51"/>
              <a:gd name="f102" fmla="val 16"/>
              <a:gd name="f103" fmla="val 19"/>
              <a:gd name="f104" fmla="val 67"/>
              <a:gd name="f105" fmla="val 24"/>
              <a:gd name="f106" fmla="val 27"/>
              <a:gd name="f107" fmla="val 47"/>
              <a:gd name="f108" fmla="val 69"/>
              <a:gd name="f109" fmla="val 49"/>
              <a:gd name="f110" fmla="val 53"/>
              <a:gd name="f111" fmla="val 89"/>
              <a:gd name="f112" fmla="val 63"/>
              <a:gd name="f113" fmla="val 74"/>
              <a:gd name="f114" fmla="val 96"/>
              <a:gd name="f115" fmla="val 83"/>
              <a:gd name="f116" fmla="val 92"/>
              <a:gd name="f117" fmla="val 98"/>
              <a:gd name="f118" fmla="val 99"/>
              <a:gd name="f119" fmla="val 46"/>
              <a:gd name="f120" fmla="val 33"/>
              <a:gd name="f121" fmla="val 95"/>
              <a:gd name="f122" fmla="val 29"/>
              <a:gd name="f123" fmla="val 25"/>
              <a:gd name="f124" fmla="val 23"/>
              <a:gd name="f125" fmla="val 116"/>
              <a:gd name="f126" fmla="val 15"/>
              <a:gd name="f127" fmla="val 119"/>
              <a:gd name="f128" fmla="val 18"/>
              <a:gd name="f129" fmla="val 125"/>
              <a:gd name="f130" fmla="val 126"/>
              <a:gd name="f131" fmla="val 36"/>
              <a:gd name="f132" fmla="val 142"/>
              <a:gd name="f133" fmla="val 65"/>
              <a:gd name="f134" fmla="val 140"/>
              <a:gd name="f135" fmla="val 127"/>
              <a:gd name="f136" fmla="val 118"/>
              <a:gd name="f137" fmla="val 132"/>
              <a:gd name="f138" fmla="val 135"/>
              <a:gd name="f139" fmla="val 138"/>
              <a:gd name="f140" fmla="val 112"/>
              <a:gd name="f141" fmla="val 141"/>
              <a:gd name="f142" fmla="val 143"/>
              <a:gd name="f143" fmla="val 144"/>
              <a:gd name="f144" fmla="val 113"/>
              <a:gd name="f145" fmla="val 157"/>
              <a:gd name="f146" fmla="val 110"/>
              <a:gd name="f147" fmla="val 176"/>
              <a:gd name="f148" fmla="val 104"/>
              <a:gd name="f149" fmla="val 264"/>
              <a:gd name="f150" fmla="val 134"/>
              <a:gd name="f151" fmla="val 265"/>
              <a:gd name="f152" fmla="val 213"/>
              <a:gd name="f153" fmla="val 207"/>
              <a:gd name="f154" fmla="val 182"/>
              <a:gd name="f155" fmla="val 208"/>
              <a:gd name="f156" fmla="val 233"/>
              <a:gd name="f157" fmla="val 263"/>
              <a:gd name="f158" fmla="val 270"/>
              <a:gd name="f159" fmla="val 158"/>
              <a:gd name="f160" fmla="val 276"/>
              <a:gd name="f161" fmla="val 161"/>
              <a:gd name="f162" fmla="val 364"/>
              <a:gd name="f163" fmla="val 379"/>
              <a:gd name="f164" fmla="val 386"/>
              <a:gd name="f165" fmla="val 94"/>
              <a:gd name="f166" fmla="val 391"/>
              <a:gd name="f167" fmla="val 100"/>
              <a:gd name="f168" fmla="val 106"/>
              <a:gd name="f169" fmla="val 324"/>
              <a:gd name="f170" fmla="val 338"/>
              <a:gd name="f171" fmla="val 341"/>
              <a:gd name="f172" fmla="val 269"/>
              <a:gd name="f173" fmla="val 271"/>
              <a:gd name="f174" fmla="val 273"/>
              <a:gd name="f175" fmla="val 257"/>
              <a:gd name="f176" fmla="val 272"/>
              <a:gd name="f177" fmla="val 251"/>
              <a:gd name="f178" fmla="val 246"/>
              <a:gd name="f179" fmla="val 171"/>
              <a:gd name="f180" fmla="val 348"/>
              <a:gd name="f181" fmla="val 169"/>
              <a:gd name="f182" fmla="val 369"/>
              <a:gd name="f183" fmla="val 375"/>
              <a:gd name="f184" fmla="val 376"/>
              <a:gd name="f185" fmla="val 101"/>
              <a:gd name="f186" fmla="val 37"/>
              <a:gd name="f187" fmla="val 87"/>
              <a:gd name="f188" fmla="val 31"/>
              <a:gd name="f189" fmla="val 41"/>
              <a:gd name="f190" fmla="val 44"/>
              <a:gd name="f191" fmla="val 20"/>
              <a:gd name="f192" fmla="val 32"/>
              <a:gd name="f193" fmla="val 121"/>
              <a:gd name="f194" fmla="val 81"/>
              <a:gd name="f195" fmla="val 124"/>
              <a:gd name="f196" fmla="val 73"/>
              <a:gd name="f197" fmla="val 50"/>
              <a:gd name="f198" fmla="val 39"/>
              <a:gd name="f199" fmla="val 120"/>
              <a:gd name="f200" fmla="val 115"/>
              <a:gd name="f201" fmla="val 78"/>
              <a:gd name="f202" fmla="val 102"/>
              <a:gd name="f203" fmla="val 109"/>
              <a:gd name="f204" fmla="val 187"/>
              <a:gd name="f205" fmla="val 185"/>
              <a:gd name="f206" fmla="val 82"/>
              <a:gd name="f207" fmla="val 165"/>
              <a:gd name="f208" fmla="val 131"/>
              <a:gd name="f209" fmla="val 108"/>
              <a:gd name="f210" fmla="val 147"/>
              <a:gd name="f211" fmla="val 149"/>
              <a:gd name="f212" fmla="val 150"/>
              <a:gd name="f213" fmla="val 178"/>
              <a:gd name="f214" fmla="val 188"/>
              <a:gd name="f215" fmla="val 262"/>
              <a:gd name="f216" fmla="val 261"/>
              <a:gd name="f217" fmla="val 197"/>
              <a:gd name="f218" fmla="val 202"/>
              <a:gd name="f219" fmla="val 203"/>
              <a:gd name="f220" fmla="val 59"/>
              <a:gd name="f221" fmla="val 268"/>
              <a:gd name="f222" fmla="val 215"/>
              <a:gd name="f223" fmla="val 223"/>
              <a:gd name="f224" fmla="val 238"/>
              <a:gd name="f225" fmla="val 241"/>
              <a:gd name="f226" fmla="val 192"/>
              <a:gd name="f227" fmla="val 173"/>
              <a:gd name="f228" fmla="val 323"/>
              <a:gd name="f229" fmla="val 374"/>
              <a:gd name="f230" fmla="val 297"/>
              <a:gd name="f231" fmla="val 179"/>
              <a:gd name="f232" fmla="val 311"/>
              <a:gd name="f233" fmla="val 196"/>
              <a:gd name="f234" fmla="val 320"/>
              <a:gd name="f235" fmla="val 234"/>
              <a:gd name="f236" fmla="val 250"/>
              <a:gd name="f237" fmla="val 230"/>
              <a:gd name="f238" fmla="val 254"/>
              <a:gd name="f239" fmla="val 220"/>
              <a:gd name="f240" fmla="val 244"/>
              <a:gd name="f241" fmla="val 232"/>
              <a:gd name="f242" fmla="val 210"/>
              <a:gd name="f243" fmla="val 274"/>
              <a:gd name="f244" fmla="val 160"/>
              <a:gd name="f245" fmla="val 293"/>
              <a:gd name="f246" fmla="val 305"/>
              <a:gd name="f247" fmla="val 170"/>
              <a:gd name="f248" fmla="+- 0 0 -90"/>
              <a:gd name="f249" fmla="*/ f4 1 378"/>
              <a:gd name="f250" fmla="*/ f5 1 395"/>
              <a:gd name="f251" fmla="+- f8 0 f6"/>
              <a:gd name="f252" fmla="+- f7 0 f6"/>
              <a:gd name="f253" fmla="*/ f248 f0 1"/>
              <a:gd name="f254" fmla="*/ f252 1 378"/>
              <a:gd name="f255" fmla="*/ f251 1 395"/>
              <a:gd name="f256" fmla="*/ 2147483647 f252 1"/>
              <a:gd name="f257" fmla="*/ 2147483647 f251 1"/>
              <a:gd name="f258" fmla="*/ f253 1 f3"/>
              <a:gd name="f259" fmla="*/ f256 1 378"/>
              <a:gd name="f260" fmla="*/ f257 1 395"/>
              <a:gd name="f261" fmla="*/ 0 1 f254"/>
              <a:gd name="f262" fmla="*/ f7 1 f254"/>
              <a:gd name="f263" fmla="*/ 0 1 f255"/>
              <a:gd name="f264" fmla="*/ f8 1 f255"/>
              <a:gd name="f265" fmla="+- f258 0 f1"/>
              <a:gd name="f266" fmla="*/ f259 1 f254"/>
              <a:gd name="f267" fmla="*/ f260 1 f255"/>
              <a:gd name="f268" fmla="*/ f261 f249 1"/>
              <a:gd name="f269" fmla="*/ f262 f249 1"/>
              <a:gd name="f270" fmla="*/ f264 f250 1"/>
              <a:gd name="f271" fmla="*/ f263 f250 1"/>
              <a:gd name="f272" fmla="*/ f266 f249 1"/>
              <a:gd name="f273" fmla="*/ f267 f250 1"/>
            </a:gdLst>
            <a:ahLst/>
            <a:cxnLst>
              <a:cxn ang="3cd4">
                <a:pos x="hc" y="t"/>
              </a:cxn>
              <a:cxn ang="0">
                <a:pos x="r" y="vc"/>
              </a:cxn>
              <a:cxn ang="cd4">
                <a:pos x="hc" y="b"/>
              </a:cxn>
              <a:cxn ang="cd2">
                <a:pos x="l" y="vc"/>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Lst>
            <a:rect l="f268" t="f271" r="f269" b="f270"/>
            <a:pathLst>
              <a:path w="378" h="395">
                <a:moveTo>
                  <a:pt x="f9" y="f10"/>
                </a:moveTo>
                <a:cubicBezTo>
                  <a:pt x="f11" y="f12"/>
                  <a:pt x="f13" y="f14"/>
                  <a:pt x="f15" y="f12"/>
                </a:cubicBezTo>
                <a:cubicBezTo>
                  <a:pt x="f16" y="f17"/>
                  <a:pt x="f18" y="f19"/>
                  <a:pt x="f20" y="f21"/>
                </a:cubicBezTo>
                <a:cubicBezTo>
                  <a:pt x="f2" y="f22"/>
                  <a:pt x="f23" y="f24"/>
                  <a:pt x="f15" y="f25"/>
                </a:cubicBezTo>
                <a:cubicBezTo>
                  <a:pt x="f18" y="f26"/>
                  <a:pt x="f27" y="f28"/>
                  <a:pt x="f29" y="f30"/>
                </a:cubicBezTo>
                <a:cubicBezTo>
                  <a:pt x="f31" y="f32"/>
                  <a:pt x="f33" y="f34"/>
                  <a:pt x="f35" y="f36"/>
                </a:cubicBezTo>
                <a:cubicBezTo>
                  <a:pt x="f37" y="f38"/>
                  <a:pt x="f39" y="f40"/>
                  <a:pt x="f41" y="f42"/>
                </a:cubicBezTo>
                <a:cubicBezTo>
                  <a:pt x="f43" y="f44"/>
                  <a:pt x="f45" y="f46"/>
                  <a:pt x="f47" y="f48"/>
                </a:cubicBezTo>
                <a:cubicBezTo>
                  <a:pt x="f49" y="f48"/>
                  <a:pt x="f50" y="f51"/>
                  <a:pt x="f52" y="f53"/>
                </a:cubicBezTo>
                <a:cubicBezTo>
                  <a:pt x="f54" y="f55"/>
                  <a:pt x="f56" y="f53"/>
                  <a:pt x="f57" y="f58"/>
                </a:cubicBezTo>
                <a:cubicBezTo>
                  <a:pt x="f59" y="f46"/>
                  <a:pt x="f57" y="f60"/>
                  <a:pt x="f61" y="f62"/>
                </a:cubicBezTo>
                <a:cubicBezTo>
                  <a:pt x="f63" y="f64"/>
                  <a:pt x="f65" y="f66"/>
                  <a:pt x="f49" y="f67"/>
                </a:cubicBezTo>
                <a:cubicBezTo>
                  <a:pt x="f68" y="f69"/>
                  <a:pt x="f31" y="f67"/>
                  <a:pt x="f70" y="f71"/>
                </a:cubicBezTo>
                <a:cubicBezTo>
                  <a:pt x="f72" y="f73"/>
                  <a:pt x="f72" y="f73"/>
                  <a:pt x="f72" y="f73"/>
                </a:cubicBezTo>
                <a:cubicBezTo>
                  <a:pt x="f74" y="f75"/>
                  <a:pt x="f76" y="f77"/>
                  <a:pt x="f78" y="f79"/>
                </a:cubicBezTo>
                <a:cubicBezTo>
                  <a:pt x="f80" y="f81"/>
                  <a:pt x="f82" y="f83"/>
                  <a:pt x="f84" y="f85"/>
                </a:cubicBezTo>
                <a:cubicBezTo>
                  <a:pt x="f86" y="f6"/>
                  <a:pt x="f87" y="f88"/>
                  <a:pt x="f89" y="f90"/>
                </a:cubicBezTo>
                <a:cubicBezTo>
                  <a:pt x="f91" y="f92"/>
                  <a:pt x="f93" y="f88"/>
                  <a:pt x="f94" y="f95"/>
                </a:cubicBezTo>
                <a:cubicBezTo>
                  <a:pt x="f96" y="f83"/>
                  <a:pt x="f83" y="f97"/>
                  <a:pt x="f85" y="f73"/>
                </a:cubicBezTo>
                <a:cubicBezTo>
                  <a:pt x="f6" y="f98"/>
                  <a:pt x="f99" y="f100"/>
                  <a:pt x="f83" y="f101"/>
                </a:cubicBezTo>
                <a:cubicBezTo>
                  <a:pt x="f102" y="f62"/>
                  <a:pt x="f102" y="f62"/>
                  <a:pt x="f102" y="f62"/>
                </a:cubicBezTo>
                <a:cubicBezTo>
                  <a:pt x="f103" y="f104"/>
                  <a:pt x="f105" y="f104"/>
                  <a:pt x="f106" y="f62"/>
                </a:cubicBezTo>
                <a:cubicBezTo>
                  <a:pt x="f106" y="f62"/>
                  <a:pt x="f107" y="f107"/>
                  <a:pt x="f108" y="f107"/>
                </a:cubicBezTo>
                <a:cubicBezTo>
                  <a:pt x="f94" y="f107"/>
                  <a:pt x="f94" y="f107"/>
                  <a:pt x="f94" y="f107"/>
                </a:cubicBezTo>
                <a:cubicBezTo>
                  <a:pt x="f51" y="f107"/>
                  <a:pt x="f14" y="f109"/>
                  <a:pt x="f10" y="f110"/>
                </a:cubicBezTo>
                <a:cubicBezTo>
                  <a:pt x="f111" y="f112"/>
                  <a:pt x="f93" y="f113"/>
                  <a:pt x="f114" y="f115"/>
                </a:cubicBezTo>
                <a:cubicBezTo>
                  <a:pt x="f116" y="f17"/>
                  <a:pt x="f12" y="f19"/>
                  <a:pt x="f53" y="f114"/>
                </a:cubicBezTo>
                <a:cubicBezTo>
                  <a:pt x="f113" y="f117"/>
                  <a:pt x="f104" y="f118"/>
                  <a:pt x="f67" y="f118"/>
                </a:cubicBezTo>
                <a:cubicBezTo>
                  <a:pt x="f119" y="f118"/>
                  <a:pt x="f120" y="f121"/>
                  <a:pt x="f120" y="f121"/>
                </a:cubicBezTo>
                <a:cubicBezTo>
                  <a:pt x="f122" y="f19"/>
                  <a:pt x="f123" y="f121"/>
                  <a:pt x="f124" y="f118"/>
                </a:cubicBezTo>
                <a:cubicBezTo>
                  <a:pt x="f102" y="f125"/>
                  <a:pt x="f102" y="f125"/>
                  <a:pt x="f102" y="f125"/>
                </a:cubicBezTo>
                <a:cubicBezTo>
                  <a:pt x="f126" y="f127"/>
                  <a:pt x="f126" y="f25"/>
                  <a:pt x="f128" y="f129"/>
                </a:cubicBezTo>
                <a:cubicBezTo>
                  <a:pt x="f103" y="f130"/>
                  <a:pt x="f131" y="f132"/>
                  <a:pt x="f133" y="f132"/>
                </a:cubicBezTo>
                <a:cubicBezTo>
                  <a:pt x="f58" y="f132"/>
                  <a:pt x="f44" y="f134"/>
                  <a:pt x="f121" y="f86"/>
                </a:cubicBezTo>
                <a:cubicBezTo>
                  <a:pt x="f125" y="f135"/>
                  <a:pt x="f135" y="f136"/>
                  <a:pt x="f137" y="f89"/>
                </a:cubicBezTo>
                <a:cubicBezTo>
                  <a:pt x="f138" y="f89"/>
                  <a:pt x="f139" y="f140"/>
                  <a:pt x="f141" y="f140"/>
                </a:cubicBezTo>
                <a:cubicBezTo>
                  <a:pt x="f142" y="f140"/>
                  <a:pt x="f143" y="f144"/>
                  <a:pt x="f34" y="f144"/>
                </a:cubicBezTo>
                <a:cubicBezTo>
                  <a:pt x="f34" y="f144"/>
                  <a:pt x="f34" y="f144"/>
                  <a:pt x="f34" y="f144"/>
                </a:cubicBezTo>
                <a:cubicBezTo>
                  <a:pt x="f145" y="f144"/>
                  <a:pt x="f82" y="f146"/>
                  <a:pt x="f147" y="f148"/>
                </a:cubicBezTo>
                <a:cubicBezTo>
                  <a:pt x="f149" y="f137"/>
                  <a:pt x="f149" y="f137"/>
                  <a:pt x="f149" y="f137"/>
                </a:cubicBezTo>
                <a:cubicBezTo>
                  <a:pt x="f149" y="f150"/>
                  <a:pt x="f149" y="f138"/>
                  <a:pt x="f151" y="f86"/>
                </a:cubicBezTo>
                <a:cubicBezTo>
                  <a:pt x="f152" y="f153"/>
                  <a:pt x="f152" y="f153"/>
                  <a:pt x="f152" y="f153"/>
                </a:cubicBezTo>
                <a:cubicBezTo>
                  <a:pt x="f154" y="f155"/>
                  <a:pt x="f145" y="f156"/>
                  <a:pt x="f145" y="f157"/>
                </a:cubicBezTo>
                <a:cubicBezTo>
                  <a:pt x="f145" y="f158"/>
                  <a:pt x="f159" y="f160"/>
                  <a:pt x="f161" y="f43"/>
                </a:cubicBezTo>
                <a:cubicBezTo>
                  <a:pt x="f121" y="f162"/>
                  <a:pt x="f121" y="f162"/>
                  <a:pt x="f121" y="f162"/>
                </a:cubicBezTo>
                <a:cubicBezTo>
                  <a:pt x="f10" y="f9"/>
                  <a:pt x="f111" y="f163"/>
                  <a:pt x="f116" y="f164"/>
                </a:cubicBezTo>
                <a:cubicBezTo>
                  <a:pt x="f165" y="f166"/>
                  <a:pt x="f167" y="f8"/>
                  <a:pt x="f168" y="f8"/>
                </a:cubicBezTo>
                <a:cubicBezTo>
                  <a:pt x="f169" y="f8"/>
                  <a:pt x="f169" y="f8"/>
                  <a:pt x="f169" y="f8"/>
                </a:cubicBezTo>
                <a:cubicBezTo>
                  <a:pt x="f49" y="f8"/>
                  <a:pt x="f65" y="f166"/>
                  <a:pt x="f170" y="f164"/>
                </a:cubicBezTo>
                <a:cubicBezTo>
                  <a:pt x="f171" y="f163"/>
                  <a:pt x="f54" y="f9"/>
                  <a:pt x="f65" y="f162"/>
                </a:cubicBezTo>
                <a:cubicBezTo>
                  <a:pt x="f172" y="f43"/>
                  <a:pt x="f172" y="f43"/>
                  <a:pt x="f172" y="f43"/>
                </a:cubicBezTo>
                <a:cubicBezTo>
                  <a:pt x="f173" y="f160"/>
                  <a:pt x="f174" y="f158"/>
                  <a:pt x="f174" y="f157"/>
                </a:cubicBezTo>
                <a:cubicBezTo>
                  <a:pt x="f174" y="f175"/>
                  <a:pt x="f176" y="f177"/>
                  <a:pt x="f158" y="f178"/>
                </a:cubicBezTo>
                <a:cubicBezTo>
                  <a:pt x="f169" y="f179"/>
                  <a:pt x="f169" y="f179"/>
                  <a:pt x="f169" y="f179"/>
                </a:cubicBezTo>
                <a:cubicBezTo>
                  <a:pt x="f180" y="f181"/>
                  <a:pt x="f182" y="f84"/>
                  <a:pt x="f183" y="f135"/>
                </a:cubicBezTo>
                <a:cubicBezTo>
                  <a:pt x="f7" y="f24"/>
                  <a:pt x="f184" y="f185"/>
                  <a:pt x="f9" y="f10"/>
                </a:cubicBezTo>
                <a:close/>
                <a:moveTo>
                  <a:pt x="f19" y="f186"/>
                </a:moveTo>
                <a:cubicBezTo>
                  <a:pt x="f187" y="f120"/>
                  <a:pt x="f53" y="f188"/>
                  <a:pt x="f94" y="f188"/>
                </a:cubicBezTo>
                <a:cubicBezTo>
                  <a:pt x="f108" y="f188"/>
                  <a:pt x="f108" y="f188"/>
                  <a:pt x="f108" y="f188"/>
                </a:cubicBezTo>
                <a:cubicBezTo>
                  <a:pt x="f109" y="f188"/>
                  <a:pt x="f188" y="f189"/>
                  <a:pt x="f124" y="f107"/>
                </a:cubicBezTo>
                <a:cubicBezTo>
                  <a:pt x="f103" y="f190"/>
                  <a:pt x="f103" y="f190"/>
                  <a:pt x="f103" y="f190"/>
                </a:cubicBezTo>
                <a:cubicBezTo>
                  <a:pt x="f123" y="f131"/>
                  <a:pt x="f97" y="f191"/>
                  <a:pt x="f94" y="f191"/>
                </a:cubicBezTo>
                <a:cubicBezTo>
                  <a:pt x="f14" y="f96"/>
                  <a:pt x="f19" y="f124"/>
                  <a:pt x="f167" y="f123"/>
                </a:cubicBezTo>
                <a:cubicBezTo>
                  <a:pt x="f21" y="f122"/>
                  <a:pt x="f121" y="f192"/>
                  <a:pt x="f19" y="f186"/>
                </a:cubicBezTo>
                <a:close/>
                <a:moveTo>
                  <a:pt x="f111" y="f193"/>
                </a:moveTo>
                <a:cubicBezTo>
                  <a:pt x="f194" y="f195"/>
                  <a:pt x="f196" y="f130"/>
                  <a:pt x="f133" y="f130"/>
                </a:cubicBezTo>
                <a:cubicBezTo>
                  <a:pt x="f197" y="f130"/>
                  <a:pt x="f198" y="f199"/>
                  <a:pt x="f120" y="f125"/>
                </a:cubicBezTo>
                <a:cubicBezTo>
                  <a:pt x="f75" y="f140"/>
                  <a:pt x="f75" y="f140"/>
                  <a:pt x="f75" y="f140"/>
                </a:cubicBezTo>
                <a:cubicBezTo>
                  <a:pt x="f189" y="f24"/>
                  <a:pt x="f197" y="f200"/>
                  <a:pt x="f67" y="f200"/>
                </a:cubicBezTo>
                <a:cubicBezTo>
                  <a:pt x="f108" y="f200"/>
                  <a:pt x="f201" y="f24"/>
                  <a:pt x="f44" y="f89"/>
                </a:cubicBezTo>
                <a:cubicBezTo>
                  <a:pt x="f165" y="f42"/>
                  <a:pt x="f185" y="f202"/>
                  <a:pt x="f168" y="f114"/>
                </a:cubicBezTo>
                <a:cubicBezTo>
                  <a:pt x="f203" y="f118"/>
                  <a:pt x="f144" y="f202"/>
                  <a:pt x="f40" y="f148"/>
                </a:cubicBezTo>
                <a:cubicBezTo>
                  <a:pt x="f140" y="f203"/>
                  <a:pt x="f148" y="f200"/>
                  <a:pt x="f111" y="f193"/>
                </a:cubicBezTo>
                <a:close/>
                <a:moveTo>
                  <a:pt x="f204" y="f66"/>
                </a:moveTo>
                <a:cubicBezTo>
                  <a:pt x="f205" y="f206"/>
                  <a:pt x="f207" y="f117"/>
                  <a:pt x="f132" y="f114"/>
                </a:cubicBezTo>
                <a:cubicBezTo>
                  <a:pt x="f208" y="f121"/>
                  <a:pt x="f193" y="f10"/>
                  <a:pt x="f24" y="f206"/>
                </a:cubicBezTo>
                <a:cubicBezTo>
                  <a:pt x="f209" y="f113"/>
                  <a:pt x="f22" y="f62"/>
                  <a:pt x="f168" y="f110"/>
                </a:cubicBezTo>
                <a:cubicBezTo>
                  <a:pt x="f42" y="f120"/>
                  <a:pt x="f129" y="f128"/>
                  <a:pt x="f34" y="f128"/>
                </a:cubicBezTo>
                <a:cubicBezTo>
                  <a:pt x="f210" y="f128"/>
                  <a:pt x="f211" y="f128"/>
                  <a:pt x="f212" y="f128"/>
                </a:cubicBezTo>
                <a:cubicBezTo>
                  <a:pt x="f161" y="f103"/>
                  <a:pt x="f179" y="f105"/>
                  <a:pt x="f213" y="f192"/>
                </a:cubicBezTo>
                <a:cubicBezTo>
                  <a:pt x="f205" y="f97"/>
                  <a:pt x="f214" y="f197"/>
                  <a:pt x="f204" y="f66"/>
                </a:cubicBezTo>
                <a:close/>
                <a:moveTo>
                  <a:pt x="f215" y="f91"/>
                </a:moveTo>
                <a:cubicBezTo>
                  <a:pt x="f216" y="f42"/>
                  <a:pt x="f216" y="f89"/>
                  <a:pt x="f216" y="f200"/>
                </a:cubicBezTo>
                <a:cubicBezTo>
                  <a:pt x="f78" y="f116"/>
                  <a:pt x="f78" y="f116"/>
                  <a:pt x="f78" y="f116"/>
                </a:cubicBezTo>
                <a:cubicBezTo>
                  <a:pt x="f217" y="f14"/>
                  <a:pt x="f218" y="f113"/>
                  <a:pt x="f219" y="f64"/>
                </a:cubicBezTo>
                <a:cubicBezTo>
                  <a:pt x="f219" y="f66"/>
                  <a:pt x="f219" y="f67"/>
                  <a:pt x="f219" y="f220"/>
                </a:cubicBezTo>
                <a:cubicBezTo>
                  <a:pt x="f174" y="f194"/>
                  <a:pt x="f174" y="f194"/>
                  <a:pt x="f174" y="f194"/>
                </a:cubicBezTo>
                <a:cubicBezTo>
                  <a:pt x="f221" y="f187"/>
                  <a:pt x="f149" y="f121"/>
                  <a:pt x="f215" y="f91"/>
                </a:cubicBezTo>
                <a:close/>
                <a:moveTo>
                  <a:pt x="f222" y="f223"/>
                </a:moveTo>
                <a:cubicBezTo>
                  <a:pt x="f224" y="f223"/>
                  <a:pt x="f175" y="f225"/>
                  <a:pt x="f175" y="f157"/>
                </a:cubicBezTo>
                <a:cubicBezTo>
                  <a:pt x="f175" y="f70"/>
                  <a:pt x="f224" y="f45"/>
                  <a:pt x="f222" y="f45"/>
                </a:cubicBezTo>
                <a:cubicBezTo>
                  <a:pt x="f226" y="f45"/>
                  <a:pt x="f227" y="f70"/>
                  <a:pt x="f227" y="f157"/>
                </a:cubicBezTo>
                <a:cubicBezTo>
                  <a:pt x="f227" y="f225"/>
                  <a:pt x="f226" y="f223"/>
                  <a:pt x="f222" y="f223"/>
                </a:cubicBezTo>
                <a:close/>
                <a:moveTo>
                  <a:pt x="f228" y="f229"/>
                </a:moveTo>
                <a:cubicBezTo>
                  <a:pt x="f169" y="f184"/>
                  <a:pt x="f169" y="f7"/>
                  <a:pt x="f169" y="f163"/>
                </a:cubicBezTo>
                <a:cubicBezTo>
                  <a:pt x="f168" y="f163"/>
                  <a:pt x="f168" y="f163"/>
                  <a:pt x="f168" y="f163"/>
                </a:cubicBezTo>
                <a:cubicBezTo>
                  <a:pt x="f168" y="f7"/>
                  <a:pt x="f168" y="f184"/>
                  <a:pt x="f42" y="f229"/>
                </a:cubicBezTo>
                <a:cubicBezTo>
                  <a:pt x="f181" y="f230"/>
                  <a:pt x="f181" y="f230"/>
                  <a:pt x="f181" y="f230"/>
                </a:cubicBezTo>
                <a:cubicBezTo>
                  <a:pt x="f231" y="f232"/>
                  <a:pt x="f233" y="f234"/>
                  <a:pt x="f222" y="f234"/>
                </a:cubicBezTo>
                <a:cubicBezTo>
                  <a:pt x="f235" y="f234"/>
                  <a:pt x="f236" y="f232"/>
                  <a:pt x="f216" y="f230"/>
                </a:cubicBezTo>
                <a:lnTo>
                  <a:pt x="f228" y="f229"/>
                </a:lnTo>
                <a:close/>
                <a:moveTo>
                  <a:pt x="f216" y="f237"/>
                </a:moveTo>
                <a:cubicBezTo>
                  <a:pt x="f238" y="f239"/>
                  <a:pt x="f240" y="f152"/>
                  <a:pt x="f241" y="f242"/>
                </a:cubicBezTo>
                <a:cubicBezTo>
                  <a:pt x="f243" y="f84"/>
                  <a:pt x="f243" y="f84"/>
                  <a:pt x="f243" y="f84"/>
                </a:cubicBezTo>
                <a:cubicBezTo>
                  <a:pt x="f43" y="f244"/>
                  <a:pt x="f245" y="f82"/>
                  <a:pt x="f246" y="f247"/>
                </a:cubicBezTo>
                <a:lnTo>
                  <a:pt x="f216" y="f237"/>
                </a:lnTo>
                <a:close/>
              </a:path>
            </a:pathLst>
          </a:custGeom>
          <a:solidFill>
            <a:srgbClr val="00625F"/>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1" i="0" u="none" strike="noStrike" kern="1200" cap="none" spc="0" baseline="0">
              <a:solidFill>
                <a:srgbClr val="58585A"/>
              </a:solidFill>
              <a:uFillTx/>
              <a:latin typeface="Arial"/>
            </a:endParaRPr>
          </a:p>
        </p:txBody>
      </p:sp>
      <p:sp>
        <p:nvSpPr>
          <p:cNvPr id="59" name="Freeform 3">
            <a:extLst>
              <a:ext uri="{FF2B5EF4-FFF2-40B4-BE49-F238E27FC236}">
                <a16:creationId xmlns:a16="http://schemas.microsoft.com/office/drawing/2014/main" id="{C3EB2970-5586-43CF-81FC-3517E15017ED}"/>
              </a:ext>
            </a:extLst>
          </p:cNvPr>
          <p:cNvSpPr/>
          <p:nvPr/>
        </p:nvSpPr>
        <p:spPr>
          <a:xfrm>
            <a:off x="9968450" y="3469081"/>
            <a:ext cx="365888" cy="214655"/>
          </a:xfrm>
          <a:custGeom>
            <a:avLst/>
            <a:gdLst>
              <a:gd name="f0" fmla="val 10800000"/>
              <a:gd name="f1" fmla="val 5400000"/>
              <a:gd name="f2" fmla="val 360"/>
              <a:gd name="f3" fmla="val 180"/>
              <a:gd name="f4" fmla="val w"/>
              <a:gd name="f5" fmla="val h"/>
              <a:gd name="f6" fmla="val 0"/>
              <a:gd name="f7" fmla="val 464"/>
              <a:gd name="f8" fmla="val 272"/>
              <a:gd name="f9" fmla="val 456"/>
              <a:gd name="f10" fmla="val 91"/>
              <a:gd name="f11" fmla="val 461"/>
              <a:gd name="f12" fmla="val 88"/>
              <a:gd name="f13" fmla="val 83"/>
              <a:gd name="f14" fmla="val 24"/>
              <a:gd name="f15" fmla="val 20"/>
              <a:gd name="f16" fmla="val 16"/>
              <a:gd name="f17" fmla="val 452"/>
              <a:gd name="f18" fmla="val 448"/>
              <a:gd name="f19" fmla="val 41"/>
              <a:gd name="f20" fmla="val 431"/>
              <a:gd name="f21" fmla="val 44"/>
              <a:gd name="f22" fmla="val 423"/>
              <a:gd name="f23" fmla="val 58"/>
              <a:gd name="f24" fmla="val 416"/>
              <a:gd name="f25" fmla="val 70"/>
              <a:gd name="f26" fmla="val 408"/>
              <a:gd name="f27" fmla="val 404"/>
              <a:gd name="f28" fmla="val 395"/>
              <a:gd name="f29" fmla="val 361"/>
              <a:gd name="f30" fmla="val 85"/>
              <a:gd name="f31" fmla="val 293"/>
              <a:gd name="f32" fmla="val 81"/>
              <a:gd name="f33" fmla="val 255"/>
              <a:gd name="f34" fmla="val 206"/>
              <a:gd name="f35" fmla="val 155"/>
              <a:gd name="f36" fmla="val 87"/>
              <a:gd name="f37" fmla="val 131"/>
              <a:gd name="f38" fmla="val 90"/>
              <a:gd name="f39" fmla="val 132"/>
              <a:gd name="f40" fmla="val 84"/>
              <a:gd name="f41" fmla="val 51"/>
              <a:gd name="f42" fmla="val 108"/>
              <a:gd name="f43" fmla="val 27"/>
              <a:gd name="f44" fmla="val 78"/>
              <a:gd name="f45" fmla="val 49"/>
              <a:gd name="f46" fmla="val 25"/>
              <a:gd name="f47" fmla="val 89"/>
              <a:gd name="f48" fmla="val 26"/>
              <a:gd name="f49" fmla="val 92"/>
              <a:gd name="f50" fmla="val 22"/>
              <a:gd name="f51" fmla="val 19"/>
              <a:gd name="f52" fmla="val 8"/>
              <a:gd name="f53" fmla="val 3"/>
              <a:gd name="f54" fmla="val 12"/>
              <a:gd name="f55" fmla="val 4"/>
              <a:gd name="f56" fmla="val 264"/>
              <a:gd name="f57" fmla="val 268"/>
              <a:gd name="f58" fmla="val 245"/>
              <a:gd name="f59" fmla="val 247"/>
              <a:gd name="f60" fmla="val 248"/>
              <a:gd name="f61" fmla="val 31"/>
              <a:gd name="f62" fmla="val 434"/>
              <a:gd name="f63" fmla="val 439"/>
              <a:gd name="f64" fmla="val 444"/>
              <a:gd name="f65" fmla="val 115"/>
              <a:gd name="f66" fmla="val 111"/>
              <a:gd name="f67" fmla="val 107"/>
              <a:gd name="f68" fmla="val 191"/>
              <a:gd name="f69" fmla="val 119"/>
              <a:gd name="f70" fmla="val 104"/>
              <a:gd name="f71" fmla="val 184"/>
              <a:gd name="f72" fmla="val 176"/>
              <a:gd name="f73" fmla="val 122"/>
              <a:gd name="f74" fmla="val 112"/>
              <a:gd name="f75" fmla="val 114"/>
              <a:gd name="f76" fmla="val 109"/>
              <a:gd name="f77" fmla="val 121"/>
              <a:gd name="f78" fmla="val 125"/>
              <a:gd name="f79" fmla="val 192"/>
              <a:gd name="f80" fmla="val 97"/>
              <a:gd name="f81" fmla="val 101"/>
              <a:gd name="f82" fmla="val 394"/>
              <a:gd name="f83" fmla="val 413"/>
              <a:gd name="f84" fmla="val 105"/>
              <a:gd name="f85" fmla="val 422"/>
              <a:gd name="f86" fmla="val 429"/>
              <a:gd name="f87" fmla="val 436"/>
              <a:gd name="f88" fmla="val 68"/>
              <a:gd name="f89" fmla="val 440"/>
              <a:gd name="f90" fmla="val 60"/>
              <a:gd name="f91" fmla="val 39"/>
              <a:gd name="f92" fmla="val 74"/>
              <a:gd name="f93" fmla="val 129"/>
              <a:gd name="f94" fmla="val 130"/>
              <a:gd name="f95" fmla="val 133"/>
              <a:gd name="f96" fmla="val 207"/>
              <a:gd name="f97" fmla="val 218"/>
              <a:gd name="f98" fmla="val 226"/>
              <a:gd name="f99" fmla="val 442"/>
              <a:gd name="f100" fmla="val 232"/>
              <a:gd name="f101" fmla="val 23"/>
              <a:gd name="f102" fmla="val 160"/>
              <a:gd name="f103" fmla="val 152"/>
              <a:gd name="f104" fmla="val 145"/>
              <a:gd name="f105" fmla="val 193"/>
              <a:gd name="f106" fmla="val 102"/>
              <a:gd name="f107" fmla="val 96"/>
              <a:gd name="f108" fmla="val 93"/>
              <a:gd name="f109" fmla="val 103"/>
              <a:gd name="f110" fmla="val 113"/>
              <a:gd name="f111" fmla="val 79"/>
              <a:gd name="f112" fmla="val 98"/>
              <a:gd name="f113" fmla="val 95"/>
              <a:gd name="f114" fmla="val 42"/>
              <a:gd name="f115" fmla="val 86"/>
              <a:gd name="f116" fmla="val 43"/>
              <a:gd name="f117" fmla="val 99"/>
              <a:gd name="f118" fmla="val 116"/>
              <a:gd name="f119" fmla="+- 0 0 -90"/>
              <a:gd name="f120" fmla="*/ f4 1 464"/>
              <a:gd name="f121" fmla="*/ f5 1 272"/>
              <a:gd name="f122" fmla="+- f8 0 f6"/>
              <a:gd name="f123" fmla="+- f7 0 f6"/>
              <a:gd name="f124" fmla="*/ f119 f0 1"/>
              <a:gd name="f125" fmla="*/ f123 1 464"/>
              <a:gd name="f126" fmla="*/ f122 1 272"/>
              <a:gd name="f127" fmla="*/ 2147483647 f123 1"/>
              <a:gd name="f128" fmla="*/ 2147483647 f122 1"/>
              <a:gd name="f129" fmla="*/ 0 f123 1"/>
              <a:gd name="f130" fmla="*/ f124 1 f3"/>
              <a:gd name="f131" fmla="*/ f127 1 464"/>
              <a:gd name="f132" fmla="*/ f128 1 272"/>
              <a:gd name="f133" fmla="*/ f129 1 464"/>
              <a:gd name="f134" fmla="*/ 0 1 f125"/>
              <a:gd name="f135" fmla="*/ f7 1 f125"/>
              <a:gd name="f136" fmla="*/ 0 1 f126"/>
              <a:gd name="f137" fmla="*/ f8 1 f126"/>
              <a:gd name="f138" fmla="+- f130 0 f1"/>
              <a:gd name="f139" fmla="*/ f131 1 f125"/>
              <a:gd name="f140" fmla="*/ f132 1 f126"/>
              <a:gd name="f141" fmla="*/ f133 1 f125"/>
              <a:gd name="f142" fmla="*/ f134 f120 1"/>
              <a:gd name="f143" fmla="*/ f135 f120 1"/>
              <a:gd name="f144" fmla="*/ f137 f121 1"/>
              <a:gd name="f145" fmla="*/ f136 f121 1"/>
              <a:gd name="f146" fmla="*/ f139 f120 1"/>
              <a:gd name="f147" fmla="*/ f140 f121 1"/>
              <a:gd name="f148" fmla="*/ f141 f120 1"/>
            </a:gdLst>
            <a:ahLst/>
            <a:cxnLst>
              <a:cxn ang="3cd4">
                <a:pos x="hc" y="t"/>
              </a:cxn>
              <a:cxn ang="0">
                <a:pos x="r" y="vc"/>
              </a:cxn>
              <a:cxn ang="cd4">
                <a:pos x="hc" y="b"/>
              </a:cxn>
              <a:cxn ang="cd2">
                <a:pos x="l" y="vc"/>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8"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Lst>
            <a:rect l="f142" t="f145" r="f143" b="f144"/>
            <a:pathLst>
              <a:path w="464" h="272">
                <a:moveTo>
                  <a:pt x="f9" y="f10"/>
                </a:moveTo>
                <a:cubicBezTo>
                  <a:pt x="f11" y="f10"/>
                  <a:pt x="f7" y="f12"/>
                  <a:pt x="f7" y="f13"/>
                </a:cubicBezTo>
                <a:cubicBezTo>
                  <a:pt x="f7" y="f14"/>
                  <a:pt x="f7" y="f14"/>
                  <a:pt x="f7" y="f14"/>
                </a:cubicBezTo>
                <a:cubicBezTo>
                  <a:pt x="f7" y="f15"/>
                  <a:pt x="f11" y="f16"/>
                  <a:pt x="f9" y="f16"/>
                </a:cubicBezTo>
                <a:cubicBezTo>
                  <a:pt x="f17" y="f16"/>
                  <a:pt x="f18" y="f15"/>
                  <a:pt x="f18" y="f14"/>
                </a:cubicBezTo>
                <a:cubicBezTo>
                  <a:pt x="f18" y="f19"/>
                  <a:pt x="f18" y="f19"/>
                  <a:pt x="f18" y="f19"/>
                </a:cubicBezTo>
                <a:cubicBezTo>
                  <a:pt x="f20" y="f21"/>
                  <a:pt x="f22" y="f23"/>
                  <a:pt x="f24" y="f25"/>
                </a:cubicBezTo>
                <a:cubicBezTo>
                  <a:pt x="f26" y="f13"/>
                  <a:pt x="f27" y="f12"/>
                  <a:pt x="f28" y="f12"/>
                </a:cubicBezTo>
                <a:cubicBezTo>
                  <a:pt x="f29" y="f30"/>
                  <a:pt x="f31" y="f32"/>
                  <a:pt x="f33" y="f32"/>
                </a:cubicBezTo>
                <a:cubicBezTo>
                  <a:pt x="f34" y="f32"/>
                  <a:pt x="f35" y="f36"/>
                  <a:pt x="f37" y="f38"/>
                </a:cubicBezTo>
                <a:cubicBezTo>
                  <a:pt x="f39" y="f36"/>
                  <a:pt x="f39" y="f40"/>
                  <a:pt x="f39" y="f32"/>
                </a:cubicBezTo>
                <a:cubicBezTo>
                  <a:pt x="f39" y="f41"/>
                  <a:pt x="f42" y="f43"/>
                  <a:pt x="f44" y="f43"/>
                </a:cubicBezTo>
                <a:cubicBezTo>
                  <a:pt x="f45" y="f43"/>
                  <a:pt x="f46" y="f41"/>
                  <a:pt x="f46" y="f32"/>
                </a:cubicBezTo>
                <a:cubicBezTo>
                  <a:pt x="f46" y="f30"/>
                  <a:pt x="f46" y="f47"/>
                  <a:pt x="f48" y="f49"/>
                </a:cubicBezTo>
                <a:cubicBezTo>
                  <a:pt x="f50" y="f49"/>
                  <a:pt x="f51" y="f49"/>
                  <a:pt x="f16" y="f49"/>
                </a:cubicBezTo>
                <a:cubicBezTo>
                  <a:pt x="f16" y="f52"/>
                  <a:pt x="f16" y="f52"/>
                  <a:pt x="f16" y="f52"/>
                </a:cubicBezTo>
                <a:cubicBezTo>
                  <a:pt x="f16" y="f53"/>
                  <a:pt x="f54" y="f6"/>
                  <a:pt x="f52" y="f6"/>
                </a:cubicBezTo>
                <a:cubicBezTo>
                  <a:pt x="f55" y="f6"/>
                  <a:pt x="f6" y="f53"/>
                  <a:pt x="f6" y="f52"/>
                </a:cubicBezTo>
                <a:cubicBezTo>
                  <a:pt x="f6" y="f56"/>
                  <a:pt x="f6" y="f56"/>
                  <a:pt x="f6" y="f56"/>
                </a:cubicBezTo>
                <a:cubicBezTo>
                  <a:pt x="f6" y="f57"/>
                  <a:pt x="f55" y="f8"/>
                  <a:pt x="f52" y="f8"/>
                </a:cubicBezTo>
                <a:cubicBezTo>
                  <a:pt x="f54" y="f8"/>
                  <a:pt x="f16" y="f57"/>
                  <a:pt x="f16" y="f56"/>
                </a:cubicBezTo>
                <a:cubicBezTo>
                  <a:pt x="f16" y="f58"/>
                  <a:pt x="f16" y="f58"/>
                  <a:pt x="f16" y="f58"/>
                </a:cubicBezTo>
                <a:cubicBezTo>
                  <a:pt x="f15" y="f59"/>
                  <a:pt x="f46" y="f60"/>
                  <a:pt x="f61" y="f60"/>
                </a:cubicBezTo>
                <a:cubicBezTo>
                  <a:pt x="f62" y="f60"/>
                  <a:pt x="f62" y="f60"/>
                  <a:pt x="f62" y="f60"/>
                </a:cubicBezTo>
                <a:cubicBezTo>
                  <a:pt x="f63" y="f60"/>
                  <a:pt x="f64" y="f59"/>
                  <a:pt x="f18" y="f58"/>
                </a:cubicBezTo>
                <a:cubicBezTo>
                  <a:pt x="f18" y="f56"/>
                  <a:pt x="f18" y="f56"/>
                  <a:pt x="f18" y="f56"/>
                </a:cubicBezTo>
                <a:cubicBezTo>
                  <a:pt x="f18" y="f57"/>
                  <a:pt x="f17" y="f8"/>
                  <a:pt x="f9" y="f8"/>
                </a:cubicBezTo>
                <a:cubicBezTo>
                  <a:pt x="f11" y="f8"/>
                  <a:pt x="f7" y="f57"/>
                  <a:pt x="f7" y="f56"/>
                </a:cubicBezTo>
                <a:cubicBezTo>
                  <a:pt x="f7" y="f65"/>
                  <a:pt x="f7" y="f65"/>
                  <a:pt x="f7" y="f65"/>
                </a:cubicBezTo>
                <a:cubicBezTo>
                  <a:pt x="f7" y="f66"/>
                  <a:pt x="f11" y="f67"/>
                  <a:pt x="f9" y="f67"/>
                </a:cubicBezTo>
                <a:cubicBezTo>
                  <a:pt x="f17" y="f67"/>
                  <a:pt x="f18" y="f66"/>
                  <a:pt x="f18" y="f65"/>
                </a:cubicBezTo>
                <a:cubicBezTo>
                  <a:pt x="f18" y="f68"/>
                  <a:pt x="f18" y="f68"/>
                  <a:pt x="f18" y="f68"/>
                </a:cubicBezTo>
                <a:cubicBezTo>
                  <a:pt x="f69" y="f68"/>
                  <a:pt x="f69" y="f68"/>
                  <a:pt x="f69" y="f68"/>
                </a:cubicBezTo>
                <a:cubicBezTo>
                  <a:pt x="f66" y="f68"/>
                  <a:pt x="f70" y="f71"/>
                  <a:pt x="f70" y="f72"/>
                </a:cubicBezTo>
                <a:cubicBezTo>
                  <a:pt x="f70" y="f73"/>
                  <a:pt x="f70" y="f73"/>
                  <a:pt x="f70" y="f73"/>
                </a:cubicBezTo>
                <a:cubicBezTo>
                  <a:pt x="f70" y="f74"/>
                  <a:pt x="f75" y="f76"/>
                  <a:pt x="f77" y="f67"/>
                </a:cubicBezTo>
                <a:cubicBezTo>
                  <a:pt x="f78" y="f67"/>
                  <a:pt x="f79" y="f80"/>
                  <a:pt x="f33" y="f80"/>
                </a:cubicBezTo>
                <a:cubicBezTo>
                  <a:pt x="f31" y="f80"/>
                  <a:pt x="f2" y="f81"/>
                  <a:pt x="f82" y="f70"/>
                </a:cubicBezTo>
                <a:cubicBezTo>
                  <a:pt x="f83" y="f84"/>
                  <a:pt x="f85" y="f38"/>
                  <a:pt x="f86" y="f44"/>
                </a:cubicBezTo>
                <a:cubicBezTo>
                  <a:pt x="f87" y="f88"/>
                  <a:pt x="f89" y="f90"/>
                  <a:pt x="f18" y="f23"/>
                </a:cubicBezTo>
                <a:cubicBezTo>
                  <a:pt x="f18" y="f13"/>
                  <a:pt x="f18" y="f13"/>
                  <a:pt x="f18" y="f13"/>
                </a:cubicBezTo>
                <a:cubicBezTo>
                  <a:pt x="f18" y="f12"/>
                  <a:pt x="f17" y="f10"/>
                  <a:pt x="f9" y="f10"/>
                </a:cubicBezTo>
                <a:close/>
                <a:moveTo>
                  <a:pt x="f16" y="f42"/>
                </a:moveTo>
                <a:cubicBezTo>
                  <a:pt x="f91" y="f76"/>
                  <a:pt x="f92" y="f65"/>
                  <a:pt x="f13" y="f93"/>
                </a:cubicBezTo>
                <a:cubicBezTo>
                  <a:pt x="f61" y="f93"/>
                  <a:pt x="f61" y="f93"/>
                  <a:pt x="f61" y="f93"/>
                </a:cubicBezTo>
                <a:cubicBezTo>
                  <a:pt x="f46" y="f93"/>
                  <a:pt x="f15" y="f94"/>
                  <a:pt x="f16" y="f95"/>
                </a:cubicBezTo>
                <a:lnTo>
                  <a:pt x="f16" y="f42"/>
                </a:lnTo>
                <a:close/>
                <a:moveTo>
                  <a:pt x="f69" y="f96"/>
                </a:moveTo>
                <a:cubicBezTo>
                  <a:pt x="f18" y="f96"/>
                  <a:pt x="f18" y="f96"/>
                  <a:pt x="f18" y="f96"/>
                </a:cubicBezTo>
                <a:cubicBezTo>
                  <a:pt x="f18" y="f97"/>
                  <a:pt x="f18" y="f97"/>
                  <a:pt x="f18" y="f97"/>
                </a:cubicBezTo>
                <a:cubicBezTo>
                  <a:pt x="f18" y="f98"/>
                  <a:pt x="f99" y="f100"/>
                  <a:pt x="f62" y="f100"/>
                </a:cubicBezTo>
                <a:cubicBezTo>
                  <a:pt x="f61" y="f100"/>
                  <a:pt x="f61" y="f100"/>
                  <a:pt x="f61" y="f100"/>
                </a:cubicBezTo>
                <a:cubicBezTo>
                  <a:pt x="f101" y="f100"/>
                  <a:pt x="f16" y="f98"/>
                  <a:pt x="f16" y="f97"/>
                </a:cubicBezTo>
                <a:cubicBezTo>
                  <a:pt x="f16" y="f102"/>
                  <a:pt x="f16" y="f102"/>
                  <a:pt x="f16" y="f102"/>
                </a:cubicBezTo>
                <a:cubicBezTo>
                  <a:pt x="f16" y="f103"/>
                  <a:pt x="f101" y="f104"/>
                  <a:pt x="f61" y="f104"/>
                </a:cubicBezTo>
                <a:cubicBezTo>
                  <a:pt x="f12" y="f104"/>
                  <a:pt x="f12" y="f104"/>
                  <a:pt x="f12" y="f104"/>
                </a:cubicBezTo>
                <a:cubicBezTo>
                  <a:pt x="f12" y="f72"/>
                  <a:pt x="f12" y="f72"/>
                  <a:pt x="f12" y="f72"/>
                </a:cubicBezTo>
                <a:cubicBezTo>
                  <a:pt x="f12" y="f105"/>
                  <a:pt x="f106" y="f96"/>
                  <a:pt x="f69" y="f96"/>
                </a:cubicBezTo>
                <a:close/>
                <a:moveTo>
                  <a:pt x="f75" y="f49"/>
                </a:moveTo>
                <a:cubicBezTo>
                  <a:pt x="f106" y="f107"/>
                  <a:pt x="f108" y="f109"/>
                  <a:pt x="f38" y="f110"/>
                </a:cubicBezTo>
                <a:cubicBezTo>
                  <a:pt x="f111" y="f109"/>
                  <a:pt x="f90" y="f112"/>
                  <a:pt x="f21" y="f113"/>
                </a:cubicBezTo>
                <a:cubicBezTo>
                  <a:pt x="f114" y="f38"/>
                  <a:pt x="f19" y="f115"/>
                  <a:pt x="f19" y="f32"/>
                </a:cubicBezTo>
                <a:cubicBezTo>
                  <a:pt x="f19" y="f90"/>
                  <a:pt x="f23" y="f116"/>
                  <a:pt x="f44" y="f116"/>
                </a:cubicBezTo>
                <a:cubicBezTo>
                  <a:pt x="f117" y="f116"/>
                  <a:pt x="f118" y="f90"/>
                  <a:pt x="f118" y="f32"/>
                </a:cubicBezTo>
                <a:cubicBezTo>
                  <a:pt x="f118" y="f30"/>
                  <a:pt x="f65" y="f47"/>
                  <a:pt x="f75" y="f49"/>
                </a:cubicBezTo>
                <a:close/>
              </a:path>
            </a:pathLst>
          </a:custGeom>
          <a:solidFill>
            <a:srgbClr val="00625F"/>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sv-SE" sz="2000" b="0" i="0" u="none" strike="noStrike" kern="1200" cap="none" spc="0" baseline="0">
              <a:solidFill>
                <a:srgbClr val="58585A"/>
              </a:solidFill>
              <a:uFillTx/>
              <a:latin typeface="Arial"/>
            </a:endParaRPr>
          </a:p>
        </p:txBody>
      </p:sp>
      <p:sp>
        <p:nvSpPr>
          <p:cNvPr id="60" name="Freeform 3">
            <a:extLst>
              <a:ext uri="{FF2B5EF4-FFF2-40B4-BE49-F238E27FC236}">
                <a16:creationId xmlns:a16="http://schemas.microsoft.com/office/drawing/2014/main" id="{EE6470CD-181E-43E5-BD8C-1AC47571DE03}"/>
              </a:ext>
            </a:extLst>
          </p:cNvPr>
          <p:cNvSpPr/>
          <p:nvPr/>
        </p:nvSpPr>
        <p:spPr>
          <a:xfrm>
            <a:off x="8030763" y="3375913"/>
            <a:ext cx="246101" cy="379137"/>
          </a:xfrm>
          <a:custGeom>
            <a:avLst/>
            <a:gdLst>
              <a:gd name="f0" fmla="val 10800000"/>
              <a:gd name="f1" fmla="val 5400000"/>
              <a:gd name="f2" fmla="val 180"/>
              <a:gd name="f3" fmla="val w"/>
              <a:gd name="f4" fmla="val h"/>
              <a:gd name="f5" fmla="val 0"/>
              <a:gd name="f6" fmla="val 266"/>
              <a:gd name="f7" fmla="val 410"/>
              <a:gd name="f8" fmla="val 253"/>
              <a:gd name="f9" fmla="val 57"/>
              <a:gd name="f10" fmla="val 251"/>
              <a:gd name="f11" fmla="val 51"/>
              <a:gd name="f12" fmla="val 49"/>
              <a:gd name="f13" fmla="val 255"/>
              <a:gd name="f14" fmla="val 46"/>
              <a:gd name="f15" fmla="val 43"/>
              <a:gd name="f16" fmla="val 28"/>
              <a:gd name="f17" fmla="val 22"/>
              <a:gd name="f18" fmla="val 250"/>
              <a:gd name="f19" fmla="val 17"/>
              <a:gd name="f20" fmla="val 243"/>
              <a:gd name="f21" fmla="val 237"/>
              <a:gd name="f22" fmla="val 232"/>
              <a:gd name="f23" fmla="val 233"/>
              <a:gd name="f24" fmla="val 235"/>
              <a:gd name="f25" fmla="val 215"/>
              <a:gd name="f26" fmla="val 217"/>
              <a:gd name="f27" fmla="val 218"/>
              <a:gd name="f28" fmla="val 213"/>
              <a:gd name="f29" fmla="val 207"/>
              <a:gd name="f30" fmla="val 200"/>
              <a:gd name="f31" fmla="val 195"/>
              <a:gd name="f32" fmla="val 197"/>
              <a:gd name="f33" fmla="val 199"/>
              <a:gd name="f34" fmla="val 167"/>
              <a:gd name="f35" fmla="val 25"/>
              <a:gd name="f36" fmla="val 11"/>
              <a:gd name="f37" fmla="val 155"/>
              <a:gd name="f38" fmla="val 142"/>
              <a:gd name="f39" fmla="val 125"/>
              <a:gd name="f40" fmla="val 111"/>
              <a:gd name="f41" fmla="val 100"/>
              <a:gd name="f42" fmla="val 69"/>
              <a:gd name="f43" fmla="val 71"/>
              <a:gd name="f44" fmla="val 72"/>
              <a:gd name="f45" fmla="val 67"/>
              <a:gd name="f46" fmla="val 61"/>
              <a:gd name="f47" fmla="val 55"/>
              <a:gd name="f48" fmla="val 50"/>
              <a:gd name="f49" fmla="val 53"/>
              <a:gd name="f50" fmla="val 32"/>
              <a:gd name="f51" fmla="val 34"/>
              <a:gd name="f52" fmla="val 36"/>
              <a:gd name="f53" fmla="val 31"/>
              <a:gd name="f54" fmla="val 24"/>
              <a:gd name="f55" fmla="val 18"/>
              <a:gd name="f56" fmla="val 13"/>
              <a:gd name="f57" fmla="val 14"/>
              <a:gd name="f58" fmla="val 16"/>
              <a:gd name="f59" fmla="val 6"/>
              <a:gd name="f60" fmla="val 63"/>
              <a:gd name="f61" fmla="val 99"/>
              <a:gd name="f62" fmla="val 107"/>
              <a:gd name="f63" fmla="val 113"/>
              <a:gd name="f64" fmla="val 163"/>
              <a:gd name="f65" fmla="val 62"/>
              <a:gd name="f66" fmla="val 156"/>
              <a:gd name="f67" fmla="val 64"/>
              <a:gd name="f68" fmla="val 154"/>
              <a:gd name="f69" fmla="val 65"/>
              <a:gd name="f70" fmla="val 151"/>
              <a:gd name="f71" fmla="val 148"/>
              <a:gd name="f72" fmla="val 133"/>
              <a:gd name="f73" fmla="val 127"/>
              <a:gd name="f74" fmla="val 60"/>
              <a:gd name="f75" fmla="val 122"/>
              <a:gd name="f76" fmla="val 54"/>
              <a:gd name="f77" fmla="val 47"/>
              <a:gd name="f78" fmla="val 42"/>
              <a:gd name="f79" fmla="val 44"/>
              <a:gd name="f80" fmla="val 35"/>
              <a:gd name="f81" fmla="val 29"/>
              <a:gd name="f82" fmla="val 169"/>
              <a:gd name="f83" fmla="val 176"/>
              <a:gd name="f84" fmla="val 204"/>
              <a:gd name="f85" fmla="val 212"/>
              <a:gd name="f86" fmla="val 385"/>
              <a:gd name="f87" fmla="val 398"/>
              <a:gd name="f88" fmla="val 367"/>
              <a:gd name="f89" fmla="val 363"/>
              <a:gd name="f90" fmla="val 359"/>
              <a:gd name="f91" fmla="val 159"/>
              <a:gd name="f92" fmla="val 390"/>
              <a:gd name="f93" fmla="val 147"/>
              <a:gd name="f94" fmla="val 394"/>
              <a:gd name="f95" fmla="val 120"/>
              <a:gd name="f96" fmla="val 116"/>
              <a:gd name="f97" fmla="val 210"/>
              <a:gd name="f98" fmla="val 206"/>
              <a:gd name="f99" fmla="val 112"/>
              <a:gd name="f100" fmla="val 202"/>
              <a:gd name="f101" fmla="val 108"/>
              <a:gd name="f102" fmla="val 45"/>
              <a:gd name="f103" fmla="val 179"/>
              <a:gd name="f104" fmla="val 175"/>
              <a:gd name="f105" fmla="val 171"/>
              <a:gd name="f106" fmla="val 105"/>
              <a:gd name="f107" fmla="val 97"/>
              <a:gd name="f108" fmla="val 73"/>
              <a:gd name="f109" fmla="val 70"/>
              <a:gd name="f110" fmla="val 20"/>
              <a:gd name="f111" fmla="val 222"/>
              <a:gd name="f112" fmla="val 335"/>
              <a:gd name="f113" fmla="val 340"/>
              <a:gd name="f114" fmla="val 343"/>
              <a:gd name="f115" fmla="val 224"/>
              <a:gd name="f116" fmla="val 238"/>
              <a:gd name="f117" fmla="val 221"/>
              <a:gd name="f118" fmla="val 223"/>
              <a:gd name="f119" fmla="val 219"/>
              <a:gd name="f120" fmla="val 203"/>
              <a:gd name="f121" fmla="val 205"/>
              <a:gd name="f122" fmla="val 260"/>
              <a:gd name="f123" fmla="+- 0 0 -90"/>
              <a:gd name="f124" fmla="*/ f3 1 266"/>
              <a:gd name="f125" fmla="*/ f4 1 410"/>
              <a:gd name="f126" fmla="+- f7 0 f5"/>
              <a:gd name="f127" fmla="+- f6 0 f5"/>
              <a:gd name="f128" fmla="*/ f123 f0 1"/>
              <a:gd name="f129" fmla="*/ f127 1 266"/>
              <a:gd name="f130" fmla="*/ f126 1 410"/>
              <a:gd name="f131" fmla="*/ 2147483646 f127 1"/>
              <a:gd name="f132" fmla="*/ 2147483646 f126 1"/>
              <a:gd name="f133" fmla="*/ 0 f126 1"/>
              <a:gd name="f134" fmla="*/ 0 f127 1"/>
              <a:gd name="f135" fmla="*/ f128 1 f2"/>
              <a:gd name="f136" fmla="*/ f131 1 266"/>
              <a:gd name="f137" fmla="*/ f132 1 410"/>
              <a:gd name="f138" fmla="*/ f133 1 410"/>
              <a:gd name="f139" fmla="*/ f134 1 266"/>
              <a:gd name="f140" fmla="*/ 0 1 f129"/>
              <a:gd name="f141" fmla="*/ f6 1 f129"/>
              <a:gd name="f142" fmla="*/ 0 1 f130"/>
              <a:gd name="f143" fmla="*/ f7 1 f130"/>
              <a:gd name="f144" fmla="+- f135 0 f1"/>
              <a:gd name="f145" fmla="*/ f136 1 f129"/>
              <a:gd name="f146" fmla="*/ f137 1 f130"/>
              <a:gd name="f147" fmla="*/ f138 1 f130"/>
              <a:gd name="f148" fmla="*/ f139 1 f129"/>
              <a:gd name="f149" fmla="*/ f140 f124 1"/>
              <a:gd name="f150" fmla="*/ f141 f124 1"/>
              <a:gd name="f151" fmla="*/ f143 f125 1"/>
              <a:gd name="f152" fmla="*/ f142 f125 1"/>
              <a:gd name="f153" fmla="*/ f145 f124 1"/>
              <a:gd name="f154" fmla="*/ f146 f125 1"/>
              <a:gd name="f155" fmla="*/ f147 f125 1"/>
              <a:gd name="f156" fmla="*/ f148 f124 1"/>
            </a:gdLst>
            <a:ahLst/>
            <a:cxnLst>
              <a:cxn ang="3cd4">
                <a:pos x="hc" y="t"/>
              </a:cxn>
              <a:cxn ang="0">
                <a:pos x="r" y="vc"/>
              </a:cxn>
              <a:cxn ang="cd4">
                <a:pos x="hc" y="b"/>
              </a:cxn>
              <a:cxn ang="cd2">
                <a:pos x="l" y="vc"/>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5"/>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6"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 ang="f144">
                <a:pos x="f153" y="f154"/>
              </a:cxn>
            </a:cxnLst>
            <a:rect l="f149" t="f152" r="f150" b="f151"/>
            <a:pathLst>
              <a:path w="266" h="410">
                <a:moveTo>
                  <a:pt x="f8" y="f9"/>
                </a:moveTo>
                <a:cubicBezTo>
                  <a:pt x="f10" y="f9"/>
                  <a:pt x="f10" y="f9"/>
                  <a:pt x="f10" y="f9"/>
                </a:cubicBezTo>
                <a:cubicBezTo>
                  <a:pt x="f10" y="f11"/>
                  <a:pt x="f10" y="f11"/>
                  <a:pt x="f10" y="f11"/>
                </a:cubicBezTo>
                <a:cubicBezTo>
                  <a:pt x="f8" y="f12"/>
                  <a:pt x="f13" y="f14"/>
                  <a:pt x="f13" y="f15"/>
                </a:cubicBezTo>
                <a:cubicBezTo>
                  <a:pt x="f13" y="f16"/>
                  <a:pt x="f13" y="f16"/>
                  <a:pt x="f13" y="f16"/>
                </a:cubicBezTo>
                <a:cubicBezTo>
                  <a:pt x="f13" y="f17"/>
                  <a:pt x="f18" y="f19"/>
                  <a:pt x="f20" y="f19"/>
                </a:cubicBezTo>
                <a:cubicBezTo>
                  <a:pt x="f21" y="f19"/>
                  <a:pt x="f22" y="f17"/>
                  <a:pt x="f22" y="f16"/>
                </a:cubicBezTo>
                <a:cubicBezTo>
                  <a:pt x="f22" y="f15"/>
                  <a:pt x="f22" y="f15"/>
                  <a:pt x="f22" y="f15"/>
                </a:cubicBezTo>
                <a:cubicBezTo>
                  <a:pt x="f22" y="f14"/>
                  <a:pt x="f23" y="f12"/>
                  <a:pt x="f24" y="f11"/>
                </a:cubicBezTo>
                <a:cubicBezTo>
                  <a:pt x="f24" y="f9"/>
                  <a:pt x="f24" y="f9"/>
                  <a:pt x="f24" y="f9"/>
                </a:cubicBezTo>
                <a:cubicBezTo>
                  <a:pt x="f25" y="f9"/>
                  <a:pt x="f25" y="f9"/>
                  <a:pt x="f25" y="f9"/>
                </a:cubicBezTo>
                <a:cubicBezTo>
                  <a:pt x="f25" y="f11"/>
                  <a:pt x="f25" y="f11"/>
                  <a:pt x="f25" y="f11"/>
                </a:cubicBezTo>
                <a:cubicBezTo>
                  <a:pt x="f26" y="f12"/>
                  <a:pt x="f27" y="f14"/>
                  <a:pt x="f27" y="f15"/>
                </a:cubicBezTo>
                <a:cubicBezTo>
                  <a:pt x="f27" y="f16"/>
                  <a:pt x="f27" y="f16"/>
                  <a:pt x="f27" y="f16"/>
                </a:cubicBezTo>
                <a:cubicBezTo>
                  <a:pt x="f27" y="f17"/>
                  <a:pt x="f28" y="f19"/>
                  <a:pt x="f29" y="f19"/>
                </a:cubicBezTo>
                <a:cubicBezTo>
                  <a:pt x="f30" y="f19"/>
                  <a:pt x="f31" y="f17"/>
                  <a:pt x="f31" y="f16"/>
                </a:cubicBezTo>
                <a:cubicBezTo>
                  <a:pt x="f31" y="f15"/>
                  <a:pt x="f31" y="f15"/>
                  <a:pt x="f31" y="f15"/>
                </a:cubicBezTo>
                <a:cubicBezTo>
                  <a:pt x="f31" y="f14"/>
                  <a:pt x="f32" y="f12"/>
                  <a:pt x="f33" y="f11"/>
                </a:cubicBezTo>
                <a:cubicBezTo>
                  <a:pt x="f33" y="f9"/>
                  <a:pt x="f33" y="f9"/>
                  <a:pt x="f33" y="f9"/>
                </a:cubicBezTo>
                <a:cubicBezTo>
                  <a:pt x="f34" y="f9"/>
                  <a:pt x="f34" y="f9"/>
                  <a:pt x="f34" y="f9"/>
                </a:cubicBezTo>
                <a:cubicBezTo>
                  <a:pt x="f34" y="f35"/>
                  <a:pt x="f34" y="f35"/>
                  <a:pt x="f34" y="f35"/>
                </a:cubicBezTo>
                <a:cubicBezTo>
                  <a:pt x="f34" y="f36"/>
                  <a:pt x="f37" y="f5"/>
                  <a:pt x="f38" y="f5"/>
                </a:cubicBezTo>
                <a:cubicBezTo>
                  <a:pt x="f39" y="f5"/>
                  <a:pt x="f39" y="f5"/>
                  <a:pt x="f39" y="f5"/>
                </a:cubicBezTo>
                <a:cubicBezTo>
                  <a:pt x="f40" y="f5"/>
                  <a:pt x="f41" y="f36"/>
                  <a:pt x="f41" y="f35"/>
                </a:cubicBezTo>
                <a:cubicBezTo>
                  <a:pt x="f41" y="f9"/>
                  <a:pt x="f41" y="f9"/>
                  <a:pt x="f41" y="f9"/>
                </a:cubicBezTo>
                <a:cubicBezTo>
                  <a:pt x="f42" y="f9"/>
                  <a:pt x="f42" y="f9"/>
                  <a:pt x="f42" y="f9"/>
                </a:cubicBezTo>
                <a:cubicBezTo>
                  <a:pt x="f42" y="f11"/>
                  <a:pt x="f42" y="f11"/>
                  <a:pt x="f42" y="f11"/>
                </a:cubicBezTo>
                <a:cubicBezTo>
                  <a:pt x="f43" y="f12"/>
                  <a:pt x="f44" y="f14"/>
                  <a:pt x="f44" y="f15"/>
                </a:cubicBezTo>
                <a:cubicBezTo>
                  <a:pt x="f44" y="f16"/>
                  <a:pt x="f44" y="f16"/>
                  <a:pt x="f44" y="f16"/>
                </a:cubicBezTo>
                <a:cubicBezTo>
                  <a:pt x="f44" y="f17"/>
                  <a:pt x="f45" y="f19"/>
                  <a:pt x="f46" y="f19"/>
                </a:cubicBezTo>
                <a:cubicBezTo>
                  <a:pt x="f47" y="f19"/>
                  <a:pt x="f48" y="f17"/>
                  <a:pt x="f48" y="f16"/>
                </a:cubicBezTo>
                <a:cubicBezTo>
                  <a:pt x="f48" y="f15"/>
                  <a:pt x="f48" y="f15"/>
                  <a:pt x="f48" y="f15"/>
                </a:cubicBezTo>
                <a:cubicBezTo>
                  <a:pt x="f48" y="f14"/>
                  <a:pt x="f11" y="f12"/>
                  <a:pt x="f49" y="f11"/>
                </a:cubicBezTo>
                <a:cubicBezTo>
                  <a:pt x="f49" y="f9"/>
                  <a:pt x="f49" y="f9"/>
                  <a:pt x="f49" y="f9"/>
                </a:cubicBezTo>
                <a:cubicBezTo>
                  <a:pt x="f50" y="f9"/>
                  <a:pt x="f50" y="f9"/>
                  <a:pt x="f50" y="f9"/>
                </a:cubicBezTo>
                <a:cubicBezTo>
                  <a:pt x="f50" y="f11"/>
                  <a:pt x="f50" y="f11"/>
                  <a:pt x="f50" y="f11"/>
                </a:cubicBezTo>
                <a:cubicBezTo>
                  <a:pt x="f51" y="f12"/>
                  <a:pt x="f52" y="f14"/>
                  <a:pt x="f52" y="f15"/>
                </a:cubicBezTo>
                <a:cubicBezTo>
                  <a:pt x="f52" y="f16"/>
                  <a:pt x="f52" y="f16"/>
                  <a:pt x="f52" y="f16"/>
                </a:cubicBezTo>
                <a:cubicBezTo>
                  <a:pt x="f52" y="f17"/>
                  <a:pt x="f53" y="f19"/>
                  <a:pt x="f54" y="f19"/>
                </a:cubicBezTo>
                <a:cubicBezTo>
                  <a:pt x="f55" y="f19"/>
                  <a:pt x="f56" y="f17"/>
                  <a:pt x="f56" y="f16"/>
                </a:cubicBezTo>
                <a:cubicBezTo>
                  <a:pt x="f56" y="f15"/>
                  <a:pt x="f56" y="f15"/>
                  <a:pt x="f56" y="f15"/>
                </a:cubicBezTo>
                <a:cubicBezTo>
                  <a:pt x="f56" y="f14"/>
                  <a:pt x="f57" y="f12"/>
                  <a:pt x="f58" y="f11"/>
                </a:cubicBezTo>
                <a:cubicBezTo>
                  <a:pt x="f58" y="f9"/>
                  <a:pt x="f58" y="f9"/>
                  <a:pt x="f58" y="f9"/>
                </a:cubicBezTo>
                <a:cubicBezTo>
                  <a:pt x="f57" y="f9"/>
                  <a:pt x="f57" y="f9"/>
                  <a:pt x="f57" y="f9"/>
                </a:cubicBezTo>
                <a:cubicBezTo>
                  <a:pt x="f59" y="f9"/>
                  <a:pt x="f5" y="f60"/>
                  <a:pt x="f5" y="f43"/>
                </a:cubicBezTo>
                <a:cubicBezTo>
                  <a:pt x="f5" y="f61"/>
                  <a:pt x="f5" y="f61"/>
                  <a:pt x="f5" y="f61"/>
                </a:cubicBezTo>
                <a:cubicBezTo>
                  <a:pt x="f5" y="f62"/>
                  <a:pt x="f59" y="f63"/>
                  <a:pt x="f57" y="f63"/>
                </a:cubicBezTo>
                <a:cubicBezTo>
                  <a:pt x="f41" y="f63"/>
                  <a:pt x="f41" y="f63"/>
                  <a:pt x="f41" y="f63"/>
                </a:cubicBezTo>
                <a:cubicBezTo>
                  <a:pt x="f41" y="f64"/>
                  <a:pt x="f41" y="f64"/>
                  <a:pt x="f41" y="f64"/>
                </a:cubicBezTo>
                <a:cubicBezTo>
                  <a:pt x="f65" y="f64"/>
                  <a:pt x="f65" y="f64"/>
                  <a:pt x="f65" y="f64"/>
                </a:cubicBezTo>
                <a:cubicBezTo>
                  <a:pt x="f65" y="f66"/>
                  <a:pt x="f65" y="f66"/>
                  <a:pt x="f65" y="f66"/>
                </a:cubicBezTo>
                <a:cubicBezTo>
                  <a:pt x="f67" y="f68"/>
                  <a:pt x="f69" y="f70"/>
                  <a:pt x="f69" y="f71"/>
                </a:cubicBezTo>
                <a:cubicBezTo>
                  <a:pt x="f69" y="f72"/>
                  <a:pt x="f69" y="f72"/>
                  <a:pt x="f69" y="f72"/>
                </a:cubicBezTo>
                <a:cubicBezTo>
                  <a:pt x="f69" y="f73"/>
                  <a:pt x="f74" y="f75"/>
                  <a:pt x="f76" y="f75"/>
                </a:cubicBezTo>
                <a:cubicBezTo>
                  <a:pt x="f77" y="f75"/>
                  <a:pt x="f78" y="f73"/>
                  <a:pt x="f78" y="f72"/>
                </a:cubicBezTo>
                <a:cubicBezTo>
                  <a:pt x="f78" y="f71"/>
                  <a:pt x="f78" y="f71"/>
                  <a:pt x="f78" y="f71"/>
                </a:cubicBezTo>
                <a:cubicBezTo>
                  <a:pt x="f78" y="f70"/>
                  <a:pt x="f79" y="f68"/>
                  <a:pt x="f14" y="f66"/>
                </a:cubicBezTo>
                <a:cubicBezTo>
                  <a:pt x="f14" y="f64"/>
                  <a:pt x="f14" y="f64"/>
                  <a:pt x="f14" y="f64"/>
                </a:cubicBezTo>
                <a:cubicBezTo>
                  <a:pt x="f78" y="f64"/>
                  <a:pt x="f78" y="f64"/>
                  <a:pt x="f78" y="f64"/>
                </a:cubicBezTo>
                <a:cubicBezTo>
                  <a:pt x="f80" y="f64"/>
                  <a:pt x="f81" y="f82"/>
                  <a:pt x="f81" y="f83"/>
                </a:cubicBezTo>
                <a:cubicBezTo>
                  <a:pt x="f81" y="f84"/>
                  <a:pt x="f81" y="f84"/>
                  <a:pt x="f81" y="f84"/>
                </a:cubicBezTo>
                <a:cubicBezTo>
                  <a:pt x="f81" y="f85"/>
                  <a:pt x="f80" y="f27"/>
                  <a:pt x="f78" y="f27"/>
                </a:cubicBezTo>
                <a:cubicBezTo>
                  <a:pt x="f41" y="f27"/>
                  <a:pt x="f41" y="f27"/>
                  <a:pt x="f41" y="f27"/>
                </a:cubicBezTo>
                <a:cubicBezTo>
                  <a:pt x="f41" y="f86"/>
                  <a:pt x="f41" y="f86"/>
                  <a:pt x="f41" y="f86"/>
                </a:cubicBezTo>
                <a:cubicBezTo>
                  <a:pt x="f41" y="f87"/>
                  <a:pt x="f40" y="f7"/>
                  <a:pt x="f39" y="f7"/>
                </a:cubicBezTo>
                <a:cubicBezTo>
                  <a:pt x="f38" y="f7"/>
                  <a:pt x="f38" y="f7"/>
                  <a:pt x="f38" y="f7"/>
                </a:cubicBezTo>
                <a:cubicBezTo>
                  <a:pt x="f37" y="f7"/>
                  <a:pt x="f34" y="f87"/>
                  <a:pt x="f34" y="f86"/>
                </a:cubicBezTo>
                <a:cubicBezTo>
                  <a:pt x="f34" y="f88"/>
                  <a:pt x="f34" y="f88"/>
                  <a:pt x="f34" y="f88"/>
                </a:cubicBezTo>
                <a:cubicBezTo>
                  <a:pt x="f34" y="f89"/>
                  <a:pt x="f64" y="f90"/>
                  <a:pt x="f91" y="f90"/>
                </a:cubicBezTo>
                <a:cubicBezTo>
                  <a:pt x="f68" y="f90"/>
                  <a:pt x="f70" y="f89"/>
                  <a:pt x="f70" y="f88"/>
                </a:cubicBezTo>
                <a:cubicBezTo>
                  <a:pt x="f70" y="f86"/>
                  <a:pt x="f70" y="f86"/>
                  <a:pt x="f70" y="f86"/>
                </a:cubicBezTo>
                <a:cubicBezTo>
                  <a:pt x="f70" y="f92"/>
                  <a:pt x="f93" y="f94"/>
                  <a:pt x="f38" y="f94"/>
                </a:cubicBezTo>
                <a:cubicBezTo>
                  <a:pt x="f39" y="f94"/>
                  <a:pt x="f39" y="f94"/>
                  <a:pt x="f39" y="f94"/>
                </a:cubicBezTo>
                <a:cubicBezTo>
                  <a:pt x="f95" y="f94"/>
                  <a:pt x="f96" y="f92"/>
                  <a:pt x="f96" y="f86"/>
                </a:cubicBezTo>
                <a:cubicBezTo>
                  <a:pt x="f96" y="f97"/>
                  <a:pt x="f96" y="f97"/>
                  <a:pt x="f96" y="f97"/>
                </a:cubicBezTo>
                <a:cubicBezTo>
                  <a:pt x="f96" y="f98"/>
                  <a:pt x="f99" y="f100"/>
                  <a:pt x="f101" y="f100"/>
                </a:cubicBezTo>
                <a:cubicBezTo>
                  <a:pt x="f102" y="f100"/>
                  <a:pt x="f102" y="f100"/>
                  <a:pt x="f102" y="f100"/>
                </a:cubicBezTo>
                <a:cubicBezTo>
                  <a:pt x="f102" y="f103"/>
                  <a:pt x="f102" y="f103"/>
                  <a:pt x="f102" y="f103"/>
                </a:cubicBezTo>
                <a:cubicBezTo>
                  <a:pt x="f101" y="f103"/>
                  <a:pt x="f101" y="f103"/>
                  <a:pt x="f101" y="f103"/>
                </a:cubicBezTo>
                <a:cubicBezTo>
                  <a:pt x="f99" y="f103"/>
                  <a:pt x="f96" y="f104"/>
                  <a:pt x="f96" y="f105"/>
                </a:cubicBezTo>
                <a:cubicBezTo>
                  <a:pt x="f96" y="f106"/>
                  <a:pt x="f96" y="f106"/>
                  <a:pt x="f96" y="f106"/>
                </a:cubicBezTo>
                <a:cubicBezTo>
                  <a:pt x="f96" y="f41"/>
                  <a:pt x="f99" y="f107"/>
                  <a:pt x="f101" y="f107"/>
                </a:cubicBezTo>
                <a:cubicBezTo>
                  <a:pt x="f58" y="f107"/>
                  <a:pt x="f58" y="f107"/>
                  <a:pt x="f58" y="f107"/>
                </a:cubicBezTo>
                <a:cubicBezTo>
                  <a:pt x="f58" y="f108"/>
                  <a:pt x="f58" y="f108"/>
                  <a:pt x="f58" y="f108"/>
                </a:cubicBezTo>
                <a:cubicBezTo>
                  <a:pt x="f101" y="f108"/>
                  <a:pt x="f101" y="f108"/>
                  <a:pt x="f101" y="f108"/>
                </a:cubicBezTo>
                <a:cubicBezTo>
                  <a:pt x="f99" y="f108"/>
                  <a:pt x="f96" y="f109"/>
                  <a:pt x="f96" y="f69"/>
                </a:cubicBezTo>
                <a:cubicBezTo>
                  <a:pt x="f96" y="f35"/>
                  <a:pt x="f96" y="f35"/>
                  <a:pt x="f96" y="f35"/>
                </a:cubicBezTo>
                <a:cubicBezTo>
                  <a:pt x="f96" y="f110"/>
                  <a:pt x="f95" y="f58"/>
                  <a:pt x="f39" y="f58"/>
                </a:cubicBezTo>
                <a:cubicBezTo>
                  <a:pt x="f38" y="f58"/>
                  <a:pt x="f38" y="f58"/>
                  <a:pt x="f38" y="f58"/>
                </a:cubicBezTo>
                <a:cubicBezTo>
                  <a:pt x="f93" y="f58"/>
                  <a:pt x="f70" y="f110"/>
                  <a:pt x="f70" y="f35"/>
                </a:cubicBezTo>
                <a:cubicBezTo>
                  <a:pt x="f70" y="f69"/>
                  <a:pt x="f70" y="f69"/>
                  <a:pt x="f70" y="f69"/>
                </a:cubicBezTo>
                <a:cubicBezTo>
                  <a:pt x="f70" y="f109"/>
                  <a:pt x="f68" y="f108"/>
                  <a:pt x="f91" y="f108"/>
                </a:cubicBezTo>
                <a:cubicBezTo>
                  <a:pt x="f18" y="f108"/>
                  <a:pt x="f18" y="f108"/>
                  <a:pt x="f18" y="f108"/>
                </a:cubicBezTo>
                <a:cubicBezTo>
                  <a:pt x="f18" y="f107"/>
                  <a:pt x="f18" y="f107"/>
                  <a:pt x="f18" y="f107"/>
                </a:cubicBezTo>
                <a:cubicBezTo>
                  <a:pt x="f91" y="f107"/>
                  <a:pt x="f91" y="f107"/>
                  <a:pt x="f91" y="f107"/>
                </a:cubicBezTo>
                <a:cubicBezTo>
                  <a:pt x="f68" y="f107"/>
                  <a:pt x="f70" y="f41"/>
                  <a:pt x="f70" y="f106"/>
                </a:cubicBezTo>
                <a:cubicBezTo>
                  <a:pt x="f70" y="f105"/>
                  <a:pt x="f70" y="f105"/>
                  <a:pt x="f70" y="f105"/>
                </a:cubicBezTo>
                <a:cubicBezTo>
                  <a:pt x="f70" y="f104"/>
                  <a:pt x="f68" y="f103"/>
                  <a:pt x="f91" y="f103"/>
                </a:cubicBezTo>
                <a:cubicBezTo>
                  <a:pt x="f111" y="f103"/>
                  <a:pt x="f111" y="f103"/>
                  <a:pt x="f111" y="f103"/>
                </a:cubicBezTo>
                <a:cubicBezTo>
                  <a:pt x="f111" y="f100"/>
                  <a:pt x="f111" y="f100"/>
                  <a:pt x="f111" y="f100"/>
                </a:cubicBezTo>
                <a:cubicBezTo>
                  <a:pt x="f91" y="f100"/>
                  <a:pt x="f91" y="f100"/>
                  <a:pt x="f91" y="f100"/>
                </a:cubicBezTo>
                <a:cubicBezTo>
                  <a:pt x="f68" y="f100"/>
                  <a:pt x="f70" y="f98"/>
                  <a:pt x="f70" y="f97"/>
                </a:cubicBezTo>
                <a:cubicBezTo>
                  <a:pt x="f70" y="f112"/>
                  <a:pt x="f70" y="f112"/>
                  <a:pt x="f70" y="f112"/>
                </a:cubicBezTo>
                <a:cubicBezTo>
                  <a:pt x="f70" y="f113"/>
                  <a:pt x="f68" y="f114"/>
                  <a:pt x="f91" y="f114"/>
                </a:cubicBezTo>
                <a:cubicBezTo>
                  <a:pt x="f64" y="f114"/>
                  <a:pt x="f34" y="f113"/>
                  <a:pt x="f34" y="f112"/>
                </a:cubicBezTo>
                <a:cubicBezTo>
                  <a:pt x="f34" y="f27"/>
                  <a:pt x="f34" y="f27"/>
                  <a:pt x="f34" y="f27"/>
                </a:cubicBezTo>
                <a:cubicBezTo>
                  <a:pt x="f115" y="f27"/>
                  <a:pt x="f115" y="f27"/>
                  <a:pt x="f115" y="f27"/>
                </a:cubicBezTo>
                <a:cubicBezTo>
                  <a:pt x="f22" y="f27"/>
                  <a:pt x="f116" y="f85"/>
                  <a:pt x="f116" y="f84"/>
                </a:cubicBezTo>
                <a:cubicBezTo>
                  <a:pt x="f116" y="f83"/>
                  <a:pt x="f116" y="f83"/>
                  <a:pt x="f116" y="f83"/>
                </a:cubicBezTo>
                <a:cubicBezTo>
                  <a:pt x="f116" y="f82"/>
                  <a:pt x="f22" y="f64"/>
                  <a:pt x="f115" y="f64"/>
                </a:cubicBezTo>
                <a:cubicBezTo>
                  <a:pt x="f117" y="f64"/>
                  <a:pt x="f117" y="f64"/>
                  <a:pt x="f117" y="f64"/>
                </a:cubicBezTo>
                <a:cubicBezTo>
                  <a:pt x="f117" y="f66"/>
                  <a:pt x="f117" y="f66"/>
                  <a:pt x="f117" y="f66"/>
                </a:cubicBezTo>
                <a:cubicBezTo>
                  <a:pt x="f118" y="f68"/>
                  <a:pt x="f115" y="f70"/>
                  <a:pt x="f115" y="f71"/>
                </a:cubicBezTo>
                <a:cubicBezTo>
                  <a:pt x="f115" y="f72"/>
                  <a:pt x="f115" y="f72"/>
                  <a:pt x="f115" y="f72"/>
                </a:cubicBezTo>
                <a:cubicBezTo>
                  <a:pt x="f115" y="f73"/>
                  <a:pt x="f119" y="f75"/>
                  <a:pt x="f28" y="f75"/>
                </a:cubicBezTo>
                <a:cubicBezTo>
                  <a:pt x="f29" y="f75"/>
                  <a:pt x="f100" y="f73"/>
                  <a:pt x="f100" y="f72"/>
                </a:cubicBezTo>
                <a:cubicBezTo>
                  <a:pt x="f100" y="f71"/>
                  <a:pt x="f100" y="f71"/>
                  <a:pt x="f100" y="f71"/>
                </a:cubicBezTo>
                <a:cubicBezTo>
                  <a:pt x="f100" y="f70"/>
                  <a:pt x="f120" y="f68"/>
                  <a:pt x="f121" y="f66"/>
                </a:cubicBezTo>
                <a:cubicBezTo>
                  <a:pt x="f121" y="f64"/>
                  <a:pt x="f121" y="f64"/>
                  <a:pt x="f121" y="f64"/>
                </a:cubicBezTo>
                <a:cubicBezTo>
                  <a:pt x="f34" y="f64"/>
                  <a:pt x="f34" y="f64"/>
                  <a:pt x="f34" y="f64"/>
                </a:cubicBezTo>
                <a:cubicBezTo>
                  <a:pt x="f34" y="f63"/>
                  <a:pt x="f34" y="f63"/>
                  <a:pt x="f34" y="f63"/>
                </a:cubicBezTo>
                <a:cubicBezTo>
                  <a:pt x="f8" y="f63"/>
                  <a:pt x="f8" y="f63"/>
                  <a:pt x="f8" y="f63"/>
                </a:cubicBezTo>
                <a:cubicBezTo>
                  <a:pt x="f122" y="f63"/>
                  <a:pt x="f6" y="f62"/>
                  <a:pt x="f6" y="f61"/>
                </a:cubicBezTo>
                <a:cubicBezTo>
                  <a:pt x="f6" y="f43"/>
                  <a:pt x="f6" y="f43"/>
                  <a:pt x="f6" y="f43"/>
                </a:cubicBezTo>
                <a:cubicBezTo>
                  <a:pt x="f6" y="f60"/>
                  <a:pt x="f122" y="f9"/>
                  <a:pt x="f8" y="f9"/>
                </a:cubicBezTo>
                <a:close/>
              </a:path>
            </a:pathLst>
          </a:custGeom>
          <a:solidFill>
            <a:srgbClr val="00625F"/>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58585A"/>
              </a:solidFill>
              <a:uFillTx/>
              <a:latin typeface="Arial"/>
            </a:endParaRPr>
          </a:p>
        </p:txBody>
      </p:sp>
      <p:sp>
        <p:nvSpPr>
          <p:cNvPr id="61" name="Freeform 6">
            <a:extLst>
              <a:ext uri="{FF2B5EF4-FFF2-40B4-BE49-F238E27FC236}">
                <a16:creationId xmlns:a16="http://schemas.microsoft.com/office/drawing/2014/main" id="{DBD63300-2005-430B-A0C7-DFE82D4E5B11}"/>
              </a:ext>
            </a:extLst>
          </p:cNvPr>
          <p:cNvSpPr/>
          <p:nvPr/>
        </p:nvSpPr>
        <p:spPr>
          <a:xfrm>
            <a:off x="9008531" y="2787808"/>
            <a:ext cx="291373" cy="397142"/>
          </a:xfrm>
          <a:custGeom>
            <a:avLst/>
            <a:gdLst>
              <a:gd name="f0" fmla="val 10800000"/>
              <a:gd name="f1" fmla="val 5400000"/>
              <a:gd name="f2" fmla="val 180"/>
              <a:gd name="f3" fmla="val w"/>
              <a:gd name="f4" fmla="val h"/>
              <a:gd name="f5" fmla="val 0"/>
              <a:gd name="f6" fmla="val 233"/>
              <a:gd name="f7" fmla="val 318"/>
              <a:gd name="f8" fmla="val 225"/>
              <a:gd name="f9" fmla="val 149"/>
              <a:gd name="f10" fmla="val 229"/>
              <a:gd name="f11" fmla="val 145"/>
              <a:gd name="f12" fmla="val 141"/>
              <a:gd name="f13" fmla="val 133"/>
              <a:gd name="f14" fmla="val 117"/>
              <a:gd name="f15" fmla="val 220"/>
              <a:gd name="f16" fmla="val 105"/>
              <a:gd name="f17" fmla="val 205"/>
              <a:gd name="f18" fmla="val 198"/>
              <a:gd name="f19" fmla="val 193"/>
              <a:gd name="f20" fmla="val 107"/>
              <a:gd name="f21" fmla="val 188"/>
              <a:gd name="f22" fmla="val 110"/>
              <a:gd name="f23" fmla="val 183"/>
              <a:gd name="f24" fmla="val 102"/>
              <a:gd name="f25" fmla="val 174"/>
              <a:gd name="f26" fmla="val 97"/>
              <a:gd name="f27" fmla="val 165"/>
              <a:gd name="f28" fmla="val 158"/>
              <a:gd name="f29" fmla="val 152"/>
              <a:gd name="f30" fmla="val 100"/>
              <a:gd name="f31" fmla="val 147"/>
              <a:gd name="f32" fmla="val 103"/>
              <a:gd name="f33" fmla="val 142"/>
              <a:gd name="f34" fmla="val 134"/>
              <a:gd name="f35" fmla="val 92"/>
              <a:gd name="f36" fmla="val 125"/>
              <a:gd name="f37" fmla="val 120"/>
              <a:gd name="f38" fmla="val 116"/>
              <a:gd name="f39" fmla="val 93"/>
              <a:gd name="f40" fmla="val 113"/>
              <a:gd name="f41" fmla="val 95"/>
              <a:gd name="f42" fmla="val 28"/>
              <a:gd name="f43" fmla="val 12"/>
              <a:gd name="f44" fmla="val 85"/>
              <a:gd name="f45" fmla="val 69"/>
              <a:gd name="f46" fmla="val 57"/>
              <a:gd name="f47" fmla="val 51"/>
              <a:gd name="f48" fmla="val 118"/>
              <a:gd name="f49" fmla="val 44"/>
              <a:gd name="f50" fmla="val 104"/>
              <a:gd name="f51" fmla="val 40"/>
              <a:gd name="f52" fmla="val 99"/>
              <a:gd name="f53" fmla="val 36"/>
              <a:gd name="f54" fmla="val 91"/>
              <a:gd name="f55" fmla="val 25"/>
              <a:gd name="f56" fmla="val 87"/>
              <a:gd name="f57" fmla="val 16"/>
              <a:gd name="f58" fmla="val 90"/>
              <a:gd name="f59" fmla="val 8"/>
              <a:gd name="f60" fmla="val 2"/>
              <a:gd name="f61" fmla="val 121"/>
              <a:gd name="f62" fmla="val 9"/>
              <a:gd name="f63" fmla="val 199"/>
              <a:gd name="f64" fmla="val 30"/>
              <a:gd name="f65" fmla="val 242"/>
              <a:gd name="f66" fmla="val 54"/>
              <a:gd name="f67" fmla="val 291"/>
              <a:gd name="f68" fmla="val 203"/>
              <a:gd name="f69" fmla="val 271"/>
              <a:gd name="f70" fmla="val 237"/>
              <a:gd name="f71" fmla="val 173"/>
              <a:gd name="f72" fmla="val 168"/>
              <a:gd name="f73" fmla="val 217"/>
              <a:gd name="f74" fmla="val 259"/>
              <a:gd name="f75" fmla="val 196"/>
              <a:gd name="f76" fmla="val 302"/>
              <a:gd name="f77" fmla="val 65"/>
              <a:gd name="f78" fmla="val 278"/>
              <a:gd name="f79" fmla="val 235"/>
              <a:gd name="f80" fmla="val 195"/>
              <a:gd name="f81" fmla="val 18"/>
              <a:gd name="f82" fmla="val 17"/>
              <a:gd name="f83" fmla="val 21"/>
              <a:gd name="f84" fmla="val 23"/>
              <a:gd name="f85" fmla="val 26"/>
              <a:gd name="f86" fmla="val 27"/>
              <a:gd name="f87" fmla="val 29"/>
              <a:gd name="f88" fmla="val 111"/>
              <a:gd name="f89" fmla="val 38"/>
              <a:gd name="f90" fmla="val 126"/>
              <a:gd name="f91" fmla="val 43"/>
              <a:gd name="f92" fmla="val 153"/>
              <a:gd name="f93" fmla="val 48"/>
              <a:gd name="f94" fmla="val 58"/>
              <a:gd name="f95" fmla="val 190"/>
              <a:gd name="f96" fmla="val 61"/>
              <a:gd name="f97" fmla="val 191"/>
              <a:gd name="f98" fmla="val 64"/>
              <a:gd name="f99" fmla="val 192"/>
              <a:gd name="f100" fmla="val 67"/>
              <a:gd name="f101" fmla="val 71"/>
              <a:gd name="f102" fmla="val 189"/>
              <a:gd name="f103" fmla="val 73"/>
              <a:gd name="f104" fmla="val 186"/>
              <a:gd name="f105" fmla="val 184"/>
              <a:gd name="f106" fmla="val 78"/>
              <a:gd name="f107" fmla="val 128"/>
              <a:gd name="f108" fmla="val 109"/>
              <a:gd name="f109" fmla="val 108"/>
              <a:gd name="f110" fmla="val 131"/>
              <a:gd name="f111" fmla="val 137"/>
              <a:gd name="f112" fmla="val 130"/>
              <a:gd name="f113" fmla="val 140"/>
              <a:gd name="f114" fmla="val 119"/>
              <a:gd name="f115" fmla="val 171"/>
              <a:gd name="f116" fmla="val 177"/>
              <a:gd name="f117" fmla="val 185"/>
              <a:gd name="f118" fmla="val 211"/>
              <a:gd name="f119" fmla="+- 0 0 -90"/>
              <a:gd name="f120" fmla="*/ f3 1 233"/>
              <a:gd name="f121" fmla="*/ f4 1 318"/>
              <a:gd name="f122" fmla="+- f7 0 f5"/>
              <a:gd name="f123" fmla="+- f6 0 f5"/>
              <a:gd name="f124" fmla="*/ f119 f0 1"/>
              <a:gd name="f125" fmla="*/ f123 1 233"/>
              <a:gd name="f126" fmla="*/ f122 1 318"/>
              <a:gd name="f127" fmla="*/ 2147483646 f123 1"/>
              <a:gd name="f128" fmla="*/ 2147483646 f122 1"/>
              <a:gd name="f129" fmla="*/ 0 f122 1"/>
              <a:gd name="f130" fmla="*/ f124 1 f2"/>
              <a:gd name="f131" fmla="*/ f127 1 233"/>
              <a:gd name="f132" fmla="*/ f128 1 318"/>
              <a:gd name="f133" fmla="*/ f129 1 318"/>
              <a:gd name="f134" fmla="*/ 0 1 f125"/>
              <a:gd name="f135" fmla="*/ f6 1 f125"/>
              <a:gd name="f136" fmla="*/ 0 1 f126"/>
              <a:gd name="f137" fmla="*/ f7 1 f126"/>
              <a:gd name="f138" fmla="+- f130 0 f1"/>
              <a:gd name="f139" fmla="*/ f131 1 f125"/>
              <a:gd name="f140" fmla="*/ f132 1 f126"/>
              <a:gd name="f141" fmla="*/ f133 1 f126"/>
              <a:gd name="f142" fmla="*/ f134 f120 1"/>
              <a:gd name="f143" fmla="*/ f135 f120 1"/>
              <a:gd name="f144" fmla="*/ f137 f121 1"/>
              <a:gd name="f145" fmla="*/ f136 f121 1"/>
              <a:gd name="f146" fmla="*/ f139 f120 1"/>
              <a:gd name="f147" fmla="*/ f140 f121 1"/>
              <a:gd name="f148" fmla="*/ f141 f121 1"/>
            </a:gdLst>
            <a:ahLst/>
            <a:cxnLst>
              <a:cxn ang="3cd4">
                <a:pos x="hc" y="t"/>
              </a:cxn>
              <a:cxn ang="0">
                <a:pos x="r" y="vc"/>
              </a:cxn>
              <a:cxn ang="cd4">
                <a:pos x="hc" y="b"/>
              </a:cxn>
              <a:cxn ang="cd2">
                <a:pos x="l" y="vc"/>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8"/>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 ang="f138">
                <a:pos x="f146" y="f147"/>
              </a:cxn>
            </a:cxnLst>
            <a:rect l="f142" t="f145" r="f143" b="f144"/>
            <a:pathLst>
              <a:path w="233" h="318">
                <a:moveTo>
                  <a:pt x="f8" y="f9"/>
                </a:moveTo>
                <a:cubicBezTo>
                  <a:pt x="f10" y="f9"/>
                  <a:pt x="f6" y="f11"/>
                  <a:pt x="f6" y="f12"/>
                </a:cubicBezTo>
                <a:cubicBezTo>
                  <a:pt x="f6" y="f13"/>
                  <a:pt x="f6" y="f13"/>
                  <a:pt x="f6" y="f13"/>
                </a:cubicBezTo>
                <a:cubicBezTo>
                  <a:pt x="f6" y="f14"/>
                  <a:pt x="f15" y="f16"/>
                  <a:pt x="f17" y="f16"/>
                </a:cubicBezTo>
                <a:cubicBezTo>
                  <a:pt x="f18" y="f16"/>
                  <a:pt x="f19" y="f20"/>
                  <a:pt x="f21" y="f22"/>
                </a:cubicBezTo>
                <a:cubicBezTo>
                  <a:pt x="f23" y="f24"/>
                  <a:pt x="f25" y="f26"/>
                  <a:pt x="f27" y="f26"/>
                </a:cubicBezTo>
                <a:cubicBezTo>
                  <a:pt x="f28" y="f26"/>
                  <a:pt x="f29" y="f30"/>
                  <a:pt x="f31" y="f32"/>
                </a:cubicBezTo>
                <a:cubicBezTo>
                  <a:pt x="f33" y="f26"/>
                  <a:pt x="f34" y="f35"/>
                  <a:pt x="f36" y="f35"/>
                </a:cubicBezTo>
                <a:cubicBezTo>
                  <a:pt x="f37" y="f35"/>
                  <a:pt x="f38" y="f39"/>
                  <a:pt x="f40" y="f41"/>
                </a:cubicBezTo>
                <a:cubicBezTo>
                  <a:pt x="f40" y="f42"/>
                  <a:pt x="f40" y="f42"/>
                  <a:pt x="f40" y="f42"/>
                </a:cubicBezTo>
                <a:cubicBezTo>
                  <a:pt x="f40" y="f43"/>
                  <a:pt x="f30" y="f5"/>
                  <a:pt x="f44" y="f5"/>
                </a:cubicBezTo>
                <a:cubicBezTo>
                  <a:pt x="f45" y="f5"/>
                  <a:pt x="f46" y="f43"/>
                  <a:pt x="f46" y="f42"/>
                </a:cubicBezTo>
                <a:cubicBezTo>
                  <a:pt x="f46" y="f33"/>
                  <a:pt x="f46" y="f33"/>
                  <a:pt x="f46" y="f33"/>
                </a:cubicBezTo>
                <a:cubicBezTo>
                  <a:pt x="f47" y="f48"/>
                  <a:pt x="f49" y="f50"/>
                  <a:pt x="f51" y="f52"/>
                </a:cubicBezTo>
                <a:cubicBezTo>
                  <a:pt x="f53" y="f54"/>
                  <a:pt x="f55" y="f56"/>
                  <a:pt x="f57" y="f58"/>
                </a:cubicBezTo>
                <a:cubicBezTo>
                  <a:pt x="f59" y="f39"/>
                  <a:pt x="f5" y="f24"/>
                  <a:pt x="f60" y="f48"/>
                </a:cubicBezTo>
                <a:cubicBezTo>
                  <a:pt x="f60" y="f61"/>
                  <a:pt x="f62" y="f63"/>
                  <a:pt x="f64" y="f65"/>
                </a:cubicBezTo>
                <a:cubicBezTo>
                  <a:pt x="f66" y="f67"/>
                  <a:pt x="f41" y="f7"/>
                  <a:pt x="f31" y="f7"/>
                </a:cubicBezTo>
                <a:cubicBezTo>
                  <a:pt x="f68" y="f7"/>
                  <a:pt x="f6" y="f69"/>
                  <a:pt x="f6" y="f70"/>
                </a:cubicBezTo>
                <a:cubicBezTo>
                  <a:pt x="f6" y="f71"/>
                  <a:pt x="f6" y="f71"/>
                  <a:pt x="f6" y="f71"/>
                </a:cubicBezTo>
                <a:cubicBezTo>
                  <a:pt x="f6" y="f72"/>
                  <a:pt x="f10" y="f27"/>
                  <a:pt x="f8" y="f27"/>
                </a:cubicBezTo>
                <a:cubicBezTo>
                  <a:pt x="f15" y="f27"/>
                  <a:pt x="f73" y="f72"/>
                  <a:pt x="f73" y="f71"/>
                </a:cubicBezTo>
                <a:cubicBezTo>
                  <a:pt x="f73" y="f70"/>
                  <a:pt x="f73" y="f70"/>
                  <a:pt x="f73" y="f70"/>
                </a:cubicBezTo>
                <a:cubicBezTo>
                  <a:pt x="f73" y="f74"/>
                  <a:pt x="f75" y="f76"/>
                  <a:pt x="f31" y="f76"/>
                </a:cubicBezTo>
                <a:cubicBezTo>
                  <a:pt x="f24" y="f76"/>
                  <a:pt x="f77" y="f78"/>
                  <a:pt x="f49" y="f79"/>
                </a:cubicBezTo>
                <a:cubicBezTo>
                  <a:pt x="f55" y="f80"/>
                  <a:pt x="f81" y="f14"/>
                  <a:pt x="f81" y="f38"/>
                </a:cubicBezTo>
                <a:cubicBezTo>
                  <a:pt x="f82" y="f40"/>
                  <a:pt x="f82" y="f20"/>
                  <a:pt x="f83" y="f16"/>
                </a:cubicBezTo>
                <a:cubicBezTo>
                  <a:pt x="f84" y="f16"/>
                  <a:pt x="f85" y="f16"/>
                  <a:pt x="f86" y="f20"/>
                </a:cubicBezTo>
                <a:cubicBezTo>
                  <a:pt x="f87" y="f88"/>
                  <a:pt x="f89" y="f90"/>
                  <a:pt x="f91" y="f92"/>
                </a:cubicBezTo>
                <a:cubicBezTo>
                  <a:pt x="f93" y="f23"/>
                  <a:pt x="f94" y="f95"/>
                  <a:pt x="f96" y="f97"/>
                </a:cubicBezTo>
                <a:cubicBezTo>
                  <a:pt x="f98" y="f99"/>
                  <a:pt x="f100" y="f99"/>
                  <a:pt x="f45" y="f95"/>
                </a:cubicBezTo>
                <a:cubicBezTo>
                  <a:pt x="f101" y="f102"/>
                  <a:pt x="f103" y="f104"/>
                  <a:pt x="f103" y="f105"/>
                </a:cubicBezTo>
                <a:cubicBezTo>
                  <a:pt x="f103" y="f42"/>
                  <a:pt x="f103" y="f42"/>
                  <a:pt x="f103" y="f42"/>
                </a:cubicBezTo>
                <a:cubicBezTo>
                  <a:pt x="f103" y="f83"/>
                  <a:pt x="f106" y="f57"/>
                  <a:pt x="f44" y="f57"/>
                </a:cubicBezTo>
                <a:cubicBezTo>
                  <a:pt x="f54" y="f57"/>
                  <a:pt x="f26" y="f83"/>
                  <a:pt x="f26" y="f42"/>
                </a:cubicBezTo>
                <a:cubicBezTo>
                  <a:pt x="f26" y="f37"/>
                  <a:pt x="f26" y="f37"/>
                  <a:pt x="f26" y="f37"/>
                </a:cubicBezTo>
                <a:cubicBezTo>
                  <a:pt x="f26" y="f36"/>
                  <a:pt x="f30" y="f107"/>
                  <a:pt x="f16" y="f107"/>
                </a:cubicBezTo>
                <a:cubicBezTo>
                  <a:pt x="f108" y="f107"/>
                  <a:pt x="f40" y="f36"/>
                  <a:pt x="f40" y="f37"/>
                </a:cubicBezTo>
                <a:cubicBezTo>
                  <a:pt x="f40" y="f40"/>
                  <a:pt x="f48" y="f109"/>
                  <a:pt x="f36" y="f109"/>
                </a:cubicBezTo>
                <a:cubicBezTo>
                  <a:pt x="f110" y="f109"/>
                  <a:pt x="f111" y="f40"/>
                  <a:pt x="f111" y="f37"/>
                </a:cubicBezTo>
                <a:cubicBezTo>
                  <a:pt x="f111" y="f36"/>
                  <a:pt x="f111" y="f36"/>
                  <a:pt x="f111" y="f36"/>
                </a:cubicBezTo>
                <a:cubicBezTo>
                  <a:pt x="f111" y="f112"/>
                  <a:pt x="f113" y="f13"/>
                  <a:pt x="f11" y="f13"/>
                </a:cubicBezTo>
                <a:cubicBezTo>
                  <a:pt x="f9" y="f13"/>
                  <a:pt x="f92" y="f112"/>
                  <a:pt x="f92" y="f36"/>
                </a:cubicBezTo>
                <a:cubicBezTo>
                  <a:pt x="f92" y="f114"/>
                  <a:pt x="f28" y="f40"/>
                  <a:pt x="f27" y="f40"/>
                </a:cubicBezTo>
                <a:cubicBezTo>
                  <a:pt x="f115" y="f40"/>
                  <a:pt x="f116" y="f114"/>
                  <a:pt x="f116" y="f36"/>
                </a:cubicBezTo>
                <a:cubicBezTo>
                  <a:pt x="f116" y="f13"/>
                  <a:pt x="f116" y="f13"/>
                  <a:pt x="f116" y="f13"/>
                </a:cubicBezTo>
                <a:cubicBezTo>
                  <a:pt x="f116" y="f111"/>
                  <a:pt x="f2" y="f12"/>
                  <a:pt x="f117" y="f12"/>
                </a:cubicBezTo>
                <a:cubicBezTo>
                  <a:pt x="f102" y="f12"/>
                  <a:pt x="f19" y="f111"/>
                  <a:pt x="f19" y="f13"/>
                </a:cubicBezTo>
                <a:cubicBezTo>
                  <a:pt x="f19" y="f90"/>
                  <a:pt x="f18" y="f61"/>
                  <a:pt x="f17" y="f61"/>
                </a:cubicBezTo>
                <a:cubicBezTo>
                  <a:pt x="f118" y="f61"/>
                  <a:pt x="f73" y="f90"/>
                  <a:pt x="f73" y="f13"/>
                </a:cubicBezTo>
                <a:cubicBezTo>
                  <a:pt x="f73" y="f12"/>
                  <a:pt x="f73" y="f12"/>
                  <a:pt x="f73" y="f12"/>
                </a:cubicBezTo>
                <a:cubicBezTo>
                  <a:pt x="f73" y="f11"/>
                  <a:pt x="f15" y="f9"/>
                  <a:pt x="f8" y="f9"/>
                </a:cubicBezTo>
                <a:close/>
              </a:path>
            </a:pathLst>
          </a:custGeom>
          <a:solidFill>
            <a:srgbClr val="00625F"/>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58585A"/>
              </a:solidFill>
              <a:uFillTx/>
              <a:latin typeface="Arial"/>
            </a:endParaRPr>
          </a:p>
        </p:txBody>
      </p:sp>
      <p:sp>
        <p:nvSpPr>
          <p:cNvPr id="62" name="Freeform 3">
            <a:extLst>
              <a:ext uri="{FF2B5EF4-FFF2-40B4-BE49-F238E27FC236}">
                <a16:creationId xmlns:a16="http://schemas.microsoft.com/office/drawing/2014/main" id="{61E7D03F-0704-416C-964F-9DFCEC6FACBF}"/>
              </a:ext>
            </a:extLst>
          </p:cNvPr>
          <p:cNvSpPr/>
          <p:nvPr/>
        </p:nvSpPr>
        <p:spPr>
          <a:xfrm>
            <a:off x="6911181" y="2992633"/>
            <a:ext cx="473906" cy="252264"/>
          </a:xfrm>
          <a:custGeom>
            <a:avLst/>
            <a:gdLst>
              <a:gd name="f0" fmla="val 10800000"/>
              <a:gd name="f1" fmla="val 5400000"/>
              <a:gd name="f2" fmla="val 360"/>
              <a:gd name="f3" fmla="val 180"/>
              <a:gd name="f4" fmla="val w"/>
              <a:gd name="f5" fmla="val h"/>
              <a:gd name="f6" fmla="val 0"/>
              <a:gd name="f7" fmla="val 524"/>
              <a:gd name="f8" fmla="val 279"/>
              <a:gd name="f9" fmla="val 516"/>
              <a:gd name="f10" fmla="val 69"/>
              <a:gd name="f11" fmla="val 512"/>
              <a:gd name="f12" fmla="val 508"/>
              <a:gd name="f13" fmla="val 72"/>
              <a:gd name="f14" fmla="val 77"/>
              <a:gd name="f15" fmla="val 227"/>
              <a:gd name="f16" fmla="val 235"/>
              <a:gd name="f17" fmla="val 502"/>
              <a:gd name="f18" fmla="val 241"/>
              <a:gd name="f19" fmla="val 494"/>
              <a:gd name="f20" fmla="val 474"/>
              <a:gd name="f21" fmla="val 239"/>
              <a:gd name="f22" fmla="val 475"/>
              <a:gd name="f23" fmla="val 237"/>
              <a:gd name="f24" fmla="val 210"/>
              <a:gd name="f25" fmla="val 455"/>
              <a:gd name="f26" fmla="val 190"/>
              <a:gd name="f27" fmla="val 430"/>
              <a:gd name="f28" fmla="val 406"/>
              <a:gd name="f29" fmla="val 386"/>
              <a:gd name="f30" fmla="val 209"/>
              <a:gd name="f31" fmla="val 385"/>
              <a:gd name="f32" fmla="val 233"/>
              <a:gd name="f33" fmla="val 140"/>
              <a:gd name="f34" fmla="val 139"/>
              <a:gd name="f35" fmla="val 119"/>
              <a:gd name="f36" fmla="val 95"/>
              <a:gd name="f37" fmla="val 71"/>
              <a:gd name="f38" fmla="val 51"/>
              <a:gd name="f39" fmla="val 31"/>
              <a:gd name="f40" fmla="val 23"/>
              <a:gd name="f41" fmla="val 16"/>
              <a:gd name="f42" fmla="val 46"/>
              <a:gd name="f43" fmla="val 50"/>
              <a:gd name="f44" fmla="val 54"/>
              <a:gd name="f45" fmla="val 521"/>
              <a:gd name="f46" fmla="val 14"/>
              <a:gd name="f47" fmla="val 510"/>
              <a:gd name="f48" fmla="val 244"/>
              <a:gd name="f49" fmla="val 257"/>
              <a:gd name="f50" fmla="val 33"/>
              <a:gd name="f51" fmla="val 38"/>
              <a:gd name="f52" fmla="val 42"/>
              <a:gd name="f53" fmla="val 49"/>
              <a:gd name="f54" fmla="val 57"/>
              <a:gd name="f55" fmla="val 65"/>
              <a:gd name="f56" fmla="val 270"/>
              <a:gd name="f57" fmla="val 79"/>
              <a:gd name="f58" fmla="val 115"/>
              <a:gd name="f59" fmla="val 132"/>
              <a:gd name="f60" fmla="val 266"/>
              <a:gd name="f61" fmla="val 138"/>
              <a:gd name="f62" fmla="val 249"/>
              <a:gd name="f63" fmla="val 388"/>
              <a:gd name="f64" fmla="val 394"/>
              <a:gd name="f65" fmla="val 410"/>
              <a:gd name="f66" fmla="val 446"/>
              <a:gd name="f67" fmla="val 460"/>
              <a:gd name="f68" fmla="val 468"/>
              <a:gd name="f69" fmla="val 263"/>
              <a:gd name="f70" fmla="val 67"/>
              <a:gd name="f71" fmla="val 250"/>
              <a:gd name="f72" fmla="val 219"/>
              <a:gd name="f73" fmla="val 206"/>
              <a:gd name="f74" fmla="val 111"/>
              <a:gd name="f75" fmla="val 124"/>
              <a:gd name="f76" fmla="val 414"/>
              <a:gd name="f77" fmla="val 401"/>
              <a:gd name="f78" fmla="val 459"/>
              <a:gd name="f79" fmla="val 358"/>
              <a:gd name="f80" fmla="val 35"/>
              <a:gd name="f81" fmla="val 351"/>
              <a:gd name="f82" fmla="val 344"/>
              <a:gd name="f83" fmla="val 41"/>
              <a:gd name="f84" fmla="val 123"/>
              <a:gd name="f85" fmla="val 129"/>
              <a:gd name="f86" fmla="val 393"/>
              <a:gd name="f87" fmla="val 408"/>
              <a:gd name="f88" fmla="val 392"/>
              <a:gd name="f89" fmla="val 113"/>
              <a:gd name="f90" fmla="val 195"/>
              <a:gd name="f91" fmla="val 187"/>
              <a:gd name="f92" fmla="val 200"/>
              <a:gd name="f93" fmla="val 208"/>
              <a:gd name="f94" fmla="val 214"/>
              <a:gd name="f95" fmla="val 230"/>
              <a:gd name="f96" fmla="val 228"/>
              <a:gd name="f97" fmla="val 198"/>
              <a:gd name="f98" fmla="val 196"/>
              <a:gd name="f99" fmla="val 97"/>
              <a:gd name="f100" fmla="val 148"/>
              <a:gd name="f101" fmla="val 156"/>
              <a:gd name="f102" fmla="val 162"/>
              <a:gd name="f103" fmla="val 146"/>
              <a:gd name="f104" fmla="val 440"/>
              <a:gd name="f105" fmla="val 432"/>
              <a:gd name="f106" fmla="val 426"/>
              <a:gd name="f107" fmla="val 483"/>
              <a:gd name="f108" fmla="val 490"/>
              <a:gd name="f109" fmla="val 442"/>
              <a:gd name="f110" fmla="val 276"/>
              <a:gd name="f111" fmla="val 269"/>
              <a:gd name="f112" fmla="val 262"/>
              <a:gd name="f113" fmla="val 311"/>
              <a:gd name="f114" fmla="val 319"/>
              <a:gd name="f115" fmla="val 326"/>
              <a:gd name="f116" fmla="val 310"/>
              <a:gd name="f117" fmla="val 114"/>
              <a:gd name="f118" fmla="+- 0 0 -90"/>
              <a:gd name="f119" fmla="*/ f4 1 524"/>
              <a:gd name="f120" fmla="*/ f5 1 279"/>
              <a:gd name="f121" fmla="+- f8 0 f6"/>
              <a:gd name="f122" fmla="+- f7 0 f6"/>
              <a:gd name="f123" fmla="*/ f118 f0 1"/>
              <a:gd name="f124" fmla="*/ f122 1 524"/>
              <a:gd name="f125" fmla="*/ f121 1 279"/>
              <a:gd name="f126" fmla="*/ 2147483646 f122 1"/>
              <a:gd name="f127" fmla="*/ 2147483646 f121 1"/>
              <a:gd name="f128" fmla="*/ 0 f121 1"/>
              <a:gd name="f129" fmla="*/ 0 f122 1"/>
              <a:gd name="f130" fmla="*/ f123 1 f3"/>
              <a:gd name="f131" fmla="*/ f126 1 524"/>
              <a:gd name="f132" fmla="*/ f127 1 279"/>
              <a:gd name="f133" fmla="*/ f128 1 279"/>
              <a:gd name="f134" fmla="*/ f129 1 524"/>
              <a:gd name="f135" fmla="*/ 0 1 f124"/>
              <a:gd name="f136" fmla="*/ f7 1 f124"/>
              <a:gd name="f137" fmla="*/ 0 1 f125"/>
              <a:gd name="f138" fmla="*/ f8 1 f125"/>
              <a:gd name="f139" fmla="+- f130 0 f1"/>
              <a:gd name="f140" fmla="*/ f131 1 f124"/>
              <a:gd name="f141" fmla="*/ f132 1 f125"/>
              <a:gd name="f142" fmla="*/ f133 1 f125"/>
              <a:gd name="f143" fmla="*/ f134 1 f124"/>
              <a:gd name="f144" fmla="*/ f135 f119 1"/>
              <a:gd name="f145" fmla="*/ f136 f119 1"/>
              <a:gd name="f146" fmla="*/ f138 f120 1"/>
              <a:gd name="f147" fmla="*/ f137 f120 1"/>
              <a:gd name="f148" fmla="*/ f140 f119 1"/>
              <a:gd name="f149" fmla="*/ f141 f120 1"/>
              <a:gd name="f150" fmla="*/ f142 f120 1"/>
              <a:gd name="f151" fmla="*/ f143 f119 1"/>
            </a:gdLst>
            <a:ahLst/>
            <a:cxnLst>
              <a:cxn ang="3cd4">
                <a:pos x="hc" y="t"/>
              </a:cxn>
              <a:cxn ang="0">
                <a:pos x="r" y="vc"/>
              </a:cxn>
              <a:cxn ang="cd4">
                <a:pos x="hc" y="b"/>
              </a:cxn>
              <a:cxn ang="cd2">
                <a:pos x="l" y="vc"/>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50"/>
              </a:cxn>
              <a:cxn ang="f139">
                <a:pos x="f151"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Lst>
            <a:rect l="f144" t="f147" r="f145" b="f146"/>
            <a:pathLst>
              <a:path w="524" h="279">
                <a:moveTo>
                  <a:pt x="f9" y="f10"/>
                </a:moveTo>
                <a:cubicBezTo>
                  <a:pt x="f11" y="f10"/>
                  <a:pt x="f12" y="f13"/>
                  <a:pt x="f12" y="f14"/>
                </a:cubicBezTo>
                <a:cubicBezTo>
                  <a:pt x="f12" y="f15"/>
                  <a:pt x="f12" y="f15"/>
                  <a:pt x="f12" y="f15"/>
                </a:cubicBezTo>
                <a:cubicBezTo>
                  <a:pt x="f12" y="f16"/>
                  <a:pt x="f17" y="f18"/>
                  <a:pt x="f19" y="f18"/>
                </a:cubicBezTo>
                <a:cubicBezTo>
                  <a:pt x="f20" y="f18"/>
                  <a:pt x="f20" y="f18"/>
                  <a:pt x="f20" y="f18"/>
                </a:cubicBezTo>
                <a:cubicBezTo>
                  <a:pt x="f20" y="f21"/>
                  <a:pt x="f22" y="f23"/>
                  <a:pt x="f22" y="f16"/>
                </a:cubicBezTo>
                <a:cubicBezTo>
                  <a:pt x="f22" y="f24"/>
                  <a:pt x="f25" y="f26"/>
                  <a:pt x="f27" y="f26"/>
                </a:cubicBezTo>
                <a:cubicBezTo>
                  <a:pt x="f28" y="f26"/>
                  <a:pt x="f29" y="f30"/>
                  <a:pt x="f31" y="f32"/>
                </a:cubicBezTo>
                <a:cubicBezTo>
                  <a:pt x="f33" y="f32"/>
                  <a:pt x="f33" y="f32"/>
                  <a:pt x="f33" y="f32"/>
                </a:cubicBezTo>
                <a:cubicBezTo>
                  <a:pt x="f34" y="f30"/>
                  <a:pt x="f35" y="f26"/>
                  <a:pt x="f36" y="f26"/>
                </a:cubicBezTo>
                <a:cubicBezTo>
                  <a:pt x="f37" y="f26"/>
                  <a:pt x="f38" y="f24"/>
                  <a:pt x="f38" y="f16"/>
                </a:cubicBezTo>
                <a:cubicBezTo>
                  <a:pt x="f38" y="f23"/>
                  <a:pt x="f38" y="f21"/>
                  <a:pt x="f38" y="f18"/>
                </a:cubicBezTo>
                <a:cubicBezTo>
                  <a:pt x="f39" y="f18"/>
                  <a:pt x="f39" y="f18"/>
                  <a:pt x="f39" y="f18"/>
                </a:cubicBezTo>
                <a:cubicBezTo>
                  <a:pt x="f40" y="f18"/>
                  <a:pt x="f41" y="f16"/>
                  <a:pt x="f41" y="f15"/>
                </a:cubicBezTo>
                <a:cubicBezTo>
                  <a:pt x="f41" y="f39"/>
                  <a:pt x="f41" y="f39"/>
                  <a:pt x="f41" y="f39"/>
                </a:cubicBezTo>
                <a:cubicBezTo>
                  <a:pt x="f41" y="f40"/>
                  <a:pt x="f40" y="f41"/>
                  <a:pt x="f39" y="f41"/>
                </a:cubicBezTo>
                <a:cubicBezTo>
                  <a:pt x="f19" y="f41"/>
                  <a:pt x="f19" y="f41"/>
                  <a:pt x="f19" y="f41"/>
                </a:cubicBezTo>
                <a:cubicBezTo>
                  <a:pt x="f17" y="f41"/>
                  <a:pt x="f12" y="f40"/>
                  <a:pt x="f12" y="f39"/>
                </a:cubicBezTo>
                <a:cubicBezTo>
                  <a:pt x="f12" y="f42"/>
                  <a:pt x="f12" y="f42"/>
                  <a:pt x="f12" y="f42"/>
                </a:cubicBezTo>
                <a:cubicBezTo>
                  <a:pt x="f12" y="f43"/>
                  <a:pt x="f11" y="f44"/>
                  <a:pt x="f9" y="f44"/>
                </a:cubicBezTo>
                <a:cubicBezTo>
                  <a:pt x="f45" y="f44"/>
                  <a:pt x="f7" y="f43"/>
                  <a:pt x="f7" y="f42"/>
                </a:cubicBezTo>
                <a:cubicBezTo>
                  <a:pt x="f7" y="f39"/>
                  <a:pt x="f7" y="f39"/>
                  <a:pt x="f7" y="f39"/>
                </a:cubicBezTo>
                <a:cubicBezTo>
                  <a:pt x="f7" y="f46"/>
                  <a:pt x="f47" y="f6"/>
                  <a:pt x="f19" y="f6"/>
                </a:cubicBezTo>
                <a:cubicBezTo>
                  <a:pt x="f39" y="f6"/>
                  <a:pt x="f39" y="f6"/>
                  <a:pt x="f39" y="f6"/>
                </a:cubicBezTo>
                <a:cubicBezTo>
                  <a:pt x="f46" y="f6"/>
                  <a:pt x="f6" y="f46"/>
                  <a:pt x="f6" y="f39"/>
                </a:cubicBezTo>
                <a:cubicBezTo>
                  <a:pt x="f6" y="f15"/>
                  <a:pt x="f6" y="f15"/>
                  <a:pt x="f6" y="f15"/>
                </a:cubicBezTo>
                <a:cubicBezTo>
                  <a:pt x="f6" y="f48"/>
                  <a:pt x="f46" y="f49"/>
                  <a:pt x="f39" y="f49"/>
                </a:cubicBezTo>
                <a:cubicBezTo>
                  <a:pt x="f39" y="f49"/>
                  <a:pt x="f50" y="f49"/>
                  <a:pt x="f51" y="f49"/>
                </a:cubicBezTo>
                <a:cubicBezTo>
                  <a:pt x="f52" y="f49"/>
                  <a:pt x="f53" y="f49"/>
                  <a:pt x="f54" y="f49"/>
                </a:cubicBezTo>
                <a:cubicBezTo>
                  <a:pt x="f55" y="f56"/>
                  <a:pt x="f57" y="f8"/>
                  <a:pt x="f36" y="f8"/>
                </a:cubicBezTo>
                <a:cubicBezTo>
                  <a:pt x="f58" y="f8"/>
                  <a:pt x="f59" y="f60"/>
                  <a:pt x="f61" y="f62"/>
                </a:cubicBezTo>
                <a:cubicBezTo>
                  <a:pt x="f63" y="f62"/>
                  <a:pt x="f63" y="f62"/>
                  <a:pt x="f63" y="f62"/>
                </a:cubicBezTo>
                <a:cubicBezTo>
                  <a:pt x="f64" y="f60"/>
                  <a:pt x="f65" y="f8"/>
                  <a:pt x="f27" y="f8"/>
                </a:cubicBezTo>
                <a:cubicBezTo>
                  <a:pt x="f66" y="f8"/>
                  <a:pt x="f67" y="f56"/>
                  <a:pt x="f68" y="f49"/>
                </a:cubicBezTo>
                <a:cubicBezTo>
                  <a:pt x="f19" y="f49"/>
                  <a:pt x="f19" y="f49"/>
                  <a:pt x="f19" y="f49"/>
                </a:cubicBezTo>
                <a:cubicBezTo>
                  <a:pt x="f47" y="f49"/>
                  <a:pt x="f7" y="f48"/>
                  <a:pt x="f7" y="f15"/>
                </a:cubicBezTo>
                <a:cubicBezTo>
                  <a:pt x="f7" y="f14"/>
                  <a:pt x="f7" y="f14"/>
                  <a:pt x="f7" y="f14"/>
                </a:cubicBezTo>
                <a:cubicBezTo>
                  <a:pt x="f7" y="f13"/>
                  <a:pt x="f45" y="f10"/>
                  <a:pt x="f9" y="f10"/>
                </a:cubicBezTo>
                <a:close/>
                <a:moveTo>
                  <a:pt x="f36" y="f69"/>
                </a:moveTo>
                <a:cubicBezTo>
                  <a:pt x="f57" y="f69"/>
                  <a:pt x="f70" y="f71"/>
                  <a:pt x="f70" y="f16"/>
                </a:cubicBezTo>
                <a:cubicBezTo>
                  <a:pt x="f70" y="f72"/>
                  <a:pt x="f57" y="f73"/>
                  <a:pt x="f36" y="f73"/>
                </a:cubicBezTo>
                <a:cubicBezTo>
                  <a:pt x="f74" y="f73"/>
                  <a:pt x="f75" y="f72"/>
                  <a:pt x="f75" y="f16"/>
                </a:cubicBezTo>
                <a:cubicBezTo>
                  <a:pt x="f75" y="f71"/>
                  <a:pt x="f74" y="f69"/>
                  <a:pt x="f36" y="f69"/>
                </a:cubicBezTo>
                <a:close/>
                <a:moveTo>
                  <a:pt x="f27" y="f69"/>
                </a:moveTo>
                <a:cubicBezTo>
                  <a:pt x="f76" y="f69"/>
                  <a:pt x="f77" y="f71"/>
                  <a:pt x="f77" y="f16"/>
                </a:cubicBezTo>
                <a:cubicBezTo>
                  <a:pt x="f77" y="f72"/>
                  <a:pt x="f76" y="f73"/>
                  <a:pt x="f27" y="f73"/>
                </a:cubicBezTo>
                <a:cubicBezTo>
                  <a:pt x="f66" y="f73"/>
                  <a:pt x="f78" y="f72"/>
                  <a:pt x="f78" y="f16"/>
                </a:cubicBezTo>
                <a:cubicBezTo>
                  <a:pt x="f78" y="f71"/>
                  <a:pt x="f66" y="f69"/>
                  <a:pt x="f27" y="f69"/>
                </a:cubicBezTo>
                <a:close/>
                <a:moveTo>
                  <a:pt x="f79" y="f80"/>
                </a:moveTo>
                <a:cubicBezTo>
                  <a:pt x="f81" y="f80"/>
                  <a:pt x="f82" y="f83"/>
                  <a:pt x="f82" y="f53"/>
                </a:cubicBezTo>
                <a:cubicBezTo>
                  <a:pt x="f82" y="f58"/>
                  <a:pt x="f82" y="f58"/>
                  <a:pt x="f82" y="f58"/>
                </a:cubicBezTo>
                <a:cubicBezTo>
                  <a:pt x="f82" y="f84"/>
                  <a:pt x="f81" y="f85"/>
                  <a:pt x="f79" y="f85"/>
                </a:cubicBezTo>
                <a:cubicBezTo>
                  <a:pt x="f86" y="f85"/>
                  <a:pt x="f86" y="f85"/>
                  <a:pt x="f86" y="f85"/>
                </a:cubicBezTo>
                <a:cubicBezTo>
                  <a:pt x="f77" y="f85"/>
                  <a:pt x="f87" y="f84"/>
                  <a:pt x="f87" y="f58"/>
                </a:cubicBezTo>
                <a:cubicBezTo>
                  <a:pt x="f87" y="f53"/>
                  <a:pt x="f87" y="f53"/>
                  <a:pt x="f87" y="f53"/>
                </a:cubicBezTo>
                <a:cubicBezTo>
                  <a:pt x="f87" y="f83"/>
                  <a:pt x="f77" y="f80"/>
                  <a:pt x="f86" y="f80"/>
                </a:cubicBezTo>
                <a:lnTo>
                  <a:pt x="f79" y="f80"/>
                </a:lnTo>
                <a:close/>
                <a:moveTo>
                  <a:pt x="f88" y="f89"/>
                </a:moveTo>
                <a:cubicBezTo>
                  <a:pt x="f2" y="f89"/>
                  <a:pt x="f2" y="f89"/>
                  <a:pt x="f2" y="f89"/>
                </a:cubicBezTo>
                <a:cubicBezTo>
                  <a:pt x="f2" y="f38"/>
                  <a:pt x="f2" y="f38"/>
                  <a:pt x="f2" y="f38"/>
                </a:cubicBezTo>
                <a:cubicBezTo>
                  <a:pt x="f88" y="f38"/>
                  <a:pt x="f88" y="f38"/>
                  <a:pt x="f88" y="f38"/>
                </a:cubicBezTo>
                <a:lnTo>
                  <a:pt x="f88" y="f89"/>
                </a:lnTo>
                <a:close/>
                <a:moveTo>
                  <a:pt x="f90" y="f80"/>
                </a:moveTo>
                <a:cubicBezTo>
                  <a:pt x="f91" y="f80"/>
                  <a:pt x="f3" y="f83"/>
                  <a:pt x="f3" y="f53"/>
                </a:cubicBezTo>
                <a:cubicBezTo>
                  <a:pt x="f3" y="f92"/>
                  <a:pt x="f3" y="f92"/>
                  <a:pt x="f3" y="f92"/>
                </a:cubicBezTo>
                <a:cubicBezTo>
                  <a:pt x="f3" y="f93"/>
                  <a:pt x="f91" y="f94"/>
                  <a:pt x="f90" y="f94"/>
                </a:cubicBezTo>
                <a:cubicBezTo>
                  <a:pt x="f95" y="f94"/>
                  <a:pt x="f95" y="f94"/>
                  <a:pt x="f95" y="f94"/>
                </a:cubicBezTo>
                <a:cubicBezTo>
                  <a:pt x="f23" y="f94"/>
                  <a:pt x="f48" y="f93"/>
                  <a:pt x="f48" y="f92"/>
                </a:cubicBezTo>
                <a:cubicBezTo>
                  <a:pt x="f48" y="f53"/>
                  <a:pt x="f48" y="f53"/>
                  <a:pt x="f48" y="f53"/>
                </a:cubicBezTo>
                <a:cubicBezTo>
                  <a:pt x="f48" y="f83"/>
                  <a:pt x="f23" y="f80"/>
                  <a:pt x="f95" y="f80"/>
                </a:cubicBezTo>
                <a:lnTo>
                  <a:pt x="f90" y="f80"/>
                </a:lnTo>
                <a:close/>
                <a:moveTo>
                  <a:pt x="f96" y="f97"/>
                </a:moveTo>
                <a:cubicBezTo>
                  <a:pt x="f98" y="f97"/>
                  <a:pt x="f98" y="f97"/>
                  <a:pt x="f98" y="f97"/>
                </a:cubicBezTo>
                <a:cubicBezTo>
                  <a:pt x="f98" y="f89"/>
                  <a:pt x="f98" y="f89"/>
                  <a:pt x="f98" y="f89"/>
                </a:cubicBezTo>
                <a:cubicBezTo>
                  <a:pt x="f96" y="f89"/>
                  <a:pt x="f96" y="f89"/>
                  <a:pt x="f96" y="f89"/>
                </a:cubicBezTo>
                <a:lnTo>
                  <a:pt x="f96" y="f97"/>
                </a:lnTo>
                <a:close/>
                <a:moveTo>
                  <a:pt x="f96" y="f99"/>
                </a:moveTo>
                <a:cubicBezTo>
                  <a:pt x="f98" y="f99"/>
                  <a:pt x="f98" y="f99"/>
                  <a:pt x="f98" y="f99"/>
                </a:cubicBezTo>
                <a:cubicBezTo>
                  <a:pt x="f98" y="f38"/>
                  <a:pt x="f98" y="f38"/>
                  <a:pt x="f98" y="f38"/>
                </a:cubicBezTo>
                <a:cubicBezTo>
                  <a:pt x="f96" y="f38"/>
                  <a:pt x="f96" y="f38"/>
                  <a:pt x="f96" y="f38"/>
                </a:cubicBezTo>
                <a:lnTo>
                  <a:pt x="f96" y="f99"/>
                </a:lnTo>
                <a:close/>
                <a:moveTo>
                  <a:pt x="f53" y="f80"/>
                </a:moveTo>
                <a:cubicBezTo>
                  <a:pt x="f83" y="f80"/>
                  <a:pt x="f80" y="f83"/>
                  <a:pt x="f80" y="f53"/>
                </a:cubicBezTo>
                <a:cubicBezTo>
                  <a:pt x="f80" y="f58"/>
                  <a:pt x="f80" y="f58"/>
                  <a:pt x="f80" y="f58"/>
                </a:cubicBezTo>
                <a:cubicBezTo>
                  <a:pt x="f80" y="f84"/>
                  <a:pt x="f83" y="f85"/>
                  <a:pt x="f53" y="f85"/>
                </a:cubicBezTo>
                <a:cubicBezTo>
                  <a:pt x="f100" y="f85"/>
                  <a:pt x="f100" y="f85"/>
                  <a:pt x="f100" y="f85"/>
                </a:cubicBezTo>
                <a:cubicBezTo>
                  <a:pt x="f101" y="f85"/>
                  <a:pt x="f102" y="f84"/>
                  <a:pt x="f102" y="f58"/>
                </a:cubicBezTo>
                <a:cubicBezTo>
                  <a:pt x="f102" y="f53"/>
                  <a:pt x="f102" y="f53"/>
                  <a:pt x="f102" y="f53"/>
                </a:cubicBezTo>
                <a:cubicBezTo>
                  <a:pt x="f102" y="f83"/>
                  <a:pt x="f101" y="f80"/>
                  <a:pt x="f100" y="f80"/>
                </a:cubicBezTo>
                <a:lnTo>
                  <a:pt x="f53" y="f80"/>
                </a:lnTo>
                <a:close/>
                <a:moveTo>
                  <a:pt x="f103" y="f89"/>
                </a:moveTo>
                <a:cubicBezTo>
                  <a:pt x="f38" y="f89"/>
                  <a:pt x="f38" y="f89"/>
                  <a:pt x="f38" y="f89"/>
                </a:cubicBezTo>
                <a:cubicBezTo>
                  <a:pt x="f38" y="f38"/>
                  <a:pt x="f38" y="f38"/>
                  <a:pt x="f38" y="f38"/>
                </a:cubicBezTo>
                <a:cubicBezTo>
                  <a:pt x="f103" y="f38"/>
                  <a:pt x="f103" y="f38"/>
                  <a:pt x="f103" y="f38"/>
                </a:cubicBezTo>
                <a:lnTo>
                  <a:pt x="f103" y="f89"/>
                </a:lnTo>
                <a:close/>
                <a:moveTo>
                  <a:pt x="f104" y="f80"/>
                </a:moveTo>
                <a:cubicBezTo>
                  <a:pt x="f105" y="f80"/>
                  <a:pt x="f106" y="f83"/>
                  <a:pt x="f106" y="f53"/>
                </a:cubicBezTo>
                <a:cubicBezTo>
                  <a:pt x="f106" y="f58"/>
                  <a:pt x="f106" y="f58"/>
                  <a:pt x="f106" y="f58"/>
                </a:cubicBezTo>
                <a:cubicBezTo>
                  <a:pt x="f106" y="f84"/>
                  <a:pt x="f105" y="f85"/>
                  <a:pt x="f104" y="f85"/>
                </a:cubicBezTo>
                <a:cubicBezTo>
                  <a:pt x="f22" y="f85"/>
                  <a:pt x="f22" y="f85"/>
                  <a:pt x="f22" y="f85"/>
                </a:cubicBezTo>
                <a:cubicBezTo>
                  <a:pt x="f107" y="f85"/>
                  <a:pt x="f108" y="f84"/>
                  <a:pt x="f108" y="f58"/>
                </a:cubicBezTo>
                <a:cubicBezTo>
                  <a:pt x="f108" y="f53"/>
                  <a:pt x="f108" y="f53"/>
                  <a:pt x="f108" y="f53"/>
                </a:cubicBezTo>
                <a:cubicBezTo>
                  <a:pt x="f108" y="f83"/>
                  <a:pt x="f107" y="f80"/>
                  <a:pt x="f22" y="f80"/>
                </a:cubicBezTo>
                <a:lnTo>
                  <a:pt x="f104" y="f80"/>
                </a:lnTo>
                <a:close/>
                <a:moveTo>
                  <a:pt x="f20" y="f89"/>
                </a:moveTo>
                <a:cubicBezTo>
                  <a:pt x="f109" y="f89"/>
                  <a:pt x="f109" y="f89"/>
                  <a:pt x="f109" y="f89"/>
                </a:cubicBezTo>
                <a:cubicBezTo>
                  <a:pt x="f109" y="f38"/>
                  <a:pt x="f109" y="f38"/>
                  <a:pt x="f109" y="f38"/>
                </a:cubicBezTo>
                <a:cubicBezTo>
                  <a:pt x="f20" y="f38"/>
                  <a:pt x="f20" y="f38"/>
                  <a:pt x="f20" y="f38"/>
                </a:cubicBezTo>
                <a:lnTo>
                  <a:pt x="f20" y="f89"/>
                </a:lnTo>
                <a:close/>
                <a:moveTo>
                  <a:pt x="f110" y="f80"/>
                </a:moveTo>
                <a:cubicBezTo>
                  <a:pt x="f111" y="f80"/>
                  <a:pt x="f112" y="f83"/>
                  <a:pt x="f112" y="f53"/>
                </a:cubicBezTo>
                <a:cubicBezTo>
                  <a:pt x="f112" y="f58"/>
                  <a:pt x="f112" y="f58"/>
                  <a:pt x="f112" y="f58"/>
                </a:cubicBezTo>
                <a:cubicBezTo>
                  <a:pt x="f112" y="f84"/>
                  <a:pt x="f111" y="f85"/>
                  <a:pt x="f110" y="f85"/>
                </a:cubicBezTo>
                <a:cubicBezTo>
                  <a:pt x="f113" y="f85"/>
                  <a:pt x="f113" y="f85"/>
                  <a:pt x="f113" y="f85"/>
                </a:cubicBezTo>
                <a:cubicBezTo>
                  <a:pt x="f114" y="f85"/>
                  <a:pt x="f115" y="f84"/>
                  <a:pt x="f115" y="f58"/>
                </a:cubicBezTo>
                <a:cubicBezTo>
                  <a:pt x="f115" y="f53"/>
                  <a:pt x="f115" y="f53"/>
                  <a:pt x="f115" y="f53"/>
                </a:cubicBezTo>
                <a:cubicBezTo>
                  <a:pt x="f115" y="f83"/>
                  <a:pt x="f114" y="f80"/>
                  <a:pt x="f113" y="f80"/>
                </a:cubicBezTo>
                <a:lnTo>
                  <a:pt x="f110" y="f80"/>
                </a:lnTo>
                <a:close/>
                <a:moveTo>
                  <a:pt x="f116" y="f117"/>
                </a:moveTo>
                <a:cubicBezTo>
                  <a:pt x="f8" y="f117"/>
                  <a:pt x="f8" y="f117"/>
                  <a:pt x="f8" y="f117"/>
                </a:cubicBezTo>
                <a:cubicBezTo>
                  <a:pt x="f8" y="f38"/>
                  <a:pt x="f8" y="f38"/>
                  <a:pt x="f8" y="f38"/>
                </a:cubicBezTo>
                <a:cubicBezTo>
                  <a:pt x="f116" y="f38"/>
                  <a:pt x="f116" y="f38"/>
                  <a:pt x="f116" y="f38"/>
                </a:cubicBezTo>
                <a:lnTo>
                  <a:pt x="f116" y="f117"/>
                </a:lnTo>
                <a:close/>
              </a:path>
            </a:pathLst>
          </a:custGeom>
          <a:solidFill>
            <a:srgbClr val="00625F"/>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58585A"/>
              </a:solidFill>
              <a:uFillTx/>
              <a:latin typeface="Arial"/>
            </a:endParaRPr>
          </a:p>
        </p:txBody>
      </p:sp>
      <p:sp>
        <p:nvSpPr>
          <p:cNvPr id="63" name="Freeform 3">
            <a:extLst>
              <a:ext uri="{FF2B5EF4-FFF2-40B4-BE49-F238E27FC236}">
                <a16:creationId xmlns:a16="http://schemas.microsoft.com/office/drawing/2014/main" id="{84CCF021-4E62-44CD-A800-853F6AB03D2D}"/>
              </a:ext>
            </a:extLst>
          </p:cNvPr>
          <p:cNvSpPr/>
          <p:nvPr/>
        </p:nvSpPr>
        <p:spPr>
          <a:xfrm>
            <a:off x="7076066" y="2841794"/>
            <a:ext cx="144146" cy="110496"/>
          </a:xfrm>
          <a:custGeom>
            <a:avLst/>
            <a:gdLst>
              <a:gd name="f0" fmla="val 10800000"/>
              <a:gd name="f1" fmla="val 5400000"/>
              <a:gd name="f2" fmla="val 180"/>
              <a:gd name="f3" fmla="val w"/>
              <a:gd name="f4" fmla="val h"/>
              <a:gd name="f5" fmla="val 0"/>
              <a:gd name="f6" fmla="val 339"/>
              <a:gd name="f7" fmla="val 293"/>
              <a:gd name="f8" fmla="val 335"/>
              <a:gd name="f9" fmla="val 69"/>
              <a:gd name="f10" fmla="val 290"/>
              <a:gd name="f11" fmla="val 23"/>
              <a:gd name="f12" fmla="val 229"/>
              <a:gd name="f13" fmla="val 169"/>
              <a:gd name="f14" fmla="val 109"/>
              <a:gd name="f15" fmla="val 49"/>
              <a:gd name="f16" fmla="val 3"/>
              <a:gd name="f17" fmla="val 72"/>
              <a:gd name="f18" fmla="val 77"/>
              <a:gd name="f19" fmla="val 80"/>
              <a:gd name="f20" fmla="val 4"/>
              <a:gd name="f21" fmla="val 82"/>
              <a:gd name="f22" fmla="val 6"/>
              <a:gd name="f23" fmla="val 8"/>
              <a:gd name="f24" fmla="val 10"/>
              <a:gd name="f25" fmla="val 13"/>
              <a:gd name="f26" fmla="val 14"/>
              <a:gd name="f27" fmla="val 57"/>
              <a:gd name="f28" fmla="val 37"/>
              <a:gd name="f29" fmla="val 113"/>
              <a:gd name="f30" fmla="val 16"/>
              <a:gd name="f31" fmla="val 225"/>
              <a:gd name="f32" fmla="val 281"/>
              <a:gd name="f33" fmla="val 324"/>
              <a:gd name="f34" fmla="val 327"/>
              <a:gd name="f35" fmla="val 83"/>
              <a:gd name="f36" fmla="val 332"/>
              <a:gd name="f37" fmla="val 68"/>
              <a:gd name="f38" fmla="val 126"/>
              <a:gd name="f39" fmla="val 84"/>
              <a:gd name="f40" fmla="val 51"/>
              <a:gd name="f41" fmla="val 117"/>
              <a:gd name="f42" fmla="val 48"/>
              <a:gd name="f43" fmla="val 120"/>
              <a:gd name="f44" fmla="val 125"/>
              <a:gd name="f45" fmla="val 128"/>
              <a:gd name="f46" fmla="val 52"/>
              <a:gd name="f47" fmla="val 130"/>
              <a:gd name="f48" fmla="val 55"/>
              <a:gd name="f49" fmla="val 59"/>
              <a:gd name="f50" fmla="val 61"/>
              <a:gd name="f51" fmla="val 62"/>
              <a:gd name="f52" fmla="val 92"/>
              <a:gd name="f53" fmla="val 99"/>
              <a:gd name="f54" fmla="val 208"/>
              <a:gd name="f55" fmla="val 246"/>
              <a:gd name="f56" fmla="val 276"/>
              <a:gd name="f57" fmla="val 279"/>
              <a:gd name="f58" fmla="val 131"/>
              <a:gd name="f59" fmla="val 284"/>
              <a:gd name="f60" fmla="val 287"/>
              <a:gd name="f61" fmla="val 255"/>
              <a:gd name="f62" fmla="val 212"/>
              <a:gd name="f63" fmla="val 136"/>
              <a:gd name="f64" fmla="val 144"/>
              <a:gd name="f65" fmla="val 118"/>
              <a:gd name="f66" fmla="val 146"/>
              <a:gd name="f67" fmla="val 165"/>
              <a:gd name="f68" fmla="val 96"/>
              <a:gd name="f69" fmla="val 168"/>
              <a:gd name="f70" fmla="val 173"/>
              <a:gd name="f71" fmla="val 176"/>
              <a:gd name="f72" fmla="val 102"/>
              <a:gd name="f73" fmla="val 179"/>
              <a:gd name="f74" fmla="val 107"/>
              <a:gd name="f75" fmla="val 110"/>
              <a:gd name="f76" fmla="val 127"/>
              <a:gd name="f77" fmla="val 160"/>
              <a:gd name="f78" fmla="val 148"/>
              <a:gd name="f79" fmla="val 152"/>
              <a:gd name="f80" fmla="val 190"/>
              <a:gd name="f81" fmla="val 228"/>
              <a:gd name="f82" fmla="val 178"/>
              <a:gd name="f83" fmla="val 231"/>
              <a:gd name="f84" fmla="val 234"/>
              <a:gd name="f85" fmla="val 236"/>
              <a:gd name="f86" fmla="val 238"/>
              <a:gd name="f87" fmla="val 239"/>
              <a:gd name="f88" fmla="val 242"/>
              <a:gd name="f89" fmla="val 220"/>
              <a:gd name="f90" fmla="val 194"/>
              <a:gd name="f91" fmla="val 139"/>
              <a:gd name="f92" fmla="val 217"/>
              <a:gd name="f93" fmla="val 123"/>
              <a:gd name="f94" fmla="val 260"/>
              <a:gd name="f95" fmla="val 277"/>
              <a:gd name="f96" fmla="val 156"/>
              <a:gd name="f97" fmla="val 183"/>
              <a:gd name="f98" fmla="val 199"/>
              <a:gd name="f99" fmla="val 216"/>
              <a:gd name="f100" fmla="val 200"/>
              <a:gd name="f101" fmla="+- 0 0 -90"/>
              <a:gd name="f102" fmla="*/ f3 1 339"/>
              <a:gd name="f103" fmla="*/ f4 1 293"/>
              <a:gd name="f104" fmla="+- f7 0 f5"/>
              <a:gd name="f105" fmla="+- f6 0 f5"/>
              <a:gd name="f106" fmla="*/ f101 f0 1"/>
              <a:gd name="f107" fmla="*/ f105 1 339"/>
              <a:gd name="f108" fmla="*/ f104 1 293"/>
              <a:gd name="f109" fmla="*/ 2147483647 f105 1"/>
              <a:gd name="f110" fmla="*/ 2147483647 f104 1"/>
              <a:gd name="f111" fmla="*/ 0 f104 1"/>
              <a:gd name="f112" fmla="*/ 0 f105 1"/>
              <a:gd name="f113" fmla="*/ 339 f105 1"/>
              <a:gd name="f114" fmla="*/ 293 f104 1"/>
              <a:gd name="f115" fmla="*/ f106 1 f2"/>
              <a:gd name="f116" fmla="*/ f109 1 339"/>
              <a:gd name="f117" fmla="*/ f110 1 293"/>
              <a:gd name="f118" fmla="*/ f111 1 293"/>
              <a:gd name="f119" fmla="*/ f112 1 339"/>
              <a:gd name="f120" fmla="*/ f113 1 339"/>
              <a:gd name="f121" fmla="*/ f114 1 293"/>
              <a:gd name="f122" fmla="+- f115 0 f1"/>
              <a:gd name="f123" fmla="*/ f116 1 f107"/>
              <a:gd name="f124" fmla="*/ f117 1 f108"/>
              <a:gd name="f125" fmla="*/ f118 1 f108"/>
              <a:gd name="f126" fmla="*/ f119 1 f107"/>
              <a:gd name="f127" fmla="*/ f120 1 f107"/>
              <a:gd name="f128" fmla="*/ f121 1 f108"/>
              <a:gd name="f129" fmla="*/ f126 f102 1"/>
              <a:gd name="f130" fmla="*/ f127 f102 1"/>
              <a:gd name="f131" fmla="*/ f128 f103 1"/>
              <a:gd name="f132" fmla="*/ f125 f103 1"/>
              <a:gd name="f133" fmla="*/ f123 f102 1"/>
              <a:gd name="f134" fmla="*/ f124 f103 1"/>
            </a:gdLst>
            <a:ahLst/>
            <a:cxnLst>
              <a:cxn ang="3cd4">
                <a:pos x="hc" y="t"/>
              </a:cxn>
              <a:cxn ang="0">
                <a:pos x="r" y="vc"/>
              </a:cxn>
              <a:cxn ang="cd4">
                <a:pos x="hc" y="b"/>
              </a:cxn>
              <a:cxn ang="cd2">
                <a:pos x="l" y="vc"/>
              </a:cxn>
              <a:cxn ang="f122">
                <a:pos x="f133" y="f134"/>
              </a:cxn>
              <a:cxn ang="f122">
                <a:pos x="f133" y="f132"/>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Lst>
            <a:rect l="f129" t="f132" r="f130" b="f131"/>
            <a:pathLst>
              <a:path w="339" h="293">
                <a:moveTo>
                  <a:pt x="f8" y="f9"/>
                </a:moveTo>
                <a:cubicBezTo>
                  <a:pt x="f10" y="f11"/>
                  <a:pt x="f12" y="f5"/>
                  <a:pt x="f13" y="f5"/>
                </a:cubicBezTo>
                <a:cubicBezTo>
                  <a:pt x="f14" y="f5"/>
                  <a:pt x="f15" y="f11"/>
                  <a:pt x="f16" y="f9"/>
                </a:cubicBezTo>
                <a:cubicBezTo>
                  <a:pt x="f5" y="f17"/>
                  <a:pt x="f5" y="f18"/>
                  <a:pt x="f16" y="f19"/>
                </a:cubicBezTo>
                <a:cubicBezTo>
                  <a:pt x="f20" y="f21"/>
                  <a:pt x="f22" y="f21"/>
                  <a:pt x="f23" y="f21"/>
                </a:cubicBezTo>
                <a:cubicBezTo>
                  <a:pt x="f24" y="f21"/>
                  <a:pt x="f25" y="f21"/>
                  <a:pt x="f26" y="f19"/>
                </a:cubicBezTo>
                <a:cubicBezTo>
                  <a:pt x="f27" y="f28"/>
                  <a:pt x="f29" y="f30"/>
                  <a:pt x="f13" y="f30"/>
                </a:cubicBezTo>
                <a:cubicBezTo>
                  <a:pt x="f31" y="f30"/>
                  <a:pt x="f32" y="f28"/>
                  <a:pt x="f33" y="f19"/>
                </a:cubicBezTo>
                <a:cubicBezTo>
                  <a:pt x="f34" y="f35"/>
                  <a:pt x="f36" y="f35"/>
                  <a:pt x="f8" y="f19"/>
                </a:cubicBezTo>
                <a:cubicBezTo>
                  <a:pt x="f6" y="f18"/>
                  <a:pt x="f6" y="f17"/>
                  <a:pt x="f8" y="f9"/>
                </a:cubicBezTo>
                <a:close/>
                <a:moveTo>
                  <a:pt x="f13" y="f37"/>
                </a:moveTo>
                <a:cubicBezTo>
                  <a:pt x="f38" y="f37"/>
                  <a:pt x="f39" y="f39"/>
                  <a:pt x="f40" y="f41"/>
                </a:cubicBezTo>
                <a:cubicBezTo>
                  <a:pt x="f42" y="f43"/>
                  <a:pt x="f42" y="f44"/>
                  <a:pt x="f40" y="f45"/>
                </a:cubicBezTo>
                <a:cubicBezTo>
                  <a:pt x="f46" y="f47"/>
                  <a:pt x="f48" y="f47"/>
                  <a:pt x="f27" y="f47"/>
                </a:cubicBezTo>
                <a:cubicBezTo>
                  <a:pt x="f49" y="f47"/>
                  <a:pt x="f50" y="f47"/>
                  <a:pt x="f51" y="f45"/>
                </a:cubicBezTo>
                <a:cubicBezTo>
                  <a:pt x="f51" y="f45"/>
                  <a:pt x="f51" y="f45"/>
                  <a:pt x="f51" y="f45"/>
                </a:cubicBezTo>
                <a:cubicBezTo>
                  <a:pt x="f52" y="f53"/>
                  <a:pt x="f47" y="f39"/>
                  <a:pt x="f13" y="f39"/>
                </a:cubicBezTo>
                <a:cubicBezTo>
                  <a:pt x="f54" y="f39"/>
                  <a:pt x="f55" y="f53"/>
                  <a:pt x="f56" y="f45"/>
                </a:cubicBezTo>
                <a:cubicBezTo>
                  <a:pt x="f57" y="f58"/>
                  <a:pt x="f59" y="f58"/>
                  <a:pt x="f60" y="f45"/>
                </a:cubicBezTo>
                <a:cubicBezTo>
                  <a:pt x="f10" y="f44"/>
                  <a:pt x="f10" y="f43"/>
                  <a:pt x="f60" y="f41"/>
                </a:cubicBezTo>
                <a:cubicBezTo>
                  <a:pt x="f61" y="f39"/>
                  <a:pt x="f62" y="f37"/>
                  <a:pt x="f13" y="f37"/>
                </a:cubicBezTo>
                <a:close/>
                <a:moveTo>
                  <a:pt x="f13" y="f63"/>
                </a:moveTo>
                <a:cubicBezTo>
                  <a:pt x="f64" y="f63"/>
                  <a:pt x="f65" y="f66"/>
                  <a:pt x="f53" y="f67"/>
                </a:cubicBezTo>
                <a:cubicBezTo>
                  <a:pt x="f68" y="f69"/>
                  <a:pt x="f68" y="f70"/>
                  <a:pt x="f53" y="f71"/>
                </a:cubicBezTo>
                <a:cubicBezTo>
                  <a:pt x="f72" y="f73"/>
                  <a:pt x="f74" y="f73"/>
                  <a:pt x="f75" y="f71"/>
                </a:cubicBezTo>
                <a:cubicBezTo>
                  <a:pt x="f75" y="f71"/>
                  <a:pt x="f75" y="f71"/>
                  <a:pt x="f75" y="f71"/>
                </a:cubicBezTo>
                <a:cubicBezTo>
                  <a:pt x="f76" y="f77"/>
                  <a:pt x="f78" y="f79"/>
                  <a:pt x="f13" y="f79"/>
                </a:cubicBezTo>
                <a:cubicBezTo>
                  <a:pt x="f80" y="f79"/>
                  <a:pt x="f62" y="f77"/>
                  <a:pt x="f81" y="f71"/>
                </a:cubicBezTo>
                <a:cubicBezTo>
                  <a:pt x="f12" y="f82"/>
                  <a:pt x="f83" y="f73"/>
                  <a:pt x="f84" y="f73"/>
                </a:cubicBezTo>
                <a:cubicBezTo>
                  <a:pt x="f85" y="f73"/>
                  <a:pt x="f86" y="f82"/>
                  <a:pt x="f87" y="f71"/>
                </a:cubicBezTo>
                <a:cubicBezTo>
                  <a:pt x="f88" y="f70"/>
                  <a:pt x="f88" y="f69"/>
                  <a:pt x="f87" y="f67"/>
                </a:cubicBezTo>
                <a:cubicBezTo>
                  <a:pt x="f89" y="f66"/>
                  <a:pt x="f90" y="f63"/>
                  <a:pt x="f13" y="f63"/>
                </a:cubicBezTo>
                <a:close/>
                <a:moveTo>
                  <a:pt x="f91" y="f92"/>
                </a:moveTo>
                <a:cubicBezTo>
                  <a:pt x="f93" y="f84"/>
                  <a:pt x="f93" y="f94"/>
                  <a:pt x="f91" y="f95"/>
                </a:cubicBezTo>
                <a:cubicBezTo>
                  <a:pt x="f96" y="f7"/>
                  <a:pt x="f97" y="f7"/>
                  <a:pt x="f98" y="f95"/>
                </a:cubicBezTo>
                <a:cubicBezTo>
                  <a:pt x="f99" y="f94"/>
                  <a:pt x="f99" y="f84"/>
                  <a:pt x="f98" y="f92"/>
                </a:cubicBezTo>
                <a:cubicBezTo>
                  <a:pt x="f97" y="f100"/>
                  <a:pt x="f96" y="f100"/>
                  <a:pt x="f91" y="f92"/>
                </a:cubicBezTo>
                <a:close/>
              </a:path>
            </a:pathLst>
          </a:custGeom>
          <a:solidFill>
            <a:srgbClr val="00625F"/>
          </a:solidFill>
          <a:ln cap="flat">
            <a:noFill/>
            <a:prstDash val="solid"/>
          </a:ln>
        </p:spPr>
        <p:txBody>
          <a:bodyPr vert="horz" wrap="square" lIns="91440" tIns="45720" rIns="91440" bIns="45720" anchor="t" anchorCtr="1" compatLnSpc="1">
            <a:noAutofit/>
          </a:bodyPr>
          <a:lstStyle/>
          <a:p>
            <a:pPr marL="0" marR="0" lvl="0" indent="0" algn="ctr"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1" i="0" u="none" strike="noStrike" kern="1200" cap="none" spc="0" baseline="0">
              <a:solidFill>
                <a:srgbClr val="58585A"/>
              </a:solidFill>
              <a:uFillTx/>
              <a:latin typeface="Arial"/>
            </a:endParaRPr>
          </a:p>
        </p:txBody>
      </p:sp>
      <p:sp>
        <p:nvSpPr>
          <p:cNvPr id="64" name="Freeform 3">
            <a:extLst>
              <a:ext uri="{FF2B5EF4-FFF2-40B4-BE49-F238E27FC236}">
                <a16:creationId xmlns:a16="http://schemas.microsoft.com/office/drawing/2014/main" id="{B3872D70-BE0A-4AED-954D-2B84E3A356DC}"/>
              </a:ext>
            </a:extLst>
          </p:cNvPr>
          <p:cNvSpPr/>
          <p:nvPr/>
        </p:nvSpPr>
        <p:spPr>
          <a:xfrm>
            <a:off x="3986409" y="5224181"/>
            <a:ext cx="234772" cy="409989"/>
          </a:xfrm>
          <a:custGeom>
            <a:avLst/>
            <a:gdLst>
              <a:gd name="f0" fmla="val 10800000"/>
              <a:gd name="f1" fmla="val 5400000"/>
              <a:gd name="f2" fmla="val 180"/>
              <a:gd name="f3" fmla="val w"/>
              <a:gd name="f4" fmla="val h"/>
              <a:gd name="f5" fmla="val 0"/>
              <a:gd name="f6" fmla="val 232"/>
              <a:gd name="f7" fmla="val 405"/>
              <a:gd name="f8" fmla="val 218"/>
              <a:gd name="f9" fmla="val 87"/>
              <a:gd name="f10" fmla="val 210"/>
              <a:gd name="f11" fmla="val 94"/>
              <a:gd name="f12" fmla="val 201"/>
              <a:gd name="f13" fmla="val 103"/>
              <a:gd name="f14" fmla="val 196"/>
              <a:gd name="f15" fmla="val 108"/>
              <a:gd name="f16" fmla="val 164"/>
              <a:gd name="f17" fmla="val 75"/>
              <a:gd name="f18" fmla="val 187"/>
              <a:gd name="f19" fmla="val 51"/>
              <a:gd name="f20" fmla="val 228"/>
              <a:gd name="f21" fmla="val 15"/>
              <a:gd name="f22" fmla="val 12"/>
              <a:gd name="f23" fmla="val 7"/>
              <a:gd name="f24" fmla="val 229"/>
              <a:gd name="f25" fmla="val 3"/>
              <a:gd name="f26" fmla="val 226"/>
              <a:gd name="f27" fmla="val 221"/>
              <a:gd name="f28" fmla="val 216"/>
              <a:gd name="f29" fmla="val 4"/>
              <a:gd name="f30" fmla="val 173"/>
              <a:gd name="f31" fmla="val 42"/>
              <a:gd name="f32" fmla="val 149"/>
              <a:gd name="f33" fmla="val 67"/>
              <a:gd name="f34" fmla="val 147"/>
              <a:gd name="f35" fmla="val 66"/>
              <a:gd name="f36" fmla="val 144"/>
              <a:gd name="f37" fmla="val 141"/>
              <a:gd name="f38" fmla="val 133"/>
              <a:gd name="f39" fmla="val 126"/>
              <a:gd name="f40" fmla="val 69"/>
              <a:gd name="f41" fmla="val 120"/>
              <a:gd name="f42" fmla="val 82"/>
              <a:gd name="f43" fmla="val 112"/>
              <a:gd name="f44" fmla="val 70"/>
              <a:gd name="f45" fmla="val 124"/>
              <a:gd name="f46" fmla="val 142"/>
              <a:gd name="f47" fmla="val 80"/>
              <a:gd name="f48" fmla="val 154"/>
              <a:gd name="f49" fmla="val 76"/>
              <a:gd name="f50" fmla="val 160"/>
              <a:gd name="f51" fmla="val 172"/>
              <a:gd name="f52" fmla="val 63"/>
              <a:gd name="f53" fmla="val 182"/>
              <a:gd name="f54" fmla="val 56"/>
              <a:gd name="f55" fmla="val 183"/>
              <a:gd name="f56" fmla="val 181"/>
              <a:gd name="f57" fmla="val 47"/>
              <a:gd name="f58" fmla="val 178"/>
              <a:gd name="f59" fmla="val 32"/>
              <a:gd name="f60" fmla="val 166"/>
              <a:gd name="f61" fmla="val 39"/>
              <a:gd name="f62" fmla="val 125"/>
              <a:gd name="f63" fmla="val 45"/>
              <a:gd name="f64" fmla="val 105"/>
              <a:gd name="f65" fmla="val 46"/>
              <a:gd name="f66" fmla="val 106"/>
              <a:gd name="f67" fmla="val 48"/>
              <a:gd name="f68" fmla="val 50"/>
              <a:gd name="f69" fmla="val 64"/>
              <a:gd name="f70" fmla="val 79"/>
              <a:gd name="f71" fmla="val 96"/>
              <a:gd name="f72" fmla="val 89"/>
              <a:gd name="f73" fmla="val 81"/>
              <a:gd name="f74" fmla="val 60"/>
              <a:gd name="f75" fmla="val 34"/>
              <a:gd name="f76" fmla="val 23"/>
              <a:gd name="f77" fmla="val 85"/>
              <a:gd name="f78" fmla="val 20"/>
              <a:gd name="f79" fmla="val 18"/>
              <a:gd name="f80" fmla="val 73"/>
              <a:gd name="f81" fmla="val 59"/>
              <a:gd name="f82" fmla="val 44"/>
              <a:gd name="f83" fmla="val 28"/>
              <a:gd name="f84" fmla="val 43"/>
              <a:gd name="f85" fmla="val 27"/>
              <a:gd name="f86" fmla="val 52"/>
              <a:gd name="f87" fmla="val 22"/>
              <a:gd name="f88" fmla="val 74"/>
              <a:gd name="f89" fmla="val 84"/>
              <a:gd name="f90" fmla="val 25"/>
              <a:gd name="f91" fmla="val 92"/>
              <a:gd name="f92" fmla="val 30"/>
              <a:gd name="f93" fmla="val 97"/>
              <a:gd name="f94" fmla="val 26"/>
              <a:gd name="f95" fmla="val 111"/>
              <a:gd name="f96" fmla="val 11"/>
              <a:gd name="f97" fmla="val 169"/>
              <a:gd name="f98" fmla="val 37"/>
              <a:gd name="f99" fmla="val 191"/>
              <a:gd name="f100" fmla="val 195"/>
              <a:gd name="f101" fmla="val 197"/>
              <a:gd name="f102" fmla="val 198"/>
              <a:gd name="f103" fmla="val 211"/>
              <a:gd name="f104" fmla="val 240"/>
              <a:gd name="f105" fmla="val 40"/>
              <a:gd name="f106" fmla="val 265"/>
              <a:gd name="f107" fmla="val 280"/>
              <a:gd name="f108" fmla="val 33"/>
              <a:gd name="f109" fmla="val 297"/>
              <a:gd name="f110" fmla="val 300"/>
              <a:gd name="f111" fmla="val 31"/>
              <a:gd name="f112" fmla="val 302"/>
              <a:gd name="f113" fmla="val 304"/>
              <a:gd name="f114" fmla="val 316"/>
              <a:gd name="f115" fmla="val 350"/>
              <a:gd name="f116" fmla="val 13"/>
              <a:gd name="f117" fmla="val 386"/>
              <a:gd name="f118" fmla="val 387"/>
              <a:gd name="f119" fmla="val 19"/>
              <a:gd name="f120" fmla="val 401"/>
              <a:gd name="f121" fmla="val 24"/>
              <a:gd name="f122" fmla="val 53"/>
              <a:gd name="f123" fmla="val 393"/>
              <a:gd name="f124" fmla="val 391"/>
              <a:gd name="f125" fmla="val 57"/>
              <a:gd name="f126" fmla="val 388"/>
              <a:gd name="f127" fmla="val 58"/>
              <a:gd name="f128" fmla="val 384"/>
              <a:gd name="f129" fmla="val 385"/>
              <a:gd name="f130" fmla="val 380"/>
              <a:gd name="f131" fmla="val 355"/>
              <a:gd name="f132" fmla="val 344"/>
              <a:gd name="f133" fmla="val 83"/>
              <a:gd name="f134" fmla="val 334"/>
              <a:gd name="f135" fmla="val 327"/>
              <a:gd name="f136" fmla="val 78"/>
              <a:gd name="f137" fmla="val 325"/>
              <a:gd name="f138" fmla="val 322"/>
              <a:gd name="f139" fmla="val 320"/>
              <a:gd name="f140" fmla="val 132"/>
              <a:gd name="f141" fmla="val 135"/>
              <a:gd name="f142" fmla="val 202"/>
              <a:gd name="f143" fmla="val 138"/>
              <a:gd name="f144" fmla="val 203"/>
              <a:gd name="f145" fmla="val 157"/>
              <a:gd name="f146" fmla="val 200"/>
              <a:gd name="f147" fmla="val 163"/>
              <a:gd name="f148" fmla="val 194"/>
              <a:gd name="f149" fmla="val 179"/>
              <a:gd name="f150" fmla="val 176"/>
              <a:gd name="f151" fmla="val 171"/>
              <a:gd name="f152" fmla="val 168"/>
              <a:gd name="f153" fmla="val 175"/>
              <a:gd name="f154" fmla="val 165"/>
              <a:gd name="f155" fmla="val 170"/>
              <a:gd name="f156" fmla="val 167"/>
              <a:gd name="f157" fmla="val 152"/>
              <a:gd name="f158" fmla="val 146"/>
              <a:gd name="f159" fmla="val 188"/>
              <a:gd name="f160" fmla="val 137"/>
              <a:gd name="f161" fmla="val 131"/>
              <a:gd name="f162" fmla="val 93"/>
              <a:gd name="f163" fmla="val 145"/>
              <a:gd name="f164" fmla="val 139"/>
              <a:gd name="f165" fmla="val 130"/>
              <a:gd name="f166" fmla="val 86"/>
              <a:gd name="f167" fmla="val 190"/>
              <a:gd name="f168" fmla="val 189"/>
              <a:gd name="f169" fmla="val 186"/>
              <a:gd name="f170" fmla="val 148"/>
              <a:gd name="f171" fmla="val 153"/>
              <a:gd name="f172" fmla="val 192"/>
              <a:gd name="f173" fmla="val 156"/>
              <a:gd name="f174" fmla="val 213"/>
              <a:gd name="f175" fmla="val 207"/>
              <a:gd name="f176" fmla="val 116"/>
              <a:gd name="f177" fmla="val 219"/>
              <a:gd name="f178" fmla="val 107"/>
              <a:gd name="f179" fmla="val 100"/>
              <a:gd name="f180" fmla="val 231"/>
              <a:gd name="f181" fmla="val 227"/>
              <a:gd name="f182" fmla="val 38"/>
              <a:gd name="f183" fmla="val 55"/>
              <a:gd name="f184" fmla="val 35"/>
              <a:gd name="f185" fmla="val 36"/>
              <a:gd name="f186" fmla="val 41"/>
              <a:gd name="f187" fmla="val 72"/>
              <a:gd name="f188" fmla="val 68"/>
              <a:gd name="f189" fmla="val 90"/>
              <a:gd name="f190" fmla="val 88"/>
              <a:gd name="f191" fmla="val 119"/>
              <a:gd name="f192" fmla="val 193"/>
              <a:gd name="f193" fmla="val 315"/>
              <a:gd name="f194" fmla="val 321"/>
              <a:gd name="f195" fmla="val 61"/>
              <a:gd name="f196" fmla="val 328"/>
              <a:gd name="f197" fmla="val 65"/>
              <a:gd name="f198" fmla="val 335"/>
              <a:gd name="f199" fmla="val 340"/>
              <a:gd name="f200" fmla="val 347"/>
              <a:gd name="f201" fmla="val 71"/>
              <a:gd name="f202" fmla="val 352"/>
              <a:gd name="f203" fmla="val 367"/>
              <a:gd name="f204" fmla="val 368"/>
              <a:gd name="f205" fmla="val 365"/>
              <a:gd name="f206" fmla="val 362"/>
              <a:gd name="f207" fmla="val 62"/>
              <a:gd name="f208" fmla="val 359"/>
              <a:gd name="f209" fmla="val 354"/>
              <a:gd name="f210" fmla="val 349"/>
              <a:gd name="f211" fmla="val 357"/>
              <a:gd name="f212" fmla="val 375"/>
              <a:gd name="f213" fmla="val 376"/>
              <a:gd name="f214" fmla="val 381"/>
              <a:gd name="f215" fmla="val 389"/>
              <a:gd name="f216" fmla="val 324"/>
              <a:gd name="f217" fmla="val 312"/>
              <a:gd name="f218" fmla="val 310"/>
              <a:gd name="f219" fmla="val 308"/>
              <a:gd name="f220" fmla="val 307"/>
              <a:gd name="f221" fmla="val 303"/>
              <a:gd name="f222" fmla="val 294"/>
              <a:gd name="f223" fmla="val 269"/>
              <a:gd name="f224" fmla="val 244"/>
              <a:gd name="f225" fmla="val 199"/>
              <a:gd name="f226" fmla="val 109"/>
              <a:gd name="f227" fmla="val 177"/>
              <a:gd name="f228" fmla="+- 0 0 -90"/>
              <a:gd name="f229" fmla="*/ f3 1 232"/>
              <a:gd name="f230" fmla="*/ f4 1 405"/>
              <a:gd name="f231" fmla="+- f7 0 f5"/>
              <a:gd name="f232" fmla="+- f6 0 f5"/>
              <a:gd name="f233" fmla="*/ f228 f0 1"/>
              <a:gd name="f234" fmla="*/ f232 1 232"/>
              <a:gd name="f235" fmla="*/ f231 1 405"/>
              <a:gd name="f236" fmla="*/ 2147483646 f232 1"/>
              <a:gd name="f237" fmla="*/ 2147483646 f231 1"/>
              <a:gd name="f238" fmla="*/ f233 1 f2"/>
              <a:gd name="f239" fmla="*/ f236 1 232"/>
              <a:gd name="f240" fmla="*/ f237 1 405"/>
              <a:gd name="f241" fmla="*/ 0 1 f234"/>
              <a:gd name="f242" fmla="*/ f6 1 f234"/>
              <a:gd name="f243" fmla="*/ 0 1 f235"/>
              <a:gd name="f244" fmla="*/ f7 1 f235"/>
              <a:gd name="f245" fmla="+- f238 0 f1"/>
              <a:gd name="f246" fmla="*/ f239 1 f234"/>
              <a:gd name="f247" fmla="*/ f240 1 f235"/>
              <a:gd name="f248" fmla="*/ f241 f229 1"/>
              <a:gd name="f249" fmla="*/ f242 f229 1"/>
              <a:gd name="f250" fmla="*/ f244 f230 1"/>
              <a:gd name="f251" fmla="*/ f243 f230 1"/>
              <a:gd name="f252" fmla="*/ f246 f229 1"/>
              <a:gd name="f253" fmla="*/ f247 f230 1"/>
            </a:gdLst>
            <a:ahLst/>
            <a:cxnLst>
              <a:cxn ang="3cd4">
                <a:pos x="hc" y="t"/>
              </a:cxn>
              <a:cxn ang="0">
                <a:pos x="r" y="vc"/>
              </a:cxn>
              <a:cxn ang="cd4">
                <a:pos x="hc" y="b"/>
              </a:cxn>
              <a:cxn ang="cd2">
                <a:pos x="l" y="vc"/>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 ang="f245">
                <a:pos x="f252" y="f253"/>
              </a:cxn>
            </a:cxnLst>
            <a:rect l="f248" t="f251" r="f249" b="f250"/>
            <a:pathLst>
              <a:path w="232" h="405">
                <a:moveTo>
                  <a:pt x="f8" y="f9"/>
                </a:moveTo>
                <a:cubicBezTo>
                  <a:pt x="f10" y="f11"/>
                  <a:pt x="f12" y="f13"/>
                  <a:pt x="f14" y="f15"/>
                </a:cubicBezTo>
                <a:cubicBezTo>
                  <a:pt x="f16" y="f17"/>
                  <a:pt x="f16" y="f17"/>
                  <a:pt x="f16" y="f17"/>
                </a:cubicBezTo>
                <a:cubicBezTo>
                  <a:pt x="f18" y="f19"/>
                  <a:pt x="f20" y="f21"/>
                  <a:pt x="f20" y="f21"/>
                </a:cubicBezTo>
                <a:cubicBezTo>
                  <a:pt x="f6" y="f22"/>
                  <a:pt x="f6" y="f23"/>
                  <a:pt x="f24" y="f25"/>
                </a:cubicBezTo>
                <a:cubicBezTo>
                  <a:pt x="f26" y="f5"/>
                  <a:pt x="f27" y="f5"/>
                  <a:pt x="f8" y="f25"/>
                </a:cubicBezTo>
                <a:cubicBezTo>
                  <a:pt x="f28" y="f29"/>
                  <a:pt x="f30" y="f31"/>
                  <a:pt x="f32" y="f33"/>
                </a:cubicBezTo>
                <a:cubicBezTo>
                  <a:pt x="f34" y="f35"/>
                  <a:pt x="f36" y="f35"/>
                  <a:pt x="f37" y="f35"/>
                </a:cubicBezTo>
                <a:cubicBezTo>
                  <a:pt x="f38" y="f35"/>
                  <a:pt x="f39" y="f40"/>
                  <a:pt x="f41" y="f17"/>
                </a:cubicBezTo>
                <a:cubicBezTo>
                  <a:pt x="f42" y="f43"/>
                  <a:pt x="f42" y="f43"/>
                  <a:pt x="f42" y="f43"/>
                </a:cubicBezTo>
                <a:cubicBezTo>
                  <a:pt x="f44" y="f45"/>
                  <a:pt x="f44" y="f46"/>
                  <a:pt x="f47" y="f48"/>
                </a:cubicBezTo>
                <a:cubicBezTo>
                  <a:pt x="f49" y="f50"/>
                  <a:pt x="f40" y="f51"/>
                  <a:pt x="f52" y="f53"/>
                </a:cubicBezTo>
                <a:cubicBezTo>
                  <a:pt x="f54" y="f55"/>
                  <a:pt x="f19" y="f56"/>
                  <a:pt x="f57" y="f58"/>
                </a:cubicBezTo>
                <a:cubicBezTo>
                  <a:pt x="f59" y="f60"/>
                  <a:pt x="f61" y="f62"/>
                  <a:pt x="f63" y="f64"/>
                </a:cubicBezTo>
                <a:cubicBezTo>
                  <a:pt x="f65" y="f66"/>
                  <a:pt x="f67" y="f66"/>
                  <a:pt x="f68" y="f66"/>
                </a:cubicBezTo>
                <a:cubicBezTo>
                  <a:pt x="f68" y="f66"/>
                  <a:pt x="f68" y="f66"/>
                  <a:pt x="f68" y="f66"/>
                </a:cubicBezTo>
                <a:cubicBezTo>
                  <a:pt x="f69" y="f66"/>
                  <a:pt x="f70" y="f71"/>
                  <a:pt x="f72" y="f73"/>
                </a:cubicBezTo>
                <a:cubicBezTo>
                  <a:pt x="f64" y="f74"/>
                  <a:pt x="f64" y="f75"/>
                  <a:pt x="f72" y="f76"/>
                </a:cubicBezTo>
                <a:cubicBezTo>
                  <a:pt x="f77" y="f78"/>
                  <a:pt x="f70" y="f79"/>
                  <a:pt x="f80" y="f79"/>
                </a:cubicBezTo>
                <a:cubicBezTo>
                  <a:pt x="f81" y="f79"/>
                  <a:pt x="f82" y="f83"/>
                  <a:pt x="f75" y="f84"/>
                </a:cubicBezTo>
                <a:cubicBezTo>
                  <a:pt x="f85" y="f86"/>
                  <a:pt x="f76" y="f69"/>
                  <a:pt x="f87" y="f88"/>
                </a:cubicBezTo>
                <a:cubicBezTo>
                  <a:pt x="f87" y="f89"/>
                  <a:pt x="f90" y="f91"/>
                  <a:pt x="f92" y="f93"/>
                </a:cubicBezTo>
                <a:cubicBezTo>
                  <a:pt x="f94" y="f95"/>
                  <a:pt x="f96" y="f97"/>
                  <a:pt x="f98" y="f99"/>
                </a:cubicBezTo>
                <a:cubicBezTo>
                  <a:pt x="f31" y="f100"/>
                  <a:pt x="f67" y="f101"/>
                  <a:pt x="f54" y="f102"/>
                </a:cubicBezTo>
                <a:cubicBezTo>
                  <a:pt x="f19" y="f103"/>
                  <a:pt x="f63" y="f104"/>
                  <a:pt x="f105" y="f106"/>
                </a:cubicBezTo>
                <a:cubicBezTo>
                  <a:pt x="f98" y="f107"/>
                  <a:pt x="f108" y="f109"/>
                  <a:pt x="f59" y="f110"/>
                </a:cubicBezTo>
                <a:cubicBezTo>
                  <a:pt x="f59" y="f110"/>
                  <a:pt x="f111" y="f112"/>
                  <a:pt x="f92" y="f113"/>
                </a:cubicBezTo>
                <a:cubicBezTo>
                  <a:pt x="f87" y="f114"/>
                  <a:pt x="f5" y="f115"/>
                  <a:pt x="f116" y="f117"/>
                </a:cubicBezTo>
                <a:cubicBezTo>
                  <a:pt x="f116" y="f118"/>
                  <a:pt x="f116" y="f118"/>
                  <a:pt x="f116" y="f118"/>
                </a:cubicBezTo>
                <a:cubicBezTo>
                  <a:pt x="f119" y="f120"/>
                  <a:pt x="f121" y="f7"/>
                  <a:pt x="f75" y="f7"/>
                </a:cubicBezTo>
                <a:cubicBezTo>
                  <a:pt x="f84" y="f7"/>
                  <a:pt x="f122" y="f120"/>
                  <a:pt x="f54" y="f123"/>
                </a:cubicBezTo>
                <a:cubicBezTo>
                  <a:pt x="f54" y="f124"/>
                  <a:pt x="f125" y="f126"/>
                  <a:pt x="f127" y="f128"/>
                </a:cubicBezTo>
                <a:cubicBezTo>
                  <a:pt x="f88" y="f129"/>
                  <a:pt x="f73" y="f130"/>
                  <a:pt x="f9" y="f131"/>
                </a:cubicBezTo>
                <a:cubicBezTo>
                  <a:pt x="f72" y="f132"/>
                  <a:pt x="f133" y="f134"/>
                  <a:pt x="f70" y="f135"/>
                </a:cubicBezTo>
                <a:cubicBezTo>
                  <a:pt x="f136" y="f137"/>
                  <a:pt x="f49" y="f138"/>
                  <a:pt x="f17" y="f139"/>
                </a:cubicBezTo>
                <a:cubicBezTo>
                  <a:pt x="f140" y="f12"/>
                  <a:pt x="f140" y="f12"/>
                  <a:pt x="f140" y="f12"/>
                </a:cubicBezTo>
                <a:cubicBezTo>
                  <a:pt x="f141" y="f142"/>
                  <a:pt x="f143" y="f144"/>
                  <a:pt x="f37" y="f144"/>
                </a:cubicBezTo>
                <a:cubicBezTo>
                  <a:pt x="f32" y="f144"/>
                  <a:pt x="f145" y="f146"/>
                  <a:pt x="f147" y="f148"/>
                </a:cubicBezTo>
                <a:cubicBezTo>
                  <a:pt x="f58" y="f149"/>
                  <a:pt x="f58" y="f149"/>
                  <a:pt x="f58" y="f149"/>
                </a:cubicBezTo>
                <a:cubicBezTo>
                  <a:pt x="f56" y="f150"/>
                  <a:pt x="f56" y="f151"/>
                  <a:pt x="f58" y="f152"/>
                </a:cubicBezTo>
                <a:cubicBezTo>
                  <a:pt x="f153" y="f154"/>
                  <a:pt x="f155" y="f154"/>
                  <a:pt x="f156" y="f152"/>
                </a:cubicBezTo>
                <a:cubicBezTo>
                  <a:pt x="f157" y="f53"/>
                  <a:pt x="f157" y="f53"/>
                  <a:pt x="f157" y="f53"/>
                </a:cubicBezTo>
                <a:cubicBezTo>
                  <a:pt x="f158" y="f159"/>
                  <a:pt x="f160" y="f159"/>
                  <a:pt x="f161" y="f53"/>
                </a:cubicBezTo>
                <a:cubicBezTo>
                  <a:pt x="f162" y="f163"/>
                  <a:pt x="f162" y="f163"/>
                  <a:pt x="f162" y="f163"/>
                </a:cubicBezTo>
                <a:cubicBezTo>
                  <a:pt x="f9" y="f164"/>
                  <a:pt x="f9" y="f165"/>
                  <a:pt x="f162" y="f45"/>
                </a:cubicBezTo>
                <a:cubicBezTo>
                  <a:pt x="f161" y="f166"/>
                  <a:pt x="f161" y="f166"/>
                  <a:pt x="f161" y="f166"/>
                </a:cubicBezTo>
                <a:cubicBezTo>
                  <a:pt x="f160" y="f47"/>
                  <a:pt x="f158" y="f47"/>
                  <a:pt x="f157" y="f166"/>
                </a:cubicBezTo>
                <a:cubicBezTo>
                  <a:pt x="f167" y="f45"/>
                  <a:pt x="f167" y="f45"/>
                  <a:pt x="f167" y="f45"/>
                </a:cubicBezTo>
                <a:cubicBezTo>
                  <a:pt x="f100" y="f165"/>
                  <a:pt x="f100" y="f164"/>
                  <a:pt x="f167" y="f163"/>
                </a:cubicBezTo>
                <a:cubicBezTo>
                  <a:pt x="f168" y="f163"/>
                  <a:pt x="f168" y="f163"/>
                  <a:pt x="f168" y="f163"/>
                </a:cubicBezTo>
                <a:cubicBezTo>
                  <a:pt x="f169" y="f170"/>
                  <a:pt x="f169" y="f171"/>
                  <a:pt x="f168" y="f145"/>
                </a:cubicBezTo>
                <a:cubicBezTo>
                  <a:pt x="f172" y="f50"/>
                  <a:pt x="f101" y="f50"/>
                  <a:pt x="f146" y="f145"/>
                </a:cubicBezTo>
                <a:cubicBezTo>
                  <a:pt x="f12" y="f173"/>
                  <a:pt x="f12" y="f173"/>
                  <a:pt x="f12" y="f173"/>
                </a:cubicBezTo>
                <a:cubicBezTo>
                  <a:pt x="f103" y="f158"/>
                  <a:pt x="f174" y="f161"/>
                  <a:pt x="f175" y="f41"/>
                </a:cubicBezTo>
                <a:cubicBezTo>
                  <a:pt x="f10" y="f176"/>
                  <a:pt x="f177" y="f178"/>
                  <a:pt x="f20" y="f179"/>
                </a:cubicBezTo>
                <a:cubicBezTo>
                  <a:pt x="f180" y="f93"/>
                  <a:pt x="f6" y="f91"/>
                  <a:pt x="f24" y="f72"/>
                </a:cubicBezTo>
                <a:cubicBezTo>
                  <a:pt x="f181" y="f77"/>
                  <a:pt x="f27" y="f77"/>
                  <a:pt x="f8" y="f9"/>
                </a:cubicBezTo>
                <a:close/>
                <a:moveTo>
                  <a:pt x="f182" y="f17"/>
                </a:moveTo>
                <a:cubicBezTo>
                  <a:pt x="f61" y="f33"/>
                  <a:pt x="f31" y="f81"/>
                  <a:pt x="f57" y="f86"/>
                </a:cubicBezTo>
                <a:cubicBezTo>
                  <a:pt x="f183" y="f105"/>
                  <a:pt x="f35" y="f75"/>
                  <a:pt x="f80" y="f75"/>
                </a:cubicBezTo>
                <a:cubicBezTo>
                  <a:pt x="f49" y="f75"/>
                  <a:pt x="f136" y="f184"/>
                  <a:pt x="f47" y="f185"/>
                </a:cubicBezTo>
                <a:cubicBezTo>
                  <a:pt x="f9" y="f186"/>
                  <a:pt x="f9" y="f125"/>
                  <a:pt x="f49" y="f187"/>
                </a:cubicBezTo>
                <a:cubicBezTo>
                  <a:pt x="f188" y="f89"/>
                  <a:pt x="f125" y="f189"/>
                  <a:pt x="f68" y="f189"/>
                </a:cubicBezTo>
                <a:cubicBezTo>
                  <a:pt x="f57" y="f189"/>
                  <a:pt x="f63" y="f72"/>
                  <a:pt x="f84" y="f190"/>
                </a:cubicBezTo>
                <a:cubicBezTo>
                  <a:pt x="f61" y="f77"/>
                  <a:pt x="f182" y="f136"/>
                  <a:pt x="f182" y="f17"/>
                </a:cubicBezTo>
                <a:close/>
                <a:moveTo>
                  <a:pt x="f191" y="f192"/>
                </a:moveTo>
                <a:cubicBezTo>
                  <a:pt x="f74" y="f193"/>
                  <a:pt x="f74" y="f193"/>
                  <a:pt x="f74" y="f193"/>
                </a:cubicBezTo>
                <a:cubicBezTo>
                  <a:pt x="f125" y="f194"/>
                  <a:pt x="f195" y="f196"/>
                  <a:pt x="f197" y="f198"/>
                </a:cubicBezTo>
                <a:cubicBezTo>
                  <a:pt x="f188" y="f199"/>
                  <a:pt x="f187" y="f200"/>
                  <a:pt x="f201" y="f202"/>
                </a:cubicBezTo>
                <a:cubicBezTo>
                  <a:pt x="f188" y="f203"/>
                  <a:pt x="f33" y="f204"/>
                  <a:pt x="f74" y="f204"/>
                </a:cubicBezTo>
                <a:cubicBezTo>
                  <a:pt x="f195" y="f205"/>
                  <a:pt x="f195" y="f206"/>
                  <a:pt x="f207" y="f208"/>
                </a:cubicBezTo>
                <a:cubicBezTo>
                  <a:pt x="f207" y="f209"/>
                  <a:pt x="f81" y="f115"/>
                  <a:pt x="f183" y="f115"/>
                </a:cubicBezTo>
                <a:cubicBezTo>
                  <a:pt x="f68" y="f210"/>
                  <a:pt x="f65" y="f202"/>
                  <a:pt x="f65" y="f211"/>
                </a:cubicBezTo>
                <a:cubicBezTo>
                  <a:pt x="f84" y="f212"/>
                  <a:pt x="f84" y="f212"/>
                  <a:pt x="f84" y="f212"/>
                </a:cubicBezTo>
                <a:cubicBezTo>
                  <a:pt x="f84" y="f212"/>
                  <a:pt x="f84" y="f212"/>
                  <a:pt x="f84" y="f213"/>
                </a:cubicBezTo>
                <a:cubicBezTo>
                  <a:pt x="f31" y="f214"/>
                  <a:pt x="f31" y="f129"/>
                  <a:pt x="f186" y="f117"/>
                </a:cubicBezTo>
                <a:cubicBezTo>
                  <a:pt x="f186" y="f118"/>
                  <a:pt x="f98" y="f215"/>
                  <a:pt x="f75" y="f215"/>
                </a:cubicBezTo>
                <a:cubicBezTo>
                  <a:pt x="f108" y="f215"/>
                  <a:pt x="f108" y="f215"/>
                  <a:pt x="f108" y="f215"/>
                </a:cubicBezTo>
                <a:cubicBezTo>
                  <a:pt x="f108" y="f215"/>
                  <a:pt x="f111" y="f126"/>
                  <a:pt x="f83" y="f214"/>
                </a:cubicBezTo>
                <a:cubicBezTo>
                  <a:pt x="f79" y="f202"/>
                  <a:pt x="f185" y="f216"/>
                  <a:pt x="f84" y="f217"/>
                </a:cubicBezTo>
                <a:cubicBezTo>
                  <a:pt x="f63" y="f218"/>
                  <a:pt x="f65" y="f219"/>
                  <a:pt x="f57" y="f220"/>
                </a:cubicBezTo>
                <a:cubicBezTo>
                  <a:pt x="f67" y="f221"/>
                  <a:pt x="f68" y="f222"/>
                  <a:pt x="f54" y="f223"/>
                </a:cubicBezTo>
                <a:cubicBezTo>
                  <a:pt x="f195" y="f224"/>
                  <a:pt x="f188" y="f10"/>
                  <a:pt x="f187" y="f146"/>
                </a:cubicBezTo>
                <a:cubicBezTo>
                  <a:pt x="f187" y="f225"/>
                  <a:pt x="f80" y="f102"/>
                  <a:pt x="f80" y="f101"/>
                </a:cubicBezTo>
                <a:cubicBezTo>
                  <a:pt x="f89" y="f100"/>
                  <a:pt x="f71" y="f167"/>
                  <a:pt x="f226" y="f55"/>
                </a:cubicBezTo>
                <a:lnTo>
                  <a:pt x="f191" y="f192"/>
                </a:lnTo>
                <a:close/>
                <a:moveTo>
                  <a:pt x="f91" y="f60"/>
                </a:moveTo>
                <a:cubicBezTo>
                  <a:pt x="f93" y="f151"/>
                  <a:pt x="f93" y="f151"/>
                  <a:pt x="f93" y="f151"/>
                </a:cubicBezTo>
                <a:cubicBezTo>
                  <a:pt x="f162" y="f30"/>
                  <a:pt x="f72" y="f153"/>
                  <a:pt x="f77" y="f227"/>
                </a:cubicBezTo>
                <a:cubicBezTo>
                  <a:pt x="f9" y="f30"/>
                  <a:pt x="f189" y="f97"/>
                  <a:pt x="f91" y="f60"/>
                </a:cubicBezTo>
                <a:close/>
              </a:path>
            </a:pathLst>
          </a:custGeom>
          <a:solidFill>
            <a:srgbClr val="00A9D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solidFill>
                <a:srgbClr val="58585A"/>
              </a:solidFill>
              <a:uFillTx/>
              <a:latin typeface="Arial"/>
            </a:endParaRPr>
          </a:p>
        </p:txBody>
      </p:sp>
      <p:sp>
        <p:nvSpPr>
          <p:cNvPr id="65" name="Freeform 3">
            <a:extLst>
              <a:ext uri="{FF2B5EF4-FFF2-40B4-BE49-F238E27FC236}">
                <a16:creationId xmlns:a16="http://schemas.microsoft.com/office/drawing/2014/main" id="{EF02FA83-8849-4092-8ADF-183D701BA231}"/>
              </a:ext>
            </a:extLst>
          </p:cNvPr>
          <p:cNvSpPr>
            <a:spLocks noChangeAspect="1" noEditPoints="1"/>
          </p:cNvSpPr>
          <p:nvPr/>
        </p:nvSpPr>
        <p:spPr bwMode="auto">
          <a:xfrm>
            <a:off x="2872283" y="2737980"/>
            <a:ext cx="400759" cy="396814"/>
          </a:xfrm>
          <a:custGeom>
            <a:avLst/>
            <a:gdLst>
              <a:gd name="T0" fmla="*/ 2147483647 w 430"/>
              <a:gd name="T1" fmla="*/ 2147483647 h 426"/>
              <a:gd name="T2" fmla="*/ 2147483647 w 430"/>
              <a:gd name="T3" fmla="*/ 2147483647 h 426"/>
              <a:gd name="T4" fmla="*/ 2147483647 w 430"/>
              <a:gd name="T5" fmla="*/ 2147483647 h 426"/>
              <a:gd name="T6" fmla="*/ 2147483647 w 430"/>
              <a:gd name="T7" fmla="*/ 2147483647 h 426"/>
              <a:gd name="T8" fmla="*/ 2147483647 w 430"/>
              <a:gd name="T9" fmla="*/ 2147483647 h 426"/>
              <a:gd name="T10" fmla="*/ 2147483647 w 430"/>
              <a:gd name="T11" fmla="*/ 2147483647 h 426"/>
              <a:gd name="T12" fmla="*/ 2147483647 w 430"/>
              <a:gd name="T13" fmla="*/ 2147483647 h 426"/>
              <a:gd name="T14" fmla="*/ 2147483647 w 430"/>
              <a:gd name="T15" fmla="*/ 2147483647 h 426"/>
              <a:gd name="T16" fmla="*/ 2147483647 w 430"/>
              <a:gd name="T17" fmla="*/ 2147483647 h 426"/>
              <a:gd name="T18" fmla="*/ 2147483647 w 430"/>
              <a:gd name="T19" fmla="*/ 2147483647 h 426"/>
              <a:gd name="T20" fmla="*/ 2147483647 w 430"/>
              <a:gd name="T21" fmla="*/ 2147483647 h 426"/>
              <a:gd name="T22" fmla="*/ 2147483647 w 430"/>
              <a:gd name="T23" fmla="*/ 2147483647 h 426"/>
              <a:gd name="T24" fmla="*/ 2147483647 w 430"/>
              <a:gd name="T25" fmla="*/ 2147483647 h 426"/>
              <a:gd name="T26" fmla="*/ 2147483647 w 430"/>
              <a:gd name="T27" fmla="*/ 2147483647 h 426"/>
              <a:gd name="T28" fmla="*/ 2147483647 w 430"/>
              <a:gd name="T29" fmla="*/ 2147483647 h 426"/>
              <a:gd name="T30" fmla="*/ 2147483647 w 430"/>
              <a:gd name="T31" fmla="*/ 2147483647 h 426"/>
              <a:gd name="T32" fmla="*/ 2147483647 w 430"/>
              <a:gd name="T33" fmla="*/ 2147483647 h 426"/>
              <a:gd name="T34" fmla="*/ 2147483647 w 430"/>
              <a:gd name="T35" fmla="*/ 2147483647 h 426"/>
              <a:gd name="T36" fmla="*/ 2147483647 w 430"/>
              <a:gd name="T37" fmla="*/ 2147483647 h 426"/>
              <a:gd name="T38" fmla="*/ 2147483647 w 430"/>
              <a:gd name="T39" fmla="*/ 2147483647 h 426"/>
              <a:gd name="T40" fmla="*/ 2147483647 w 430"/>
              <a:gd name="T41" fmla="*/ 2147483647 h 426"/>
              <a:gd name="T42" fmla="*/ 2147483647 w 430"/>
              <a:gd name="T43" fmla="*/ 2147483647 h 426"/>
              <a:gd name="T44" fmla="*/ 2147483647 w 430"/>
              <a:gd name="T45" fmla="*/ 2147483647 h 426"/>
              <a:gd name="T46" fmla="*/ 2147483647 w 430"/>
              <a:gd name="T47" fmla="*/ 2147483647 h 426"/>
              <a:gd name="T48" fmla="*/ 2147483647 w 430"/>
              <a:gd name="T49" fmla="*/ 2147483647 h 426"/>
              <a:gd name="T50" fmla="*/ 2147483647 w 430"/>
              <a:gd name="T51" fmla="*/ 2147483647 h 426"/>
              <a:gd name="T52" fmla="*/ 2147483647 w 430"/>
              <a:gd name="T53" fmla="*/ 2147483647 h 426"/>
              <a:gd name="T54" fmla="*/ 2147483647 w 430"/>
              <a:gd name="T55" fmla="*/ 2147483647 h 426"/>
              <a:gd name="T56" fmla="*/ 2147483647 w 430"/>
              <a:gd name="T57" fmla="*/ 2147483647 h 426"/>
              <a:gd name="T58" fmla="*/ 2147483647 w 430"/>
              <a:gd name="T59" fmla="*/ 2147483647 h 426"/>
              <a:gd name="T60" fmla="*/ 2147483647 w 430"/>
              <a:gd name="T61" fmla="*/ 2147483647 h 426"/>
              <a:gd name="T62" fmla="*/ 2147483647 w 430"/>
              <a:gd name="T63" fmla="*/ 2147483647 h 426"/>
              <a:gd name="T64" fmla="*/ 2147483647 w 430"/>
              <a:gd name="T65" fmla="*/ 2147483647 h 426"/>
              <a:gd name="T66" fmla="*/ 2147483647 w 430"/>
              <a:gd name="T67" fmla="*/ 2147483647 h 426"/>
              <a:gd name="T68" fmla="*/ 2147483647 w 430"/>
              <a:gd name="T69" fmla="*/ 2147483647 h 426"/>
              <a:gd name="T70" fmla="*/ 2147483647 w 430"/>
              <a:gd name="T71" fmla="*/ 2147483647 h 426"/>
              <a:gd name="T72" fmla="*/ 2147483647 w 430"/>
              <a:gd name="T73" fmla="*/ 2147483647 h 426"/>
              <a:gd name="T74" fmla="*/ 2147483647 w 430"/>
              <a:gd name="T75" fmla="*/ 2147483647 h 426"/>
              <a:gd name="T76" fmla="*/ 2147483647 w 430"/>
              <a:gd name="T77" fmla="*/ 2147483647 h 426"/>
              <a:gd name="T78" fmla="*/ 2147483647 w 430"/>
              <a:gd name="T79" fmla="*/ 2147483647 h 426"/>
              <a:gd name="T80" fmla="*/ 2147483647 w 430"/>
              <a:gd name="T81" fmla="*/ 2147483647 h 426"/>
              <a:gd name="T82" fmla="*/ 2147483647 w 430"/>
              <a:gd name="T83" fmla="*/ 2147483647 h 426"/>
              <a:gd name="T84" fmla="*/ 2147483647 w 430"/>
              <a:gd name="T85" fmla="*/ 2147483647 h 426"/>
              <a:gd name="T86" fmla="*/ 2147483647 w 430"/>
              <a:gd name="T87" fmla="*/ 2147483647 h 426"/>
              <a:gd name="T88" fmla="*/ 2147483647 w 430"/>
              <a:gd name="T89" fmla="*/ 2147483647 h 426"/>
              <a:gd name="T90" fmla="*/ 2147483647 w 430"/>
              <a:gd name="T91" fmla="*/ 2147483647 h 426"/>
              <a:gd name="T92" fmla="*/ 2147483647 w 430"/>
              <a:gd name="T93" fmla="*/ 2147483647 h 426"/>
              <a:gd name="T94" fmla="*/ 2147483647 w 430"/>
              <a:gd name="T95" fmla="*/ 2147483647 h 426"/>
              <a:gd name="T96" fmla="*/ 2147483647 w 430"/>
              <a:gd name="T97" fmla="*/ 2147483647 h 426"/>
              <a:gd name="T98" fmla="*/ 2147483647 w 430"/>
              <a:gd name="T99" fmla="*/ 2147483647 h 426"/>
              <a:gd name="T100" fmla="*/ 2147483647 w 430"/>
              <a:gd name="T101" fmla="*/ 2147483647 h 426"/>
              <a:gd name="T102" fmla="*/ 2147483647 w 430"/>
              <a:gd name="T103" fmla="*/ 2147483647 h 426"/>
              <a:gd name="T104" fmla="*/ 2147483647 w 430"/>
              <a:gd name="T105" fmla="*/ 2147483647 h 426"/>
              <a:gd name="T106" fmla="*/ 2147483647 w 430"/>
              <a:gd name="T107" fmla="*/ 2147483647 h 426"/>
              <a:gd name="T108" fmla="*/ 2147483647 w 430"/>
              <a:gd name="T109" fmla="*/ 2147483647 h 426"/>
              <a:gd name="T110" fmla="*/ 2147483647 w 430"/>
              <a:gd name="T111" fmla="*/ 2147483647 h 426"/>
              <a:gd name="T112" fmla="*/ 2147483647 w 430"/>
              <a:gd name="T113" fmla="*/ 2147483647 h 426"/>
              <a:gd name="T114" fmla="*/ 2147483647 w 430"/>
              <a:gd name="T115" fmla="*/ 2147483647 h 426"/>
              <a:gd name="T116" fmla="*/ 2147483647 w 430"/>
              <a:gd name="T117" fmla="*/ 2147483647 h 426"/>
              <a:gd name="T118" fmla="*/ 2147483647 w 430"/>
              <a:gd name="T119" fmla="*/ 2147483647 h 426"/>
              <a:gd name="T120" fmla="*/ 2147483647 w 430"/>
              <a:gd name="T121" fmla="*/ 2147483647 h 4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0" h="426">
                <a:moveTo>
                  <a:pt x="366" y="169"/>
                </a:moveTo>
                <a:cubicBezTo>
                  <a:pt x="366" y="165"/>
                  <a:pt x="366" y="160"/>
                  <a:pt x="366" y="155"/>
                </a:cubicBezTo>
                <a:cubicBezTo>
                  <a:pt x="363" y="133"/>
                  <a:pt x="353" y="113"/>
                  <a:pt x="339" y="97"/>
                </a:cubicBezTo>
                <a:cubicBezTo>
                  <a:pt x="336" y="94"/>
                  <a:pt x="331" y="94"/>
                  <a:pt x="328" y="97"/>
                </a:cubicBezTo>
                <a:cubicBezTo>
                  <a:pt x="325" y="100"/>
                  <a:pt x="324" y="105"/>
                  <a:pt x="327" y="108"/>
                </a:cubicBezTo>
                <a:cubicBezTo>
                  <a:pt x="339" y="121"/>
                  <a:pt x="347" y="138"/>
                  <a:pt x="350" y="157"/>
                </a:cubicBezTo>
                <a:cubicBezTo>
                  <a:pt x="350" y="161"/>
                  <a:pt x="350" y="165"/>
                  <a:pt x="350" y="169"/>
                </a:cubicBezTo>
                <a:cubicBezTo>
                  <a:pt x="350" y="195"/>
                  <a:pt x="340" y="218"/>
                  <a:pt x="323" y="235"/>
                </a:cubicBezTo>
                <a:cubicBezTo>
                  <a:pt x="321" y="234"/>
                  <a:pt x="320" y="233"/>
                  <a:pt x="318" y="232"/>
                </a:cubicBezTo>
                <a:cubicBezTo>
                  <a:pt x="321" y="226"/>
                  <a:pt x="322" y="219"/>
                  <a:pt x="322" y="211"/>
                </a:cubicBezTo>
                <a:cubicBezTo>
                  <a:pt x="322" y="183"/>
                  <a:pt x="300" y="161"/>
                  <a:pt x="272" y="161"/>
                </a:cubicBezTo>
                <a:cubicBezTo>
                  <a:pt x="263" y="161"/>
                  <a:pt x="254" y="163"/>
                  <a:pt x="247" y="168"/>
                </a:cubicBezTo>
                <a:cubicBezTo>
                  <a:pt x="233" y="143"/>
                  <a:pt x="210" y="124"/>
                  <a:pt x="183" y="116"/>
                </a:cubicBezTo>
                <a:cubicBezTo>
                  <a:pt x="197" y="96"/>
                  <a:pt x="220" y="81"/>
                  <a:pt x="246" y="78"/>
                </a:cubicBezTo>
                <a:cubicBezTo>
                  <a:pt x="252" y="77"/>
                  <a:pt x="257" y="77"/>
                  <a:pt x="261" y="77"/>
                </a:cubicBezTo>
                <a:cubicBezTo>
                  <a:pt x="277" y="77"/>
                  <a:pt x="290" y="80"/>
                  <a:pt x="303" y="88"/>
                </a:cubicBezTo>
                <a:cubicBezTo>
                  <a:pt x="307" y="90"/>
                  <a:pt x="312" y="89"/>
                  <a:pt x="314" y="85"/>
                </a:cubicBezTo>
                <a:cubicBezTo>
                  <a:pt x="317" y="81"/>
                  <a:pt x="315" y="76"/>
                  <a:pt x="312" y="74"/>
                </a:cubicBezTo>
                <a:cubicBezTo>
                  <a:pt x="312" y="74"/>
                  <a:pt x="312" y="74"/>
                  <a:pt x="312" y="74"/>
                </a:cubicBezTo>
                <a:cubicBezTo>
                  <a:pt x="296" y="65"/>
                  <a:pt x="279" y="61"/>
                  <a:pt x="261" y="61"/>
                </a:cubicBezTo>
                <a:cubicBezTo>
                  <a:pt x="256" y="61"/>
                  <a:pt x="250" y="61"/>
                  <a:pt x="244" y="62"/>
                </a:cubicBezTo>
                <a:cubicBezTo>
                  <a:pt x="210" y="66"/>
                  <a:pt x="182" y="86"/>
                  <a:pt x="166" y="113"/>
                </a:cubicBezTo>
                <a:cubicBezTo>
                  <a:pt x="162" y="113"/>
                  <a:pt x="158" y="112"/>
                  <a:pt x="154" y="112"/>
                </a:cubicBezTo>
                <a:cubicBezTo>
                  <a:pt x="102" y="112"/>
                  <a:pt x="59" y="151"/>
                  <a:pt x="51" y="201"/>
                </a:cubicBezTo>
                <a:cubicBezTo>
                  <a:pt x="22" y="209"/>
                  <a:pt x="0" y="236"/>
                  <a:pt x="0" y="268"/>
                </a:cubicBezTo>
                <a:cubicBezTo>
                  <a:pt x="0" y="298"/>
                  <a:pt x="18" y="323"/>
                  <a:pt x="44" y="333"/>
                </a:cubicBezTo>
                <a:cubicBezTo>
                  <a:pt x="45" y="334"/>
                  <a:pt x="46" y="334"/>
                  <a:pt x="47" y="334"/>
                </a:cubicBezTo>
                <a:cubicBezTo>
                  <a:pt x="50" y="334"/>
                  <a:pt x="53" y="332"/>
                  <a:pt x="54" y="329"/>
                </a:cubicBezTo>
                <a:cubicBezTo>
                  <a:pt x="56" y="325"/>
                  <a:pt x="54" y="320"/>
                  <a:pt x="50" y="318"/>
                </a:cubicBezTo>
                <a:cubicBezTo>
                  <a:pt x="30" y="310"/>
                  <a:pt x="16" y="291"/>
                  <a:pt x="16" y="268"/>
                </a:cubicBezTo>
                <a:cubicBezTo>
                  <a:pt x="16" y="242"/>
                  <a:pt x="35" y="220"/>
                  <a:pt x="60" y="215"/>
                </a:cubicBezTo>
                <a:cubicBezTo>
                  <a:pt x="63" y="215"/>
                  <a:pt x="66" y="212"/>
                  <a:pt x="66" y="208"/>
                </a:cubicBezTo>
                <a:cubicBezTo>
                  <a:pt x="71" y="163"/>
                  <a:pt x="108" y="128"/>
                  <a:pt x="154" y="128"/>
                </a:cubicBezTo>
                <a:cubicBezTo>
                  <a:pt x="191" y="128"/>
                  <a:pt x="223" y="151"/>
                  <a:pt x="236" y="183"/>
                </a:cubicBezTo>
                <a:cubicBezTo>
                  <a:pt x="237" y="185"/>
                  <a:pt x="239" y="187"/>
                  <a:pt x="242" y="187"/>
                </a:cubicBezTo>
                <a:cubicBezTo>
                  <a:pt x="244" y="188"/>
                  <a:pt x="247" y="187"/>
                  <a:pt x="249" y="186"/>
                </a:cubicBezTo>
                <a:cubicBezTo>
                  <a:pt x="255" y="180"/>
                  <a:pt x="263" y="177"/>
                  <a:pt x="272" y="177"/>
                </a:cubicBezTo>
                <a:cubicBezTo>
                  <a:pt x="291" y="177"/>
                  <a:pt x="306" y="192"/>
                  <a:pt x="306" y="211"/>
                </a:cubicBezTo>
                <a:cubicBezTo>
                  <a:pt x="306" y="219"/>
                  <a:pt x="304" y="227"/>
                  <a:pt x="299" y="232"/>
                </a:cubicBezTo>
                <a:cubicBezTo>
                  <a:pt x="297" y="235"/>
                  <a:pt x="297" y="238"/>
                  <a:pt x="298" y="240"/>
                </a:cubicBezTo>
                <a:cubicBezTo>
                  <a:pt x="299" y="243"/>
                  <a:pt x="301" y="245"/>
                  <a:pt x="304" y="245"/>
                </a:cubicBezTo>
                <a:cubicBezTo>
                  <a:pt x="323" y="248"/>
                  <a:pt x="337" y="264"/>
                  <a:pt x="337" y="284"/>
                </a:cubicBezTo>
                <a:cubicBezTo>
                  <a:pt x="337" y="299"/>
                  <a:pt x="329" y="312"/>
                  <a:pt x="317" y="318"/>
                </a:cubicBezTo>
                <a:cubicBezTo>
                  <a:pt x="313" y="320"/>
                  <a:pt x="311" y="325"/>
                  <a:pt x="313" y="329"/>
                </a:cubicBezTo>
                <a:cubicBezTo>
                  <a:pt x="315" y="333"/>
                  <a:pt x="320" y="334"/>
                  <a:pt x="324" y="332"/>
                </a:cubicBezTo>
                <a:cubicBezTo>
                  <a:pt x="324" y="332"/>
                  <a:pt x="324" y="332"/>
                  <a:pt x="324" y="332"/>
                </a:cubicBezTo>
                <a:cubicBezTo>
                  <a:pt x="342" y="323"/>
                  <a:pt x="353" y="305"/>
                  <a:pt x="353" y="284"/>
                </a:cubicBezTo>
                <a:cubicBezTo>
                  <a:pt x="353" y="268"/>
                  <a:pt x="347" y="254"/>
                  <a:pt x="336" y="244"/>
                </a:cubicBezTo>
                <a:cubicBezTo>
                  <a:pt x="355" y="224"/>
                  <a:pt x="366" y="198"/>
                  <a:pt x="366" y="169"/>
                </a:cubicBezTo>
                <a:moveTo>
                  <a:pt x="233" y="39"/>
                </a:moveTo>
                <a:cubicBezTo>
                  <a:pt x="234" y="43"/>
                  <a:pt x="237" y="46"/>
                  <a:pt x="241" y="46"/>
                </a:cubicBezTo>
                <a:cubicBezTo>
                  <a:pt x="242" y="46"/>
                  <a:pt x="242" y="46"/>
                  <a:pt x="242" y="46"/>
                </a:cubicBezTo>
                <a:cubicBezTo>
                  <a:pt x="247" y="45"/>
                  <a:pt x="250" y="41"/>
                  <a:pt x="249" y="37"/>
                </a:cubicBezTo>
                <a:cubicBezTo>
                  <a:pt x="245" y="8"/>
                  <a:pt x="245" y="8"/>
                  <a:pt x="245" y="8"/>
                </a:cubicBezTo>
                <a:cubicBezTo>
                  <a:pt x="245" y="3"/>
                  <a:pt x="241" y="0"/>
                  <a:pt x="236" y="1"/>
                </a:cubicBezTo>
                <a:cubicBezTo>
                  <a:pt x="232" y="1"/>
                  <a:pt x="229" y="5"/>
                  <a:pt x="229" y="10"/>
                </a:cubicBezTo>
                <a:lnTo>
                  <a:pt x="233" y="39"/>
                </a:lnTo>
                <a:close/>
                <a:moveTo>
                  <a:pt x="185" y="60"/>
                </a:moveTo>
                <a:cubicBezTo>
                  <a:pt x="186" y="62"/>
                  <a:pt x="189" y="64"/>
                  <a:pt x="192" y="64"/>
                </a:cubicBezTo>
                <a:cubicBezTo>
                  <a:pt x="193" y="64"/>
                  <a:pt x="194" y="63"/>
                  <a:pt x="196" y="63"/>
                </a:cubicBezTo>
                <a:cubicBezTo>
                  <a:pt x="199" y="60"/>
                  <a:pt x="201" y="56"/>
                  <a:pt x="199" y="52"/>
                </a:cubicBezTo>
                <a:cubicBezTo>
                  <a:pt x="183" y="25"/>
                  <a:pt x="183" y="25"/>
                  <a:pt x="183" y="25"/>
                </a:cubicBezTo>
                <a:cubicBezTo>
                  <a:pt x="181" y="21"/>
                  <a:pt x="176" y="20"/>
                  <a:pt x="173" y="22"/>
                </a:cubicBezTo>
                <a:cubicBezTo>
                  <a:pt x="169" y="24"/>
                  <a:pt x="167" y="29"/>
                  <a:pt x="170" y="33"/>
                </a:cubicBezTo>
                <a:lnTo>
                  <a:pt x="185" y="60"/>
                </a:lnTo>
                <a:close/>
                <a:moveTo>
                  <a:pt x="394" y="266"/>
                </a:moveTo>
                <a:cubicBezTo>
                  <a:pt x="366" y="245"/>
                  <a:pt x="366" y="245"/>
                  <a:pt x="366" y="245"/>
                </a:cubicBezTo>
                <a:cubicBezTo>
                  <a:pt x="363" y="242"/>
                  <a:pt x="358" y="243"/>
                  <a:pt x="355" y="247"/>
                </a:cubicBezTo>
                <a:cubicBezTo>
                  <a:pt x="352" y="250"/>
                  <a:pt x="353" y="255"/>
                  <a:pt x="357" y="258"/>
                </a:cubicBezTo>
                <a:cubicBezTo>
                  <a:pt x="384" y="279"/>
                  <a:pt x="384" y="279"/>
                  <a:pt x="384" y="279"/>
                </a:cubicBezTo>
                <a:cubicBezTo>
                  <a:pt x="385" y="280"/>
                  <a:pt x="387" y="280"/>
                  <a:pt x="389" y="280"/>
                </a:cubicBezTo>
                <a:cubicBezTo>
                  <a:pt x="391" y="280"/>
                  <a:pt x="393" y="279"/>
                  <a:pt x="395" y="277"/>
                </a:cubicBezTo>
                <a:cubicBezTo>
                  <a:pt x="398" y="274"/>
                  <a:pt x="397" y="269"/>
                  <a:pt x="394" y="266"/>
                </a:cubicBezTo>
                <a:moveTo>
                  <a:pt x="123" y="78"/>
                </a:moveTo>
                <a:cubicBezTo>
                  <a:pt x="148" y="97"/>
                  <a:pt x="148" y="97"/>
                  <a:pt x="148" y="97"/>
                </a:cubicBezTo>
                <a:cubicBezTo>
                  <a:pt x="150" y="98"/>
                  <a:pt x="151" y="99"/>
                  <a:pt x="153" y="99"/>
                </a:cubicBezTo>
                <a:cubicBezTo>
                  <a:pt x="156" y="99"/>
                  <a:pt x="158" y="98"/>
                  <a:pt x="159" y="96"/>
                </a:cubicBezTo>
                <a:cubicBezTo>
                  <a:pt x="162" y="92"/>
                  <a:pt x="162" y="87"/>
                  <a:pt x="158" y="84"/>
                </a:cubicBezTo>
                <a:cubicBezTo>
                  <a:pt x="133" y="65"/>
                  <a:pt x="133" y="65"/>
                  <a:pt x="133" y="65"/>
                </a:cubicBezTo>
                <a:cubicBezTo>
                  <a:pt x="130" y="62"/>
                  <a:pt x="125" y="63"/>
                  <a:pt x="122" y="67"/>
                </a:cubicBezTo>
                <a:cubicBezTo>
                  <a:pt x="119" y="70"/>
                  <a:pt x="120" y="75"/>
                  <a:pt x="123" y="78"/>
                </a:cubicBezTo>
                <a:moveTo>
                  <a:pt x="419" y="207"/>
                </a:moveTo>
                <a:cubicBezTo>
                  <a:pt x="387" y="199"/>
                  <a:pt x="387" y="199"/>
                  <a:pt x="387" y="199"/>
                </a:cubicBezTo>
                <a:cubicBezTo>
                  <a:pt x="383" y="198"/>
                  <a:pt x="379" y="200"/>
                  <a:pt x="378" y="204"/>
                </a:cubicBezTo>
                <a:cubicBezTo>
                  <a:pt x="377" y="209"/>
                  <a:pt x="379" y="213"/>
                  <a:pt x="383" y="214"/>
                </a:cubicBezTo>
                <a:cubicBezTo>
                  <a:pt x="415" y="223"/>
                  <a:pt x="415" y="223"/>
                  <a:pt x="415" y="223"/>
                </a:cubicBezTo>
                <a:cubicBezTo>
                  <a:pt x="416" y="223"/>
                  <a:pt x="417" y="223"/>
                  <a:pt x="417" y="223"/>
                </a:cubicBezTo>
                <a:cubicBezTo>
                  <a:pt x="421" y="223"/>
                  <a:pt x="424" y="221"/>
                  <a:pt x="425" y="217"/>
                </a:cubicBezTo>
                <a:cubicBezTo>
                  <a:pt x="426" y="213"/>
                  <a:pt x="424" y="208"/>
                  <a:pt x="419" y="207"/>
                </a:cubicBezTo>
                <a:moveTo>
                  <a:pt x="430" y="150"/>
                </a:moveTo>
                <a:cubicBezTo>
                  <a:pt x="429" y="145"/>
                  <a:pt x="425" y="142"/>
                  <a:pt x="421" y="143"/>
                </a:cubicBezTo>
                <a:cubicBezTo>
                  <a:pt x="389" y="147"/>
                  <a:pt x="389" y="147"/>
                  <a:pt x="389" y="147"/>
                </a:cubicBezTo>
                <a:cubicBezTo>
                  <a:pt x="385" y="148"/>
                  <a:pt x="382" y="152"/>
                  <a:pt x="382" y="156"/>
                </a:cubicBezTo>
                <a:cubicBezTo>
                  <a:pt x="383" y="160"/>
                  <a:pt x="386" y="163"/>
                  <a:pt x="390" y="163"/>
                </a:cubicBezTo>
                <a:cubicBezTo>
                  <a:pt x="390" y="163"/>
                  <a:pt x="391" y="163"/>
                  <a:pt x="391" y="163"/>
                </a:cubicBezTo>
                <a:cubicBezTo>
                  <a:pt x="423" y="159"/>
                  <a:pt x="423" y="159"/>
                  <a:pt x="423" y="159"/>
                </a:cubicBezTo>
                <a:cubicBezTo>
                  <a:pt x="427" y="158"/>
                  <a:pt x="430" y="154"/>
                  <a:pt x="430" y="150"/>
                </a:cubicBezTo>
                <a:moveTo>
                  <a:pt x="367" y="109"/>
                </a:moveTo>
                <a:cubicBezTo>
                  <a:pt x="369" y="112"/>
                  <a:pt x="372" y="113"/>
                  <a:pt x="374" y="113"/>
                </a:cubicBezTo>
                <a:cubicBezTo>
                  <a:pt x="376" y="113"/>
                  <a:pt x="377" y="113"/>
                  <a:pt x="378" y="112"/>
                </a:cubicBezTo>
                <a:cubicBezTo>
                  <a:pt x="405" y="97"/>
                  <a:pt x="405" y="97"/>
                  <a:pt x="405" y="97"/>
                </a:cubicBezTo>
                <a:cubicBezTo>
                  <a:pt x="409" y="95"/>
                  <a:pt x="410" y="90"/>
                  <a:pt x="408" y="86"/>
                </a:cubicBezTo>
                <a:cubicBezTo>
                  <a:pt x="406" y="82"/>
                  <a:pt x="401" y="81"/>
                  <a:pt x="397" y="83"/>
                </a:cubicBezTo>
                <a:cubicBezTo>
                  <a:pt x="370" y="98"/>
                  <a:pt x="370" y="98"/>
                  <a:pt x="370" y="98"/>
                </a:cubicBezTo>
                <a:cubicBezTo>
                  <a:pt x="367" y="100"/>
                  <a:pt x="365" y="105"/>
                  <a:pt x="367" y="109"/>
                </a:cubicBezTo>
                <a:moveTo>
                  <a:pt x="336" y="72"/>
                </a:moveTo>
                <a:cubicBezTo>
                  <a:pt x="337" y="73"/>
                  <a:pt x="339" y="73"/>
                  <a:pt x="341" y="73"/>
                </a:cubicBezTo>
                <a:cubicBezTo>
                  <a:pt x="343" y="73"/>
                  <a:pt x="345" y="72"/>
                  <a:pt x="347" y="70"/>
                </a:cubicBezTo>
                <a:cubicBezTo>
                  <a:pt x="365" y="47"/>
                  <a:pt x="365" y="47"/>
                  <a:pt x="365" y="47"/>
                </a:cubicBezTo>
                <a:cubicBezTo>
                  <a:pt x="368" y="43"/>
                  <a:pt x="367" y="38"/>
                  <a:pt x="364" y="35"/>
                </a:cubicBezTo>
                <a:cubicBezTo>
                  <a:pt x="360" y="33"/>
                  <a:pt x="355" y="33"/>
                  <a:pt x="353" y="37"/>
                </a:cubicBezTo>
                <a:cubicBezTo>
                  <a:pt x="334" y="61"/>
                  <a:pt x="334" y="61"/>
                  <a:pt x="334" y="61"/>
                </a:cubicBezTo>
                <a:cubicBezTo>
                  <a:pt x="332" y="64"/>
                  <a:pt x="332" y="69"/>
                  <a:pt x="336" y="72"/>
                </a:cubicBezTo>
                <a:moveTo>
                  <a:pt x="292" y="49"/>
                </a:moveTo>
                <a:cubicBezTo>
                  <a:pt x="292" y="50"/>
                  <a:pt x="293" y="50"/>
                  <a:pt x="294" y="50"/>
                </a:cubicBezTo>
                <a:cubicBezTo>
                  <a:pt x="297" y="50"/>
                  <a:pt x="300" y="47"/>
                  <a:pt x="301" y="44"/>
                </a:cubicBezTo>
                <a:cubicBezTo>
                  <a:pt x="309" y="15"/>
                  <a:pt x="309" y="15"/>
                  <a:pt x="309" y="15"/>
                </a:cubicBezTo>
                <a:cubicBezTo>
                  <a:pt x="310" y="11"/>
                  <a:pt x="308" y="7"/>
                  <a:pt x="304" y="5"/>
                </a:cubicBezTo>
                <a:cubicBezTo>
                  <a:pt x="299" y="4"/>
                  <a:pt x="295" y="7"/>
                  <a:pt x="294" y="11"/>
                </a:cubicBezTo>
                <a:cubicBezTo>
                  <a:pt x="286" y="40"/>
                  <a:pt x="286" y="40"/>
                  <a:pt x="286" y="40"/>
                </a:cubicBezTo>
                <a:cubicBezTo>
                  <a:pt x="285" y="44"/>
                  <a:pt x="287" y="48"/>
                  <a:pt x="292" y="49"/>
                </a:cubicBezTo>
                <a:moveTo>
                  <a:pt x="300" y="399"/>
                </a:moveTo>
                <a:cubicBezTo>
                  <a:pt x="300" y="399"/>
                  <a:pt x="300" y="399"/>
                  <a:pt x="299" y="399"/>
                </a:cubicBezTo>
                <a:cubicBezTo>
                  <a:pt x="299" y="399"/>
                  <a:pt x="299" y="399"/>
                  <a:pt x="299" y="399"/>
                </a:cubicBezTo>
                <a:cubicBezTo>
                  <a:pt x="299" y="398"/>
                  <a:pt x="299" y="398"/>
                  <a:pt x="299" y="398"/>
                </a:cubicBezTo>
                <a:cubicBezTo>
                  <a:pt x="299" y="398"/>
                  <a:pt x="298" y="397"/>
                  <a:pt x="298" y="397"/>
                </a:cubicBezTo>
                <a:cubicBezTo>
                  <a:pt x="287" y="388"/>
                  <a:pt x="265" y="381"/>
                  <a:pt x="262" y="383"/>
                </a:cubicBezTo>
                <a:cubicBezTo>
                  <a:pt x="260" y="386"/>
                  <a:pt x="268" y="408"/>
                  <a:pt x="276" y="419"/>
                </a:cubicBezTo>
                <a:cubicBezTo>
                  <a:pt x="277" y="419"/>
                  <a:pt x="277" y="420"/>
                  <a:pt x="277" y="420"/>
                </a:cubicBezTo>
                <a:cubicBezTo>
                  <a:pt x="277" y="420"/>
                  <a:pt x="278" y="420"/>
                  <a:pt x="278" y="420"/>
                </a:cubicBezTo>
                <a:cubicBezTo>
                  <a:pt x="278" y="420"/>
                  <a:pt x="278" y="420"/>
                  <a:pt x="278" y="420"/>
                </a:cubicBezTo>
                <a:cubicBezTo>
                  <a:pt x="278" y="420"/>
                  <a:pt x="278" y="421"/>
                  <a:pt x="278" y="421"/>
                </a:cubicBezTo>
                <a:cubicBezTo>
                  <a:pt x="284" y="426"/>
                  <a:pt x="293" y="426"/>
                  <a:pt x="299" y="420"/>
                </a:cubicBezTo>
                <a:cubicBezTo>
                  <a:pt x="305" y="414"/>
                  <a:pt x="305" y="406"/>
                  <a:pt x="300" y="400"/>
                </a:cubicBezTo>
                <a:cubicBezTo>
                  <a:pt x="300" y="399"/>
                  <a:pt x="300" y="399"/>
                  <a:pt x="300" y="399"/>
                </a:cubicBezTo>
                <a:moveTo>
                  <a:pt x="219" y="399"/>
                </a:moveTo>
                <a:cubicBezTo>
                  <a:pt x="219" y="399"/>
                  <a:pt x="219" y="399"/>
                  <a:pt x="219" y="399"/>
                </a:cubicBezTo>
                <a:cubicBezTo>
                  <a:pt x="218" y="399"/>
                  <a:pt x="218" y="399"/>
                  <a:pt x="218" y="399"/>
                </a:cubicBezTo>
                <a:cubicBezTo>
                  <a:pt x="218" y="398"/>
                  <a:pt x="218" y="398"/>
                  <a:pt x="218" y="398"/>
                </a:cubicBezTo>
                <a:cubicBezTo>
                  <a:pt x="218" y="398"/>
                  <a:pt x="217" y="397"/>
                  <a:pt x="217" y="397"/>
                </a:cubicBezTo>
                <a:cubicBezTo>
                  <a:pt x="206" y="388"/>
                  <a:pt x="184" y="381"/>
                  <a:pt x="182" y="383"/>
                </a:cubicBezTo>
                <a:cubicBezTo>
                  <a:pt x="179" y="386"/>
                  <a:pt x="187" y="408"/>
                  <a:pt x="195" y="419"/>
                </a:cubicBezTo>
                <a:cubicBezTo>
                  <a:pt x="196" y="419"/>
                  <a:pt x="196" y="420"/>
                  <a:pt x="197" y="420"/>
                </a:cubicBezTo>
                <a:cubicBezTo>
                  <a:pt x="197" y="420"/>
                  <a:pt x="197" y="420"/>
                  <a:pt x="197" y="420"/>
                </a:cubicBezTo>
                <a:cubicBezTo>
                  <a:pt x="197" y="420"/>
                  <a:pt x="197" y="420"/>
                  <a:pt x="197" y="420"/>
                </a:cubicBezTo>
                <a:cubicBezTo>
                  <a:pt x="197" y="420"/>
                  <a:pt x="197" y="421"/>
                  <a:pt x="197" y="421"/>
                </a:cubicBezTo>
                <a:cubicBezTo>
                  <a:pt x="203" y="426"/>
                  <a:pt x="212" y="426"/>
                  <a:pt x="218" y="420"/>
                </a:cubicBezTo>
                <a:cubicBezTo>
                  <a:pt x="224" y="414"/>
                  <a:pt x="224" y="406"/>
                  <a:pt x="219" y="400"/>
                </a:cubicBezTo>
                <a:cubicBezTo>
                  <a:pt x="219" y="399"/>
                  <a:pt x="219" y="399"/>
                  <a:pt x="219" y="399"/>
                </a:cubicBezTo>
                <a:moveTo>
                  <a:pt x="138" y="400"/>
                </a:moveTo>
                <a:cubicBezTo>
                  <a:pt x="138" y="399"/>
                  <a:pt x="138" y="399"/>
                  <a:pt x="138" y="399"/>
                </a:cubicBezTo>
                <a:cubicBezTo>
                  <a:pt x="138" y="399"/>
                  <a:pt x="138" y="399"/>
                  <a:pt x="138" y="399"/>
                </a:cubicBezTo>
                <a:cubicBezTo>
                  <a:pt x="138" y="399"/>
                  <a:pt x="138" y="399"/>
                  <a:pt x="138" y="399"/>
                </a:cubicBezTo>
                <a:cubicBezTo>
                  <a:pt x="137" y="398"/>
                  <a:pt x="137" y="398"/>
                  <a:pt x="137" y="398"/>
                </a:cubicBezTo>
                <a:cubicBezTo>
                  <a:pt x="137" y="398"/>
                  <a:pt x="136" y="397"/>
                  <a:pt x="136" y="397"/>
                </a:cubicBezTo>
                <a:cubicBezTo>
                  <a:pt x="125" y="388"/>
                  <a:pt x="103" y="381"/>
                  <a:pt x="101" y="383"/>
                </a:cubicBezTo>
                <a:cubicBezTo>
                  <a:pt x="98" y="386"/>
                  <a:pt x="106" y="408"/>
                  <a:pt x="114" y="419"/>
                </a:cubicBezTo>
                <a:cubicBezTo>
                  <a:pt x="115" y="419"/>
                  <a:pt x="115" y="420"/>
                  <a:pt x="116" y="420"/>
                </a:cubicBezTo>
                <a:cubicBezTo>
                  <a:pt x="116" y="420"/>
                  <a:pt x="116" y="420"/>
                  <a:pt x="116" y="420"/>
                </a:cubicBezTo>
                <a:cubicBezTo>
                  <a:pt x="116" y="420"/>
                  <a:pt x="116" y="420"/>
                  <a:pt x="116" y="420"/>
                </a:cubicBezTo>
                <a:cubicBezTo>
                  <a:pt x="116" y="420"/>
                  <a:pt x="116" y="421"/>
                  <a:pt x="116" y="421"/>
                </a:cubicBezTo>
                <a:cubicBezTo>
                  <a:pt x="122" y="426"/>
                  <a:pt x="132" y="426"/>
                  <a:pt x="137" y="420"/>
                </a:cubicBezTo>
                <a:cubicBezTo>
                  <a:pt x="143" y="414"/>
                  <a:pt x="143" y="406"/>
                  <a:pt x="138" y="400"/>
                </a:cubicBezTo>
                <a:close/>
                <a:moveTo>
                  <a:pt x="109" y="356"/>
                </a:moveTo>
                <a:cubicBezTo>
                  <a:pt x="109" y="348"/>
                  <a:pt x="109" y="348"/>
                  <a:pt x="109" y="348"/>
                </a:cubicBezTo>
                <a:cubicBezTo>
                  <a:pt x="116" y="352"/>
                  <a:pt x="116" y="352"/>
                  <a:pt x="116" y="352"/>
                </a:cubicBezTo>
                <a:cubicBezTo>
                  <a:pt x="117" y="353"/>
                  <a:pt x="119" y="353"/>
                  <a:pt x="120" y="353"/>
                </a:cubicBezTo>
                <a:cubicBezTo>
                  <a:pt x="123" y="353"/>
                  <a:pt x="126" y="351"/>
                  <a:pt x="127" y="349"/>
                </a:cubicBezTo>
                <a:cubicBezTo>
                  <a:pt x="129" y="345"/>
                  <a:pt x="128" y="340"/>
                  <a:pt x="124" y="338"/>
                </a:cubicBezTo>
                <a:cubicBezTo>
                  <a:pt x="117" y="334"/>
                  <a:pt x="117" y="334"/>
                  <a:pt x="117" y="334"/>
                </a:cubicBezTo>
                <a:cubicBezTo>
                  <a:pt x="124" y="330"/>
                  <a:pt x="124" y="330"/>
                  <a:pt x="124" y="330"/>
                </a:cubicBezTo>
                <a:cubicBezTo>
                  <a:pt x="128" y="328"/>
                  <a:pt x="129" y="323"/>
                  <a:pt x="127" y="319"/>
                </a:cubicBezTo>
                <a:cubicBezTo>
                  <a:pt x="125" y="315"/>
                  <a:pt x="120" y="314"/>
                  <a:pt x="116" y="316"/>
                </a:cubicBezTo>
                <a:cubicBezTo>
                  <a:pt x="109" y="320"/>
                  <a:pt x="109" y="320"/>
                  <a:pt x="109" y="320"/>
                </a:cubicBezTo>
                <a:cubicBezTo>
                  <a:pt x="109" y="312"/>
                  <a:pt x="109" y="312"/>
                  <a:pt x="109" y="312"/>
                </a:cubicBezTo>
                <a:cubicBezTo>
                  <a:pt x="109" y="308"/>
                  <a:pt x="106" y="304"/>
                  <a:pt x="101" y="304"/>
                </a:cubicBezTo>
                <a:cubicBezTo>
                  <a:pt x="97" y="304"/>
                  <a:pt x="93" y="308"/>
                  <a:pt x="93" y="312"/>
                </a:cubicBezTo>
                <a:cubicBezTo>
                  <a:pt x="93" y="320"/>
                  <a:pt x="93" y="320"/>
                  <a:pt x="93" y="320"/>
                </a:cubicBezTo>
                <a:cubicBezTo>
                  <a:pt x="86" y="316"/>
                  <a:pt x="86" y="316"/>
                  <a:pt x="86" y="316"/>
                </a:cubicBezTo>
                <a:cubicBezTo>
                  <a:pt x="83" y="314"/>
                  <a:pt x="78" y="315"/>
                  <a:pt x="75" y="319"/>
                </a:cubicBezTo>
                <a:cubicBezTo>
                  <a:pt x="73" y="323"/>
                  <a:pt x="75" y="328"/>
                  <a:pt x="78" y="330"/>
                </a:cubicBezTo>
                <a:cubicBezTo>
                  <a:pt x="85" y="334"/>
                  <a:pt x="85" y="334"/>
                  <a:pt x="85" y="334"/>
                </a:cubicBezTo>
                <a:cubicBezTo>
                  <a:pt x="78" y="338"/>
                  <a:pt x="78" y="338"/>
                  <a:pt x="78" y="338"/>
                </a:cubicBezTo>
                <a:cubicBezTo>
                  <a:pt x="75" y="340"/>
                  <a:pt x="73" y="345"/>
                  <a:pt x="75" y="349"/>
                </a:cubicBezTo>
                <a:cubicBezTo>
                  <a:pt x="77" y="351"/>
                  <a:pt x="80" y="353"/>
                  <a:pt x="82" y="353"/>
                </a:cubicBezTo>
                <a:cubicBezTo>
                  <a:pt x="84" y="353"/>
                  <a:pt x="85" y="353"/>
                  <a:pt x="86" y="352"/>
                </a:cubicBezTo>
                <a:cubicBezTo>
                  <a:pt x="93" y="348"/>
                  <a:pt x="93" y="348"/>
                  <a:pt x="93" y="348"/>
                </a:cubicBezTo>
                <a:cubicBezTo>
                  <a:pt x="93" y="356"/>
                  <a:pt x="93" y="356"/>
                  <a:pt x="93" y="356"/>
                </a:cubicBezTo>
                <a:cubicBezTo>
                  <a:pt x="93" y="360"/>
                  <a:pt x="97" y="364"/>
                  <a:pt x="101" y="364"/>
                </a:cubicBezTo>
                <a:cubicBezTo>
                  <a:pt x="106" y="364"/>
                  <a:pt x="109" y="360"/>
                  <a:pt x="109" y="356"/>
                </a:cubicBezTo>
                <a:moveTo>
                  <a:pt x="190" y="356"/>
                </a:moveTo>
                <a:cubicBezTo>
                  <a:pt x="190" y="348"/>
                  <a:pt x="190" y="348"/>
                  <a:pt x="190" y="348"/>
                </a:cubicBezTo>
                <a:cubicBezTo>
                  <a:pt x="197" y="352"/>
                  <a:pt x="197" y="352"/>
                  <a:pt x="197" y="352"/>
                </a:cubicBezTo>
                <a:cubicBezTo>
                  <a:pt x="198" y="353"/>
                  <a:pt x="199" y="353"/>
                  <a:pt x="201" y="353"/>
                </a:cubicBezTo>
                <a:cubicBezTo>
                  <a:pt x="204" y="353"/>
                  <a:pt x="206" y="351"/>
                  <a:pt x="208" y="349"/>
                </a:cubicBezTo>
                <a:cubicBezTo>
                  <a:pt x="210" y="345"/>
                  <a:pt x="209" y="340"/>
                  <a:pt x="205" y="338"/>
                </a:cubicBezTo>
                <a:cubicBezTo>
                  <a:pt x="198" y="334"/>
                  <a:pt x="198" y="334"/>
                  <a:pt x="198" y="334"/>
                </a:cubicBezTo>
                <a:cubicBezTo>
                  <a:pt x="205" y="330"/>
                  <a:pt x="205" y="330"/>
                  <a:pt x="205" y="330"/>
                </a:cubicBezTo>
                <a:cubicBezTo>
                  <a:pt x="209" y="328"/>
                  <a:pt x="210" y="323"/>
                  <a:pt x="208" y="319"/>
                </a:cubicBezTo>
                <a:cubicBezTo>
                  <a:pt x="205" y="315"/>
                  <a:pt x="201" y="314"/>
                  <a:pt x="197" y="316"/>
                </a:cubicBezTo>
                <a:cubicBezTo>
                  <a:pt x="190" y="320"/>
                  <a:pt x="190" y="320"/>
                  <a:pt x="190" y="320"/>
                </a:cubicBezTo>
                <a:cubicBezTo>
                  <a:pt x="190" y="312"/>
                  <a:pt x="190" y="312"/>
                  <a:pt x="190" y="312"/>
                </a:cubicBezTo>
                <a:cubicBezTo>
                  <a:pt x="190" y="308"/>
                  <a:pt x="186" y="304"/>
                  <a:pt x="182" y="304"/>
                </a:cubicBezTo>
                <a:cubicBezTo>
                  <a:pt x="177" y="304"/>
                  <a:pt x="174" y="308"/>
                  <a:pt x="174" y="312"/>
                </a:cubicBezTo>
                <a:cubicBezTo>
                  <a:pt x="174" y="320"/>
                  <a:pt x="174" y="320"/>
                  <a:pt x="174" y="320"/>
                </a:cubicBezTo>
                <a:cubicBezTo>
                  <a:pt x="167" y="316"/>
                  <a:pt x="167" y="316"/>
                  <a:pt x="167" y="316"/>
                </a:cubicBezTo>
                <a:cubicBezTo>
                  <a:pt x="163" y="314"/>
                  <a:pt x="158" y="315"/>
                  <a:pt x="156" y="319"/>
                </a:cubicBezTo>
                <a:cubicBezTo>
                  <a:pt x="154" y="323"/>
                  <a:pt x="155" y="328"/>
                  <a:pt x="159" y="330"/>
                </a:cubicBezTo>
                <a:cubicBezTo>
                  <a:pt x="166" y="334"/>
                  <a:pt x="166" y="334"/>
                  <a:pt x="166" y="334"/>
                </a:cubicBezTo>
                <a:cubicBezTo>
                  <a:pt x="159" y="338"/>
                  <a:pt x="159" y="338"/>
                  <a:pt x="159" y="338"/>
                </a:cubicBezTo>
                <a:cubicBezTo>
                  <a:pt x="155" y="340"/>
                  <a:pt x="154" y="345"/>
                  <a:pt x="156" y="349"/>
                </a:cubicBezTo>
                <a:cubicBezTo>
                  <a:pt x="158" y="351"/>
                  <a:pt x="160" y="353"/>
                  <a:pt x="163" y="353"/>
                </a:cubicBezTo>
                <a:cubicBezTo>
                  <a:pt x="164" y="353"/>
                  <a:pt x="166" y="353"/>
                  <a:pt x="167" y="352"/>
                </a:cubicBezTo>
                <a:cubicBezTo>
                  <a:pt x="174" y="348"/>
                  <a:pt x="174" y="348"/>
                  <a:pt x="174" y="348"/>
                </a:cubicBezTo>
                <a:cubicBezTo>
                  <a:pt x="174" y="356"/>
                  <a:pt x="174" y="356"/>
                  <a:pt x="174" y="356"/>
                </a:cubicBezTo>
                <a:cubicBezTo>
                  <a:pt x="174" y="360"/>
                  <a:pt x="177" y="364"/>
                  <a:pt x="182" y="364"/>
                </a:cubicBezTo>
                <a:cubicBezTo>
                  <a:pt x="186" y="364"/>
                  <a:pt x="190" y="360"/>
                  <a:pt x="190" y="356"/>
                </a:cubicBezTo>
                <a:moveTo>
                  <a:pt x="271" y="356"/>
                </a:moveTo>
                <a:cubicBezTo>
                  <a:pt x="271" y="348"/>
                  <a:pt x="271" y="348"/>
                  <a:pt x="271" y="348"/>
                </a:cubicBezTo>
                <a:cubicBezTo>
                  <a:pt x="277" y="352"/>
                  <a:pt x="277" y="352"/>
                  <a:pt x="277" y="352"/>
                </a:cubicBezTo>
                <a:cubicBezTo>
                  <a:pt x="279" y="353"/>
                  <a:pt x="280" y="353"/>
                  <a:pt x="281" y="353"/>
                </a:cubicBezTo>
                <a:cubicBezTo>
                  <a:pt x="284" y="353"/>
                  <a:pt x="287" y="351"/>
                  <a:pt x="288" y="349"/>
                </a:cubicBezTo>
                <a:cubicBezTo>
                  <a:pt x="291" y="345"/>
                  <a:pt x="289" y="340"/>
                  <a:pt x="285" y="338"/>
                </a:cubicBezTo>
                <a:cubicBezTo>
                  <a:pt x="279" y="334"/>
                  <a:pt x="279" y="334"/>
                  <a:pt x="279" y="334"/>
                </a:cubicBezTo>
                <a:cubicBezTo>
                  <a:pt x="285" y="330"/>
                  <a:pt x="285" y="330"/>
                  <a:pt x="285" y="330"/>
                </a:cubicBezTo>
                <a:cubicBezTo>
                  <a:pt x="289" y="328"/>
                  <a:pt x="291" y="323"/>
                  <a:pt x="288" y="319"/>
                </a:cubicBezTo>
                <a:cubicBezTo>
                  <a:pt x="286" y="315"/>
                  <a:pt x="281" y="314"/>
                  <a:pt x="277" y="316"/>
                </a:cubicBezTo>
                <a:cubicBezTo>
                  <a:pt x="271" y="320"/>
                  <a:pt x="271" y="320"/>
                  <a:pt x="271" y="320"/>
                </a:cubicBezTo>
                <a:cubicBezTo>
                  <a:pt x="271" y="312"/>
                  <a:pt x="271" y="312"/>
                  <a:pt x="271" y="312"/>
                </a:cubicBezTo>
                <a:cubicBezTo>
                  <a:pt x="271" y="308"/>
                  <a:pt x="267" y="304"/>
                  <a:pt x="263" y="304"/>
                </a:cubicBezTo>
                <a:cubicBezTo>
                  <a:pt x="258" y="304"/>
                  <a:pt x="255" y="308"/>
                  <a:pt x="255" y="312"/>
                </a:cubicBezTo>
                <a:cubicBezTo>
                  <a:pt x="255" y="320"/>
                  <a:pt x="255" y="320"/>
                  <a:pt x="255" y="320"/>
                </a:cubicBezTo>
                <a:cubicBezTo>
                  <a:pt x="248" y="316"/>
                  <a:pt x="248" y="316"/>
                  <a:pt x="248" y="316"/>
                </a:cubicBezTo>
                <a:cubicBezTo>
                  <a:pt x="244" y="314"/>
                  <a:pt x="239" y="315"/>
                  <a:pt x="237" y="319"/>
                </a:cubicBezTo>
                <a:cubicBezTo>
                  <a:pt x="235" y="323"/>
                  <a:pt x="236" y="328"/>
                  <a:pt x="240" y="330"/>
                </a:cubicBezTo>
                <a:cubicBezTo>
                  <a:pt x="247" y="334"/>
                  <a:pt x="247" y="334"/>
                  <a:pt x="247" y="334"/>
                </a:cubicBezTo>
                <a:cubicBezTo>
                  <a:pt x="240" y="338"/>
                  <a:pt x="240" y="338"/>
                  <a:pt x="240" y="338"/>
                </a:cubicBezTo>
                <a:cubicBezTo>
                  <a:pt x="236" y="340"/>
                  <a:pt x="235" y="345"/>
                  <a:pt x="237" y="349"/>
                </a:cubicBezTo>
                <a:cubicBezTo>
                  <a:pt x="238" y="351"/>
                  <a:pt x="241" y="353"/>
                  <a:pt x="244" y="353"/>
                </a:cubicBezTo>
                <a:cubicBezTo>
                  <a:pt x="245" y="353"/>
                  <a:pt x="246" y="353"/>
                  <a:pt x="248" y="352"/>
                </a:cubicBezTo>
                <a:cubicBezTo>
                  <a:pt x="255" y="348"/>
                  <a:pt x="255" y="348"/>
                  <a:pt x="255" y="348"/>
                </a:cubicBezTo>
                <a:cubicBezTo>
                  <a:pt x="255" y="356"/>
                  <a:pt x="255" y="356"/>
                  <a:pt x="255" y="356"/>
                </a:cubicBezTo>
                <a:cubicBezTo>
                  <a:pt x="255" y="360"/>
                  <a:pt x="258" y="364"/>
                  <a:pt x="263" y="364"/>
                </a:cubicBezTo>
                <a:cubicBezTo>
                  <a:pt x="267" y="364"/>
                  <a:pt x="271" y="360"/>
                  <a:pt x="271" y="356"/>
                </a:cubicBezTo>
              </a:path>
            </a:pathLst>
          </a:custGeom>
          <a:solidFill>
            <a:srgbClr val="8F3F7B"/>
          </a:solidFill>
          <a:ln>
            <a:noFill/>
          </a:ln>
          <a:extLst/>
        </p:spPr>
        <p:txBody>
          <a:bodyPr/>
          <a:lstStyle/>
          <a:p>
            <a:pPr algn="ctr"/>
            <a:endParaRPr lang="en-US" b="1" dirty="0"/>
          </a:p>
        </p:txBody>
      </p:sp>
    </p:spTree>
    <p:extLst>
      <p:ext uri="{BB962C8B-B14F-4D97-AF65-F5344CB8AC3E}">
        <p14:creationId xmlns:p14="http://schemas.microsoft.com/office/powerpoint/2010/main" val="5067476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smtClean="0"/>
              <a:t>5G </a:t>
            </a:r>
            <a:r>
              <a:rPr lang="sv-SE" dirty="0"/>
              <a:t>core network slicing </a:t>
            </a:r>
            <a:r>
              <a:rPr lang="sv-SE" dirty="0" smtClean="0"/>
              <a:t>intro</a:t>
            </a:r>
            <a:r>
              <a:rPr lang="sv-SE" sz="3200" dirty="0" smtClean="0"/>
              <a:t>duction</a:t>
            </a:r>
            <a:endParaRPr lang="en-US" dirty="0"/>
          </a:p>
        </p:txBody>
      </p:sp>
      <p:sp>
        <p:nvSpPr>
          <p:cNvPr id="192" name="Rectangle 191"/>
          <p:cNvSpPr/>
          <p:nvPr/>
        </p:nvSpPr>
        <p:spPr bwMode="auto">
          <a:xfrm>
            <a:off x="5181971" y="2375568"/>
            <a:ext cx="2924056" cy="1819045"/>
          </a:xfrm>
          <a:prstGeom prst="rect">
            <a:avLst/>
          </a:prstGeom>
          <a:solidFill>
            <a:schemeClr val="bg1">
              <a:lumMod val="8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kumimoji="0" lang="en-US" sz="14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Core Network </a:t>
            </a:r>
            <a:r>
              <a:rPr kumimoji="0" lang="en-US" sz="1400" b="1" i="0" u="none" strike="noStrike" cap="none" normalizeH="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instance </a:t>
            </a:r>
            <a:r>
              <a:rPr lang="en-US" sz="1400" b="1">
                <a:latin typeface="Segoe UI" panose="020B0502040204020203" pitchFamily="34" charset="0"/>
                <a:ea typeface="Segoe UI" panose="020B0502040204020203" pitchFamily="34" charset="0"/>
                <a:cs typeface="Segoe UI" panose="020B0502040204020203" pitchFamily="34" charset="0"/>
              </a:rPr>
              <a:t>#0</a:t>
            </a:r>
            <a:endParaRPr kumimoji="0" lang="en-US" sz="14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194" name="Rectangle 193"/>
          <p:cNvSpPr/>
          <p:nvPr/>
        </p:nvSpPr>
        <p:spPr bwMode="auto">
          <a:xfrm>
            <a:off x="3978540" y="2375568"/>
            <a:ext cx="1090748" cy="4145243"/>
          </a:xfrm>
          <a:prstGeom prst="rect">
            <a:avLst/>
          </a:prstGeom>
          <a:solidFill>
            <a:schemeClr val="tx1">
              <a:lumMod val="50000"/>
            </a:schemeClr>
          </a:solidFill>
          <a:ln w="12700" cap="flat" cmpd="sng" algn="ctr">
            <a:noFill/>
            <a:prstDash val="solid"/>
            <a:round/>
            <a:headEnd type="none" w="med" len="med"/>
            <a:tailEnd type="none" w="med" len="med"/>
          </a:ln>
          <a:effectLst/>
        </p:spPr>
        <p:txBody>
          <a:bodyPr vert="horz" wrap="square" lIns="18000" tIns="18000" rIns="18000" bIns="1800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4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RAN</a:t>
            </a:r>
          </a:p>
        </p:txBody>
      </p:sp>
      <p:sp>
        <p:nvSpPr>
          <p:cNvPr id="195" name="Freeform 3"/>
          <p:cNvSpPr>
            <a:spLocks noChangeAspect="1"/>
          </p:cNvSpPr>
          <p:nvPr/>
        </p:nvSpPr>
        <p:spPr bwMode="auto">
          <a:xfrm>
            <a:off x="10636989" y="3668868"/>
            <a:ext cx="808037" cy="51276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chemeClr val="accent3">
              <a:lumMod val="75000"/>
            </a:schemeClr>
          </a:solidFill>
          <a:ln w="9525" cap="flat" cmpd="sng" algn="ctr">
            <a:noFill/>
            <a:prstDash val="solid"/>
            <a:round/>
            <a:headEnd type="none" w="med" len="med"/>
            <a:tailEnd type="none" w="med" len="med"/>
          </a:ln>
          <a:extLst/>
        </p:spPr>
        <p:txBody>
          <a:bodyPr/>
          <a:lstStyle/>
          <a:p>
            <a:endParaRPr lang="en-US">
              <a:solidFill>
                <a:srgbClr val="00285F"/>
              </a:solidFill>
            </a:endParaRPr>
          </a:p>
        </p:txBody>
      </p:sp>
      <p:sp>
        <p:nvSpPr>
          <p:cNvPr id="196" name="Rectangle 44"/>
          <p:cNvSpPr>
            <a:spLocks noChangeArrowheads="1"/>
          </p:cNvSpPr>
          <p:nvPr/>
        </p:nvSpPr>
        <p:spPr bwMode="auto">
          <a:xfrm flipV="1">
            <a:off x="1532147" y="4549507"/>
            <a:ext cx="1095743" cy="1637287"/>
          </a:xfrm>
          <a:prstGeom prst="rect">
            <a:avLst/>
          </a:prstGeom>
          <a:solidFill>
            <a:schemeClr val="bg1">
              <a:lumMod val="85000"/>
            </a:schemeClr>
          </a:solidFill>
          <a:ln w="12700" algn="ctr">
            <a:noFill/>
            <a:miter lim="800000"/>
            <a:headEnd/>
            <a:tailEnd/>
          </a:ln>
          <a:extLst/>
        </p:spPr>
        <p:txBody>
          <a:bodyPr rot="10800000" wrap="square" lIns="18000" tIns="18000" rIns="18000" bIns="18000" anchor="b"/>
          <a:lstStyle/>
          <a:p>
            <a:pPr algn="ctr">
              <a:defRPr/>
            </a:pPr>
            <a:r>
              <a:rPr lang="sv-SE" sz="1000" b="1" dirty="0">
                <a:solidFill>
                  <a:srgbClr val="58585A"/>
                </a:solidFill>
                <a:latin typeface="Segoe UI" panose="020B0502040204020203" pitchFamily="34" charset="0"/>
                <a:ea typeface="Segoe UI" panose="020B0502040204020203" pitchFamily="34" charset="0"/>
                <a:cs typeface="Segoe UI" panose="020B0502040204020203" pitchFamily="34" charset="0"/>
              </a:rPr>
              <a:t>Device #1 (Shared resources)</a:t>
            </a:r>
          </a:p>
        </p:txBody>
      </p:sp>
      <p:cxnSp>
        <p:nvCxnSpPr>
          <p:cNvPr id="197" name="Straight Connector 248"/>
          <p:cNvCxnSpPr>
            <a:cxnSpLocks noChangeShapeType="1"/>
            <a:stCxn id="202" idx="3"/>
          </p:cNvCxnSpPr>
          <p:nvPr/>
        </p:nvCxnSpPr>
        <p:spPr bwMode="auto">
          <a:xfrm>
            <a:off x="1197124" y="4787833"/>
            <a:ext cx="681593" cy="470818"/>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cxnSp>
        <p:nvCxnSpPr>
          <p:cNvPr id="198" name="Straight Connector 248"/>
          <p:cNvCxnSpPr>
            <a:cxnSpLocks noChangeShapeType="1"/>
            <a:stCxn id="206" idx="3"/>
          </p:cNvCxnSpPr>
          <p:nvPr/>
        </p:nvCxnSpPr>
        <p:spPr bwMode="auto">
          <a:xfrm flipV="1">
            <a:off x="1223229" y="5333087"/>
            <a:ext cx="655488" cy="42658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cxnSp>
      <p:grpSp>
        <p:nvGrpSpPr>
          <p:cNvPr id="199" name="Group 198"/>
          <p:cNvGrpSpPr/>
          <p:nvPr/>
        </p:nvGrpSpPr>
        <p:grpSpPr>
          <a:xfrm>
            <a:off x="802156" y="4360272"/>
            <a:ext cx="416782" cy="575867"/>
            <a:chOff x="535060" y="2979371"/>
            <a:chExt cx="465198" cy="666000"/>
          </a:xfrm>
        </p:grpSpPr>
        <p:sp>
          <p:nvSpPr>
            <p:cNvPr id="200" name="AutoShape 802"/>
            <p:cNvSpPr>
              <a:spLocks noChangeArrowheads="1"/>
            </p:cNvSpPr>
            <p:nvPr/>
          </p:nvSpPr>
          <p:spPr bwMode="auto">
            <a:xfrm>
              <a:off x="544031" y="3168925"/>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201" name="Oval 803"/>
            <p:cNvSpPr>
              <a:spLocks noChangeArrowheads="1"/>
            </p:cNvSpPr>
            <p:nvPr/>
          </p:nvSpPr>
          <p:spPr bwMode="auto">
            <a:xfrm>
              <a:off x="541468" y="2988336"/>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202" name="Text Box 804"/>
            <p:cNvSpPr txBox="1">
              <a:spLocks noChangeArrowheads="1"/>
            </p:cNvSpPr>
            <p:nvPr/>
          </p:nvSpPr>
          <p:spPr bwMode="auto">
            <a:xfrm>
              <a:off x="556846" y="3329766"/>
              <a:ext cx="419064"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800">
                  <a:latin typeface="+mn-lt"/>
                  <a:ea typeface="Segoe UI" panose="020B0502040204020203" pitchFamily="34" charset="0"/>
                  <a:cs typeface="Segoe UI" panose="020B0502040204020203" pitchFamily="34" charset="0"/>
                </a:rPr>
                <a:t>Virtual Device #1</a:t>
              </a:r>
            </a:p>
          </p:txBody>
        </p:sp>
        <p:sp>
          <p:nvSpPr>
            <p:cNvPr id="203" name="Rectangle 805"/>
            <p:cNvSpPr>
              <a:spLocks noChangeArrowheads="1"/>
            </p:cNvSpPr>
            <p:nvPr/>
          </p:nvSpPr>
          <p:spPr bwMode="auto">
            <a:xfrm>
              <a:off x="535060" y="2979371"/>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58585A"/>
                </a:solidFill>
              </a:endParaRPr>
            </a:p>
          </p:txBody>
        </p:sp>
        <p:sp>
          <p:nvSpPr>
            <p:cNvPr id="204" name="Freeform 16"/>
            <p:cNvSpPr>
              <a:spLocks noEditPoints="1"/>
            </p:cNvSpPr>
            <p:nvPr/>
          </p:nvSpPr>
          <p:spPr bwMode="auto">
            <a:xfrm>
              <a:off x="535060" y="2979371"/>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rgbClr val="FFC000"/>
            </a:solidFill>
            <a:ln>
              <a:noFill/>
            </a:ln>
            <a:extLst/>
          </p:spPr>
          <p:txBody>
            <a:bodyPr tIns="1080000" anchor="ctr"/>
            <a:lstStyle/>
            <a:p>
              <a:endParaRPr lang="en-US">
                <a:solidFill>
                  <a:srgbClr val="58585A"/>
                </a:solidFill>
              </a:endParaRPr>
            </a:p>
          </p:txBody>
        </p:sp>
      </p:grpSp>
      <p:grpSp>
        <p:nvGrpSpPr>
          <p:cNvPr id="205" name="Group 204"/>
          <p:cNvGrpSpPr/>
          <p:nvPr/>
        </p:nvGrpSpPr>
        <p:grpSpPr>
          <a:xfrm>
            <a:off x="802156" y="5391810"/>
            <a:ext cx="428149" cy="577910"/>
            <a:chOff x="535060" y="4890398"/>
            <a:chExt cx="465198" cy="666000"/>
          </a:xfrm>
        </p:grpSpPr>
        <p:sp>
          <p:nvSpPr>
            <p:cNvPr id="206" name="AutoShape 802"/>
            <p:cNvSpPr>
              <a:spLocks noChangeArrowheads="1"/>
            </p:cNvSpPr>
            <p:nvPr/>
          </p:nvSpPr>
          <p:spPr bwMode="auto">
            <a:xfrm>
              <a:off x="544031" y="5079952"/>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207" name="Oval 803"/>
            <p:cNvSpPr>
              <a:spLocks noChangeArrowheads="1"/>
            </p:cNvSpPr>
            <p:nvPr/>
          </p:nvSpPr>
          <p:spPr bwMode="auto">
            <a:xfrm>
              <a:off x="541468" y="4899363"/>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208" name="Text Box 804"/>
            <p:cNvSpPr txBox="1">
              <a:spLocks noChangeArrowheads="1"/>
            </p:cNvSpPr>
            <p:nvPr/>
          </p:nvSpPr>
          <p:spPr bwMode="auto">
            <a:xfrm>
              <a:off x="551701" y="5240835"/>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800">
                  <a:latin typeface="+mn-lt"/>
                  <a:ea typeface="Segoe UI" panose="020B0502040204020203" pitchFamily="34" charset="0"/>
                  <a:cs typeface="Segoe UI" panose="020B0502040204020203" pitchFamily="34" charset="0"/>
                </a:rPr>
                <a:t>Virtual Device #2</a:t>
              </a:r>
            </a:p>
          </p:txBody>
        </p:sp>
        <p:sp>
          <p:nvSpPr>
            <p:cNvPr id="209" name="Rectangle 805"/>
            <p:cNvSpPr>
              <a:spLocks noChangeArrowheads="1"/>
            </p:cNvSpPr>
            <p:nvPr/>
          </p:nvSpPr>
          <p:spPr bwMode="auto">
            <a:xfrm>
              <a:off x="535060" y="4890398"/>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58585A"/>
                </a:solidFill>
              </a:endParaRPr>
            </a:p>
          </p:txBody>
        </p:sp>
        <p:sp>
          <p:nvSpPr>
            <p:cNvPr id="210" name="Freeform 16"/>
            <p:cNvSpPr>
              <a:spLocks noEditPoints="1"/>
            </p:cNvSpPr>
            <p:nvPr/>
          </p:nvSpPr>
          <p:spPr bwMode="auto">
            <a:xfrm>
              <a:off x="535060" y="4890398"/>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rgbClr val="00A9D4"/>
            </a:solidFill>
            <a:ln>
              <a:noFill/>
            </a:ln>
            <a:extLst/>
          </p:spPr>
          <p:txBody>
            <a:bodyPr tIns="1080000" anchor="ctr"/>
            <a:lstStyle/>
            <a:p>
              <a:endParaRPr lang="en-US">
                <a:solidFill>
                  <a:srgbClr val="58585A"/>
                </a:solidFill>
              </a:endParaRPr>
            </a:p>
          </p:txBody>
        </p:sp>
      </p:grpSp>
      <p:cxnSp>
        <p:nvCxnSpPr>
          <p:cNvPr id="211" name="Straight Connector 248"/>
          <p:cNvCxnSpPr>
            <a:cxnSpLocks noChangeShapeType="1"/>
          </p:cNvCxnSpPr>
          <p:nvPr/>
        </p:nvCxnSpPr>
        <p:spPr bwMode="auto">
          <a:xfrm flipV="1">
            <a:off x="2300557" y="5163110"/>
            <a:ext cx="1792569" cy="14320"/>
          </a:xfrm>
          <a:prstGeom prst="line">
            <a:avLst/>
          </a:prstGeom>
          <a:noFill/>
          <a:ln w="12700">
            <a:solidFill>
              <a:schemeClr val="tx1"/>
            </a:solidFill>
            <a:prstDash val="dash"/>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cxnSp>
        <p:nvCxnSpPr>
          <p:cNvPr id="212" name="Elbow Connector 211"/>
          <p:cNvCxnSpPr>
            <a:stCxn id="353" idx="6"/>
          </p:cNvCxnSpPr>
          <p:nvPr/>
        </p:nvCxnSpPr>
        <p:spPr bwMode="auto">
          <a:xfrm flipV="1">
            <a:off x="4490040" y="4026431"/>
            <a:ext cx="6134520" cy="1067507"/>
          </a:xfrm>
          <a:prstGeom prst="bentConnector3">
            <a:avLst>
              <a:gd name="adj1" fmla="val 1328"/>
            </a:avLst>
          </a:prstGeom>
          <a:solidFill>
            <a:schemeClr val="accent1"/>
          </a:solidFill>
          <a:ln w="12700" cap="flat" cmpd="sng" algn="ctr">
            <a:solidFill>
              <a:schemeClr val="tx1"/>
            </a:solidFill>
            <a:prstDash val="solid"/>
            <a:round/>
            <a:headEnd type="none" w="med" len="med"/>
            <a:tailEnd type="none" w="med" len="med"/>
          </a:ln>
          <a:effectLst>
            <a:glow rad="63500">
              <a:schemeClr val="accent3">
                <a:satMod val="175000"/>
                <a:alpha val="40000"/>
              </a:schemeClr>
            </a:glow>
          </a:effectLst>
        </p:spPr>
      </p:cxnSp>
      <p:cxnSp>
        <p:nvCxnSpPr>
          <p:cNvPr id="213" name="Straight Connector 248"/>
          <p:cNvCxnSpPr>
            <a:cxnSpLocks noChangeShapeType="1"/>
          </p:cNvCxnSpPr>
          <p:nvPr/>
        </p:nvCxnSpPr>
        <p:spPr bwMode="auto">
          <a:xfrm flipV="1">
            <a:off x="2300557" y="5375161"/>
            <a:ext cx="1774260" cy="1"/>
          </a:xfrm>
          <a:prstGeom prst="line">
            <a:avLst/>
          </a:prstGeom>
          <a:noFill/>
          <a:ln w="12700">
            <a:solidFill>
              <a:schemeClr val="tx1"/>
            </a:solidFill>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cxnSp>
        <p:nvCxnSpPr>
          <p:cNvPr id="214" name="Straight Connector 248"/>
          <p:cNvCxnSpPr>
            <a:cxnSpLocks noChangeShapeType="1"/>
          </p:cNvCxnSpPr>
          <p:nvPr/>
        </p:nvCxnSpPr>
        <p:spPr bwMode="auto">
          <a:xfrm>
            <a:off x="2300557" y="5266238"/>
            <a:ext cx="1774260" cy="0"/>
          </a:xfrm>
          <a:prstGeom prst="line">
            <a:avLst/>
          </a:prstGeom>
          <a:noFill/>
          <a:ln w="12700">
            <a:solidFill>
              <a:schemeClr val="tx1"/>
            </a:solidFill>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sp>
        <p:nvSpPr>
          <p:cNvPr id="215" name="Rectangle 44"/>
          <p:cNvSpPr>
            <a:spLocks noChangeArrowheads="1"/>
          </p:cNvSpPr>
          <p:nvPr/>
        </p:nvSpPr>
        <p:spPr bwMode="auto">
          <a:xfrm flipV="1">
            <a:off x="1532147" y="2411830"/>
            <a:ext cx="1095743" cy="1007581"/>
          </a:xfrm>
          <a:prstGeom prst="rect">
            <a:avLst/>
          </a:prstGeom>
          <a:solidFill>
            <a:schemeClr val="bg1">
              <a:lumMod val="85000"/>
            </a:schemeClr>
          </a:solidFill>
          <a:ln w="12700" algn="ctr">
            <a:noFill/>
            <a:miter lim="800000"/>
            <a:headEnd/>
            <a:tailEnd/>
          </a:ln>
          <a:extLst/>
        </p:spPr>
        <p:txBody>
          <a:bodyPr rot="10800000" wrap="square" lIns="18000" tIns="18000" rIns="18000" bIns="18000" anchor="b"/>
          <a:lstStyle/>
          <a:p>
            <a:pPr algn="ctr">
              <a:defRPr/>
            </a:pPr>
            <a:r>
              <a:rPr lang="sv-SE" sz="1000" b="1">
                <a:solidFill>
                  <a:srgbClr val="58585A"/>
                </a:solidFill>
                <a:latin typeface="Segoe UI" panose="020B0502040204020203" pitchFamily="34" charset="0"/>
                <a:ea typeface="Segoe UI" panose="020B0502040204020203" pitchFamily="34" charset="0"/>
                <a:cs typeface="Segoe UI" panose="020B0502040204020203" pitchFamily="34" charset="0"/>
              </a:rPr>
              <a:t>CIoT Device</a:t>
            </a:r>
          </a:p>
        </p:txBody>
      </p:sp>
      <p:grpSp>
        <p:nvGrpSpPr>
          <p:cNvPr id="216" name="Group 215"/>
          <p:cNvGrpSpPr/>
          <p:nvPr/>
        </p:nvGrpSpPr>
        <p:grpSpPr>
          <a:xfrm>
            <a:off x="1843689" y="2586754"/>
            <a:ext cx="417842" cy="574873"/>
            <a:chOff x="1690243" y="3902109"/>
            <a:chExt cx="465198" cy="666000"/>
          </a:xfrm>
        </p:grpSpPr>
        <p:sp>
          <p:nvSpPr>
            <p:cNvPr id="217" name="AutoShape 802"/>
            <p:cNvSpPr>
              <a:spLocks noChangeArrowheads="1"/>
            </p:cNvSpPr>
            <p:nvPr/>
          </p:nvSpPr>
          <p:spPr bwMode="auto">
            <a:xfrm>
              <a:off x="1699214" y="4091663"/>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218" name="Oval 803"/>
            <p:cNvSpPr>
              <a:spLocks noChangeArrowheads="1"/>
            </p:cNvSpPr>
            <p:nvPr/>
          </p:nvSpPr>
          <p:spPr bwMode="auto">
            <a:xfrm>
              <a:off x="1696651" y="3911074"/>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219" name="Text Box 804"/>
            <p:cNvSpPr txBox="1">
              <a:spLocks noChangeArrowheads="1"/>
            </p:cNvSpPr>
            <p:nvPr/>
          </p:nvSpPr>
          <p:spPr bwMode="auto">
            <a:xfrm>
              <a:off x="1712029" y="4264567"/>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900">
                  <a:solidFill>
                    <a:srgbClr val="E32119"/>
                  </a:solidFill>
                  <a:latin typeface="+mn-lt"/>
                  <a:ea typeface="Segoe UI" panose="020B0502040204020203" pitchFamily="34" charset="0"/>
                  <a:cs typeface="Segoe UI" panose="020B0502040204020203" pitchFamily="34" charset="0"/>
                </a:rPr>
                <a:t>Device</a:t>
              </a:r>
            </a:p>
          </p:txBody>
        </p:sp>
        <p:sp>
          <p:nvSpPr>
            <p:cNvPr id="220" name="Rectangle 805"/>
            <p:cNvSpPr>
              <a:spLocks noChangeArrowheads="1"/>
            </p:cNvSpPr>
            <p:nvPr/>
          </p:nvSpPr>
          <p:spPr bwMode="auto">
            <a:xfrm>
              <a:off x="1690243" y="3902109"/>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58585A"/>
                </a:solidFill>
              </a:endParaRPr>
            </a:p>
          </p:txBody>
        </p:sp>
        <p:sp>
          <p:nvSpPr>
            <p:cNvPr id="221" name="Freeform 16"/>
            <p:cNvSpPr>
              <a:spLocks noEditPoints="1"/>
            </p:cNvSpPr>
            <p:nvPr/>
          </p:nvSpPr>
          <p:spPr bwMode="auto">
            <a:xfrm>
              <a:off x="1690243" y="3902109"/>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rgbClr val="FF0000"/>
            </a:solidFill>
            <a:ln>
              <a:noFill/>
            </a:ln>
            <a:extLst/>
          </p:spPr>
          <p:txBody>
            <a:bodyPr tIns="1080000" anchor="ctr"/>
            <a:lstStyle/>
            <a:p>
              <a:endParaRPr lang="en-US">
                <a:solidFill>
                  <a:srgbClr val="58585A"/>
                </a:solidFill>
              </a:endParaRPr>
            </a:p>
          </p:txBody>
        </p:sp>
      </p:grpSp>
      <p:cxnSp>
        <p:nvCxnSpPr>
          <p:cNvPr id="222" name="Straight Connector 221"/>
          <p:cNvCxnSpPr>
            <a:cxnSpLocks/>
          </p:cNvCxnSpPr>
          <p:nvPr/>
        </p:nvCxnSpPr>
        <p:spPr bwMode="auto">
          <a:xfrm>
            <a:off x="2254625" y="3023990"/>
            <a:ext cx="1840975" cy="1952456"/>
          </a:xfrm>
          <a:prstGeom prst="line">
            <a:avLst/>
          </a:prstGeom>
          <a:noFill/>
          <a:ln w="12700">
            <a:solidFill>
              <a:schemeClr val="tx1"/>
            </a:solidFill>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sp>
        <p:nvSpPr>
          <p:cNvPr id="224" name="Rectangle 223"/>
          <p:cNvSpPr/>
          <p:nvPr/>
        </p:nvSpPr>
        <p:spPr bwMode="auto">
          <a:xfrm>
            <a:off x="7749243" y="4234516"/>
            <a:ext cx="2240760" cy="1060623"/>
          </a:xfrm>
          <a:prstGeom prst="rect">
            <a:avLst/>
          </a:prstGeom>
          <a:solidFill>
            <a:schemeClr val="tx1">
              <a:lumMod val="50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kumimoji="0" lang="en-US" sz="14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Core Network</a:t>
            </a:r>
            <a:r>
              <a:rPr kumimoji="0" lang="en-US" sz="1400" b="1" i="0" u="none" strike="noStrike" cap="none" normalizeH="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instance #1A</a:t>
            </a:r>
            <a:endParaRPr kumimoji="0" lang="en-US" sz="1400" b="1" i="0" u="none" strike="noStrike" cap="none" normalizeH="0" baseline="0" dirty="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sp>
        <p:nvSpPr>
          <p:cNvPr id="225" name="Rectangle 224"/>
          <p:cNvSpPr/>
          <p:nvPr/>
        </p:nvSpPr>
        <p:spPr bwMode="auto">
          <a:xfrm>
            <a:off x="5205324" y="4243931"/>
            <a:ext cx="2382005" cy="2286296"/>
          </a:xfrm>
          <a:prstGeom prst="rect">
            <a:avLst/>
          </a:prstGeom>
          <a:solidFill>
            <a:schemeClr val="bg1">
              <a:lumMod val="85000"/>
            </a:schemeClr>
          </a:solidFill>
          <a:ln w="12700" cap="flat" cmpd="sng" algn="ctr">
            <a:noFill/>
            <a:prstDash val="solid"/>
            <a:round/>
            <a:headEnd type="none" w="med" len="med"/>
            <a:tailEnd type="none" w="med" len="med"/>
          </a:ln>
          <a:effectLst/>
        </p:spPr>
        <p:txBody>
          <a:bodyPr vert="horz" wrap="square" lIns="18000" tIns="18000" rIns="18000" bIns="18000" numCol="1" rtlCol="0" anchor="t"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lang="en-US" sz="1400" b="1">
                <a:latin typeface="Segoe UI" panose="020B0502040204020203" pitchFamily="34" charset="0"/>
                <a:ea typeface="Segoe UI" panose="020B0502040204020203" pitchFamily="34" charset="0"/>
                <a:cs typeface="Segoe UI" panose="020B0502040204020203" pitchFamily="34" charset="0"/>
              </a:rPr>
              <a:t> Core Network </a:t>
            </a:r>
            <a:r>
              <a:rPr kumimoji="0" lang="en-US" sz="1400" b="1" i="0" u="none" strike="noStrike" cap="none" normalizeH="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instance #1</a:t>
            </a:r>
            <a:endParaRPr kumimoji="0" lang="en-US" sz="14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cxnSp>
        <p:nvCxnSpPr>
          <p:cNvPr id="226" name="Straight Connector 169"/>
          <p:cNvCxnSpPr>
            <a:cxnSpLocks/>
          </p:cNvCxnSpPr>
          <p:nvPr/>
        </p:nvCxnSpPr>
        <p:spPr bwMode="auto">
          <a:xfrm flipV="1">
            <a:off x="4333244" y="5263737"/>
            <a:ext cx="6291316" cy="200698"/>
          </a:xfrm>
          <a:prstGeom prst="bentConnector3">
            <a:avLst>
              <a:gd name="adj1" fmla="val 50000"/>
            </a:avLst>
          </a:prstGeom>
          <a:solidFill>
            <a:schemeClr val="accent1"/>
          </a:solidFill>
          <a:ln w="12700" cap="flat" cmpd="sng" algn="ctr">
            <a:solidFill>
              <a:schemeClr val="tx1"/>
            </a:solidFill>
            <a:prstDash val="solid"/>
            <a:round/>
            <a:headEnd type="none" w="med" len="med"/>
            <a:tailEnd type="none" w="med" len="med"/>
          </a:ln>
          <a:effectLst>
            <a:glow rad="63500">
              <a:schemeClr val="accent3">
                <a:satMod val="175000"/>
                <a:alpha val="40000"/>
              </a:schemeClr>
            </a:glow>
          </a:effectLst>
        </p:spPr>
      </p:cxnSp>
      <p:cxnSp>
        <p:nvCxnSpPr>
          <p:cNvPr id="227" name="Straight Connector 169"/>
          <p:cNvCxnSpPr>
            <a:cxnSpLocks/>
            <a:endCxn id="328" idx="1"/>
          </p:cNvCxnSpPr>
          <p:nvPr/>
        </p:nvCxnSpPr>
        <p:spPr bwMode="auto">
          <a:xfrm flipV="1">
            <a:off x="5948178" y="4952234"/>
            <a:ext cx="2309904" cy="532254"/>
          </a:xfrm>
          <a:prstGeom prst="bentConnector3">
            <a:avLst>
              <a:gd name="adj1" fmla="val 50000"/>
            </a:avLst>
          </a:prstGeom>
          <a:solidFill>
            <a:schemeClr val="accent1"/>
          </a:solidFill>
          <a:ln w="12700" cap="flat" cmpd="sng" algn="ctr">
            <a:solidFill>
              <a:schemeClr val="tx1"/>
            </a:solidFill>
            <a:prstDash val="dash"/>
            <a:round/>
            <a:headEnd type="none" w="med" len="med"/>
            <a:tailEnd type="none" w="med" len="med"/>
          </a:ln>
          <a:effectLst>
            <a:glow rad="63500">
              <a:schemeClr val="accent3">
                <a:satMod val="175000"/>
                <a:alpha val="40000"/>
              </a:schemeClr>
            </a:glow>
          </a:effectLst>
        </p:spPr>
      </p:cxnSp>
      <p:grpSp>
        <p:nvGrpSpPr>
          <p:cNvPr id="229" name="Group 264"/>
          <p:cNvGrpSpPr>
            <a:grpSpLocks noChangeAspect="1"/>
          </p:cNvGrpSpPr>
          <p:nvPr/>
        </p:nvGrpSpPr>
        <p:grpSpPr bwMode="auto">
          <a:xfrm>
            <a:off x="7539989" y="3523402"/>
            <a:ext cx="458457" cy="581945"/>
            <a:chOff x="620" y="2384"/>
            <a:chExt cx="387" cy="520"/>
          </a:xfrm>
        </p:grpSpPr>
        <p:sp>
          <p:nvSpPr>
            <p:cNvPr id="230" name="AutoShape 142"/>
            <p:cNvSpPr>
              <a:spLocks noChangeAspect="1" noChangeArrowheads="1"/>
            </p:cNvSpPr>
            <p:nvPr/>
          </p:nvSpPr>
          <p:spPr bwMode="auto">
            <a:xfrm>
              <a:off x="651" y="2532"/>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231" name="Oval 143"/>
            <p:cNvSpPr>
              <a:spLocks noChangeAspect="1" noChangeArrowheads="1"/>
            </p:cNvSpPr>
            <p:nvPr/>
          </p:nvSpPr>
          <p:spPr bwMode="auto">
            <a:xfrm>
              <a:off x="649" y="2391"/>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232" name="Text Box 144"/>
            <p:cNvSpPr txBox="1">
              <a:spLocks noChangeAspect="1" noChangeArrowheads="1"/>
            </p:cNvSpPr>
            <p:nvPr/>
          </p:nvSpPr>
          <p:spPr bwMode="auto">
            <a:xfrm>
              <a:off x="620" y="2713"/>
              <a:ext cx="366"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ctr">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a:solidFill>
                    <a:srgbClr val="8F3F7B"/>
                  </a:solidFill>
                  <a:latin typeface="+mn-lt"/>
                  <a:ea typeface="Segoe UI" panose="020B0502040204020203" pitchFamily="34" charset="0"/>
                  <a:cs typeface="Segoe UI" panose="020B0502040204020203" pitchFamily="34" charset="0"/>
                </a:rPr>
                <a:t>UPF</a:t>
              </a:r>
              <a:endParaRPr lang="en-US" altLang="en-US" sz="900">
                <a:solidFill>
                  <a:srgbClr val="8F3F7B"/>
                </a:solidFill>
                <a:latin typeface="+mn-lt"/>
                <a:ea typeface="Segoe UI" panose="020B0502040204020203" pitchFamily="34" charset="0"/>
                <a:cs typeface="Segoe UI" panose="020B0502040204020203" pitchFamily="34" charset="0"/>
              </a:endParaRPr>
            </a:p>
          </p:txBody>
        </p:sp>
        <p:sp>
          <p:nvSpPr>
            <p:cNvPr id="233" name="Rectangle 145"/>
            <p:cNvSpPr>
              <a:spLocks noChangeAspect="1" noChangeArrowheads="1"/>
            </p:cNvSpPr>
            <p:nvPr/>
          </p:nvSpPr>
          <p:spPr bwMode="auto">
            <a:xfrm>
              <a:off x="644" y="2384"/>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234" name="Freeform 11"/>
            <p:cNvSpPr>
              <a:spLocks noChangeAspect="1" noEditPoints="1"/>
            </p:cNvSpPr>
            <p:nvPr/>
          </p:nvSpPr>
          <p:spPr bwMode="auto">
            <a:xfrm>
              <a:off x="644" y="2384"/>
              <a:ext cx="363" cy="519"/>
            </a:xfrm>
            <a:custGeom>
              <a:avLst/>
              <a:gdLst>
                <a:gd name="T0" fmla="*/ 8960 w 410"/>
                <a:gd name="T1" fmla="*/ 4267 h 589"/>
                <a:gd name="T2" fmla="*/ 8414 w 410"/>
                <a:gd name="T3" fmla="*/ 10315 h 589"/>
                <a:gd name="T4" fmla="*/ 363 w 410"/>
                <a:gd name="T5" fmla="*/ 9882 h 589"/>
                <a:gd name="T6" fmla="*/ 4661 w 410"/>
                <a:gd name="T7" fmla="*/ 289 h 589"/>
                <a:gd name="T8" fmla="*/ 9141 w 410"/>
                <a:gd name="T9" fmla="*/ 3834 h 589"/>
                <a:gd name="T10" fmla="*/ 9324 w 410"/>
                <a:gd name="T11" fmla="*/ 3690 h 589"/>
                <a:gd name="T12" fmla="*/ 0 w 410"/>
                <a:gd name="T13" fmla="*/ 3690 h 589"/>
                <a:gd name="T14" fmla="*/ 23 w 410"/>
                <a:gd name="T15" fmla="*/ 9882 h 589"/>
                <a:gd name="T16" fmla="*/ 8414 w 410"/>
                <a:gd name="T17" fmla="*/ 10603 h 589"/>
                <a:gd name="T18" fmla="*/ 9324 w 410"/>
                <a:gd name="T19" fmla="*/ 4267 h 589"/>
                <a:gd name="T20" fmla="*/ 7527 w 410"/>
                <a:gd name="T21" fmla="*/ 2881 h 589"/>
                <a:gd name="T22" fmla="*/ 6572 w 410"/>
                <a:gd name="T23" fmla="*/ 2340 h 589"/>
                <a:gd name="T24" fmla="*/ 6959 w 410"/>
                <a:gd name="T25" fmla="*/ 2844 h 589"/>
                <a:gd name="T26" fmla="*/ 3503 w 410"/>
                <a:gd name="T27" fmla="*/ 2988 h 589"/>
                <a:gd name="T28" fmla="*/ 6936 w 410"/>
                <a:gd name="T29" fmla="*/ 3133 h 589"/>
                <a:gd name="T30" fmla="*/ 6572 w 410"/>
                <a:gd name="T31" fmla="*/ 3636 h 589"/>
                <a:gd name="T32" fmla="*/ 6821 w 410"/>
                <a:gd name="T33" fmla="*/ 3636 h 589"/>
                <a:gd name="T34" fmla="*/ 7527 w 410"/>
                <a:gd name="T35" fmla="*/ 2881 h 589"/>
                <a:gd name="T36" fmla="*/ 2502 w 410"/>
                <a:gd name="T37" fmla="*/ 1476 h 589"/>
                <a:gd name="T38" fmla="*/ 2775 w 410"/>
                <a:gd name="T39" fmla="*/ 1674 h 589"/>
                <a:gd name="T40" fmla="*/ 5640 w 410"/>
                <a:gd name="T41" fmla="*/ 1980 h 589"/>
                <a:gd name="T42" fmla="*/ 5640 w 410"/>
                <a:gd name="T43" fmla="*/ 2269 h 589"/>
                <a:gd name="T44" fmla="*/ 2775 w 410"/>
                <a:gd name="T45" fmla="*/ 2575 h 589"/>
                <a:gd name="T46" fmla="*/ 2638 w 410"/>
                <a:gd name="T47" fmla="*/ 2827 h 589"/>
                <a:gd name="T48" fmla="*/ 1819 w 410"/>
                <a:gd name="T49" fmla="*/ 2232 h 589"/>
                <a:gd name="T50" fmla="*/ 7504 w 410"/>
                <a:gd name="T51" fmla="*/ 4662 h 589"/>
                <a:gd name="T52" fmla="*/ 6548 w 410"/>
                <a:gd name="T53" fmla="*/ 4105 h 589"/>
                <a:gd name="T54" fmla="*/ 6936 w 410"/>
                <a:gd name="T55" fmla="*/ 4608 h 589"/>
                <a:gd name="T56" fmla="*/ 3480 w 410"/>
                <a:gd name="T57" fmla="*/ 4752 h 589"/>
                <a:gd name="T58" fmla="*/ 6936 w 410"/>
                <a:gd name="T59" fmla="*/ 4897 h 589"/>
                <a:gd name="T60" fmla="*/ 6548 w 410"/>
                <a:gd name="T61" fmla="*/ 5401 h 589"/>
                <a:gd name="T62" fmla="*/ 6821 w 410"/>
                <a:gd name="T63" fmla="*/ 5401 h 589"/>
                <a:gd name="T64" fmla="*/ 7504 w 410"/>
                <a:gd name="T65" fmla="*/ 4662 h 589"/>
                <a:gd name="T66" fmla="*/ 2502 w 410"/>
                <a:gd name="T67" fmla="*/ 3204 h 589"/>
                <a:gd name="T68" fmla="*/ 2775 w 410"/>
                <a:gd name="T69" fmla="*/ 3401 h 589"/>
                <a:gd name="T70" fmla="*/ 5640 w 410"/>
                <a:gd name="T71" fmla="*/ 3708 h 589"/>
                <a:gd name="T72" fmla="*/ 5640 w 410"/>
                <a:gd name="T73" fmla="*/ 3996 h 589"/>
                <a:gd name="T74" fmla="*/ 2775 w 410"/>
                <a:gd name="T75" fmla="*/ 4302 h 589"/>
                <a:gd name="T76" fmla="*/ 2638 w 410"/>
                <a:gd name="T77" fmla="*/ 4556 h 589"/>
                <a:gd name="T78" fmla="*/ 1819 w 410"/>
                <a:gd name="T79" fmla="*/ 3960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cxnSp>
        <p:nvCxnSpPr>
          <p:cNvPr id="235" name="Straight Connector 169"/>
          <p:cNvCxnSpPr>
            <a:cxnSpLocks/>
            <a:endCxn id="269" idx="1"/>
          </p:cNvCxnSpPr>
          <p:nvPr/>
        </p:nvCxnSpPr>
        <p:spPr bwMode="auto">
          <a:xfrm rot="5400000" flipH="1" flipV="1">
            <a:off x="4374315" y="3898409"/>
            <a:ext cx="1199396" cy="1067641"/>
          </a:xfrm>
          <a:prstGeom prst="bentConnector2">
            <a:avLst/>
          </a:prstGeom>
          <a:solidFill>
            <a:schemeClr val="accent1"/>
          </a:solidFill>
          <a:ln w="12700" cap="flat" cmpd="sng" algn="ctr">
            <a:solidFill>
              <a:schemeClr val="tx1"/>
            </a:solidFill>
            <a:prstDash val="dash"/>
            <a:round/>
            <a:headEnd type="none" w="med" len="med"/>
            <a:tailEnd type="none" w="med" len="med"/>
          </a:ln>
          <a:effectLst>
            <a:glow rad="63500">
              <a:schemeClr val="accent3">
                <a:satMod val="175000"/>
                <a:alpha val="40000"/>
              </a:schemeClr>
            </a:glow>
          </a:effectLst>
        </p:spPr>
      </p:cxnSp>
      <p:sp>
        <p:nvSpPr>
          <p:cNvPr id="236" name="Rectangle 235"/>
          <p:cNvSpPr/>
          <p:nvPr/>
        </p:nvSpPr>
        <p:spPr bwMode="auto">
          <a:xfrm>
            <a:off x="7754320" y="5333088"/>
            <a:ext cx="2240760" cy="1187724"/>
          </a:xfrm>
          <a:prstGeom prst="rect">
            <a:avLst/>
          </a:prstGeom>
          <a:solidFill>
            <a:schemeClr val="bg1">
              <a:lumMod val="85000"/>
            </a:schemeClr>
          </a:solidFill>
          <a:ln w="12700" cap="flat" cmpd="sng" algn="ctr">
            <a:noFill/>
            <a:prstDash val="solid"/>
            <a:round/>
            <a:headEnd type="none" w="med" len="med"/>
            <a:tailEnd type="none" w="med" len="med"/>
          </a:ln>
          <a:effectLst/>
        </p:spPr>
        <p:txBody>
          <a:bodyPr vert="horz" wrap="square" lIns="36000" tIns="18000" rIns="18000" bIns="18000" numCol="1" rtlCol="0" anchor="t" anchorCtr="0" compatLnSpc="1">
            <a:prstTxWarp prst="textNoShape">
              <a:avLst/>
            </a:prstTxWarp>
          </a:bodyPr>
          <a:lstStyle/>
          <a:p>
            <a:pPr marL="0" marR="0" indent="0" defTabSz="914400" rtl="0" eaLnBrk="1" fontAlgn="base" latinLnBrk="0" hangingPunct="1">
              <a:lnSpc>
                <a:spcPct val="100000"/>
              </a:lnSpc>
              <a:spcBef>
                <a:spcPct val="50000"/>
              </a:spcBef>
              <a:spcAft>
                <a:spcPct val="0"/>
              </a:spcAft>
              <a:buClrTx/>
              <a:buSzTx/>
              <a:buFontTx/>
              <a:buNone/>
              <a:tabLst/>
            </a:pPr>
            <a:r>
              <a:rPr kumimoji="0" lang="en-US" sz="14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Core</a:t>
            </a:r>
            <a:r>
              <a:rPr kumimoji="0" lang="en-US" sz="1400" b="1" i="0" u="none" strike="noStrike" cap="none" normalizeH="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Network instance #1B</a:t>
            </a:r>
            <a:endParaRPr kumimoji="0" lang="en-US" sz="14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p:txBody>
      </p:sp>
      <p:cxnSp>
        <p:nvCxnSpPr>
          <p:cNvPr id="237" name="Straight Connector 169"/>
          <p:cNvCxnSpPr>
            <a:cxnSpLocks/>
          </p:cNvCxnSpPr>
          <p:nvPr/>
        </p:nvCxnSpPr>
        <p:spPr bwMode="auto">
          <a:xfrm>
            <a:off x="4145766" y="5464436"/>
            <a:ext cx="6491234" cy="945605"/>
          </a:xfrm>
          <a:prstGeom prst="bentConnector3">
            <a:avLst>
              <a:gd name="adj1" fmla="val 1067"/>
            </a:avLst>
          </a:prstGeom>
          <a:solidFill>
            <a:schemeClr val="accent1"/>
          </a:solidFill>
          <a:ln w="12700" cap="flat" cmpd="sng" algn="ctr">
            <a:solidFill>
              <a:schemeClr val="tx1"/>
            </a:solidFill>
            <a:prstDash val="solid"/>
            <a:round/>
            <a:headEnd type="none" w="med" len="med"/>
            <a:tailEnd type="none" w="med" len="med"/>
          </a:ln>
          <a:effectLst>
            <a:glow rad="63500">
              <a:schemeClr val="accent3">
                <a:satMod val="175000"/>
                <a:alpha val="40000"/>
              </a:schemeClr>
            </a:glow>
          </a:effectLst>
        </p:spPr>
      </p:cxnSp>
      <p:cxnSp>
        <p:nvCxnSpPr>
          <p:cNvPr id="238" name="Straight Connector 169"/>
          <p:cNvCxnSpPr>
            <a:cxnSpLocks/>
          </p:cNvCxnSpPr>
          <p:nvPr/>
        </p:nvCxnSpPr>
        <p:spPr bwMode="auto">
          <a:xfrm>
            <a:off x="5940227" y="5646211"/>
            <a:ext cx="1894959" cy="588818"/>
          </a:xfrm>
          <a:prstGeom prst="bentConnector3">
            <a:avLst>
              <a:gd name="adj1" fmla="val 74127"/>
            </a:avLst>
          </a:prstGeom>
          <a:solidFill>
            <a:schemeClr val="accent1"/>
          </a:solidFill>
          <a:ln w="12700" cap="flat" cmpd="sng" algn="ctr">
            <a:solidFill>
              <a:schemeClr val="tx1"/>
            </a:solidFill>
            <a:prstDash val="dash"/>
            <a:round/>
            <a:headEnd type="none" w="med" len="med"/>
            <a:tailEnd type="none" w="med" len="med"/>
          </a:ln>
          <a:effectLst>
            <a:glow rad="63500">
              <a:schemeClr val="accent3">
                <a:satMod val="175000"/>
                <a:alpha val="40000"/>
              </a:schemeClr>
            </a:glow>
          </a:effectLst>
        </p:spPr>
      </p:cxnSp>
      <p:cxnSp>
        <p:nvCxnSpPr>
          <p:cNvPr id="239" name="Straight Connector 203"/>
          <p:cNvCxnSpPr>
            <a:cxnSpLocks noChangeShapeType="1"/>
            <a:stCxn id="369" idx="1"/>
          </p:cNvCxnSpPr>
          <p:nvPr/>
        </p:nvCxnSpPr>
        <p:spPr bwMode="auto">
          <a:xfrm rot="10800000">
            <a:off x="4474533" y="5332442"/>
            <a:ext cx="1053005" cy="263189"/>
          </a:xfrm>
          <a:prstGeom prst="bentConnector3">
            <a:avLst>
              <a:gd name="adj1" fmla="val 107130"/>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
        <p:nvSpPr>
          <p:cNvPr id="240" name="Rectangle 44"/>
          <p:cNvSpPr>
            <a:spLocks noChangeArrowheads="1"/>
          </p:cNvSpPr>
          <p:nvPr/>
        </p:nvSpPr>
        <p:spPr bwMode="auto">
          <a:xfrm flipV="1">
            <a:off x="1532147" y="3466889"/>
            <a:ext cx="1095743" cy="1007581"/>
          </a:xfrm>
          <a:prstGeom prst="rect">
            <a:avLst/>
          </a:prstGeom>
          <a:solidFill>
            <a:schemeClr val="bg1">
              <a:lumMod val="85000"/>
            </a:schemeClr>
          </a:solidFill>
          <a:ln w="12700" algn="ctr">
            <a:noFill/>
            <a:miter lim="800000"/>
            <a:headEnd/>
            <a:tailEnd/>
          </a:ln>
          <a:extLst/>
        </p:spPr>
        <p:txBody>
          <a:bodyPr rot="10800000" wrap="square" lIns="18000" tIns="18000" rIns="18000" bIns="18000" anchor="b"/>
          <a:lstStyle/>
          <a:p>
            <a:pPr algn="ctr">
              <a:defRPr/>
            </a:pPr>
            <a:r>
              <a:rPr lang="sv-SE" sz="1000" b="1" err="1">
                <a:solidFill>
                  <a:srgbClr val="58585A"/>
                </a:solidFill>
                <a:latin typeface="Segoe UI" panose="020B0502040204020203" pitchFamily="34" charset="0"/>
                <a:ea typeface="Segoe UI" panose="020B0502040204020203" pitchFamily="34" charset="0"/>
                <a:cs typeface="Segoe UI" panose="020B0502040204020203" pitchFamily="34" charset="0"/>
              </a:rPr>
              <a:t>Device</a:t>
            </a:r>
            <a:r>
              <a:rPr lang="sv-SE" sz="1000" b="1">
                <a:solidFill>
                  <a:srgbClr val="58585A"/>
                </a:solidFill>
                <a:latin typeface="Segoe UI" panose="020B0502040204020203" pitchFamily="34" charset="0"/>
                <a:ea typeface="Segoe UI" panose="020B0502040204020203" pitchFamily="34" charset="0"/>
                <a:cs typeface="Segoe UI" panose="020B0502040204020203" pitchFamily="34" charset="0"/>
              </a:rPr>
              <a:t> #0</a:t>
            </a:r>
          </a:p>
        </p:txBody>
      </p:sp>
      <p:cxnSp>
        <p:nvCxnSpPr>
          <p:cNvPr id="241" name="Straight Connector 248"/>
          <p:cNvCxnSpPr>
            <a:cxnSpLocks noChangeShapeType="1"/>
          </p:cNvCxnSpPr>
          <p:nvPr/>
        </p:nvCxnSpPr>
        <p:spPr bwMode="auto">
          <a:xfrm>
            <a:off x="2261531" y="4069337"/>
            <a:ext cx="1813286" cy="943225"/>
          </a:xfrm>
          <a:prstGeom prst="line">
            <a:avLst/>
          </a:prstGeom>
          <a:noFill/>
          <a:ln w="12700">
            <a:solidFill>
              <a:schemeClr val="tx1"/>
            </a:solidFill>
            <a:prstDash val="dash"/>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cxnSp>
        <p:nvCxnSpPr>
          <p:cNvPr id="242" name="Elbow Connector 241"/>
          <p:cNvCxnSpPr>
            <a:cxnSpLocks/>
          </p:cNvCxnSpPr>
          <p:nvPr/>
        </p:nvCxnSpPr>
        <p:spPr bwMode="auto">
          <a:xfrm rot="10800000" flipV="1">
            <a:off x="6600050" y="3152202"/>
            <a:ext cx="963925" cy="371199"/>
          </a:xfrm>
          <a:prstGeom prst="bentConnector3">
            <a:avLst>
              <a:gd name="adj1" fmla="val 484"/>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243" name="Group 45"/>
          <p:cNvGrpSpPr>
            <a:grpSpLocks noChangeAspect="1"/>
          </p:cNvGrpSpPr>
          <p:nvPr/>
        </p:nvGrpSpPr>
        <p:grpSpPr bwMode="auto">
          <a:xfrm>
            <a:off x="5480059" y="2597242"/>
            <a:ext cx="428873" cy="582717"/>
            <a:chOff x="1057" y="1587"/>
            <a:chExt cx="363" cy="520"/>
          </a:xfrm>
        </p:grpSpPr>
        <p:sp>
          <p:nvSpPr>
            <p:cNvPr id="244"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45"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46"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a:solidFill>
                    <a:srgbClr val="00A9D4"/>
                  </a:solidFill>
                  <a:latin typeface="+mn-lt"/>
                  <a:ea typeface="Segoe UI" panose="020B0502040204020203" pitchFamily="34" charset="0"/>
                  <a:cs typeface="Segoe UI" panose="020B0502040204020203" pitchFamily="34" charset="0"/>
                </a:rPr>
                <a:t>AUSF/UDM</a:t>
              </a:r>
            </a:p>
          </p:txBody>
        </p:sp>
        <p:sp>
          <p:nvSpPr>
            <p:cNvPr id="247"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48" name="Freeform 11"/>
            <p:cNvSpPr>
              <a:spLocks noChangeAspect="1" noEditPoints="1"/>
            </p:cNvSpPr>
            <p:nvPr/>
          </p:nvSpPr>
          <p:spPr bwMode="auto">
            <a:xfrm>
              <a:off x="1057" y="1587"/>
              <a:ext cx="363" cy="520"/>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249" name="Group 248"/>
          <p:cNvGrpSpPr/>
          <p:nvPr/>
        </p:nvGrpSpPr>
        <p:grpSpPr>
          <a:xfrm>
            <a:off x="7349536" y="2586755"/>
            <a:ext cx="421784" cy="582717"/>
            <a:chOff x="2418855" y="2964540"/>
            <a:chExt cx="428873" cy="582717"/>
          </a:xfrm>
        </p:grpSpPr>
        <p:sp>
          <p:nvSpPr>
            <p:cNvPr id="250" name="AutoShape 46"/>
            <p:cNvSpPr>
              <a:spLocks noChangeAspect="1" noChangeArrowheads="1"/>
            </p:cNvSpPr>
            <p:nvPr/>
          </p:nvSpPr>
          <p:spPr bwMode="auto">
            <a:xfrm>
              <a:off x="2427125" y="3130390"/>
              <a:ext cx="413514" cy="410143"/>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51" name="Oval 47"/>
            <p:cNvSpPr>
              <a:spLocks noChangeAspect="1" noChangeArrowheads="1"/>
            </p:cNvSpPr>
            <p:nvPr/>
          </p:nvSpPr>
          <p:spPr bwMode="auto">
            <a:xfrm>
              <a:off x="2424762" y="2972384"/>
              <a:ext cx="415877" cy="397816"/>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52" name="Text Box 48"/>
            <p:cNvSpPr txBox="1">
              <a:spLocks noChangeAspect="1" noChangeArrowheads="1"/>
            </p:cNvSpPr>
            <p:nvPr/>
          </p:nvSpPr>
          <p:spPr bwMode="auto">
            <a:xfrm>
              <a:off x="2438940" y="3281673"/>
              <a:ext cx="386340" cy="25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a:solidFill>
                    <a:srgbClr val="8F3F7B"/>
                  </a:solidFill>
                  <a:latin typeface="+mn-lt"/>
                  <a:ea typeface="Segoe UI" panose="020B0502040204020203" pitchFamily="34" charset="0"/>
                  <a:cs typeface="Segoe UI" panose="020B0502040204020203" pitchFamily="34" charset="0"/>
                </a:rPr>
                <a:t>PCF</a:t>
              </a:r>
              <a:endParaRPr lang="en-US" altLang="en-US" sz="800">
                <a:solidFill>
                  <a:srgbClr val="8F3F7B"/>
                </a:solidFill>
                <a:latin typeface="+mn-lt"/>
                <a:ea typeface="Segoe UI" panose="020B0502040204020203" pitchFamily="34" charset="0"/>
                <a:cs typeface="Segoe UI" panose="020B0502040204020203" pitchFamily="34" charset="0"/>
              </a:endParaRPr>
            </a:p>
          </p:txBody>
        </p:sp>
        <p:sp>
          <p:nvSpPr>
            <p:cNvPr id="253" name="Rectangle 49"/>
            <p:cNvSpPr>
              <a:spLocks noChangeAspect="1" noChangeArrowheads="1"/>
            </p:cNvSpPr>
            <p:nvPr/>
          </p:nvSpPr>
          <p:spPr bwMode="auto">
            <a:xfrm>
              <a:off x="2418855" y="2964540"/>
              <a:ext cx="428873" cy="58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54" name="Freeform 11"/>
            <p:cNvSpPr>
              <a:spLocks noChangeAspect="1" noEditPoints="1"/>
            </p:cNvSpPr>
            <p:nvPr/>
          </p:nvSpPr>
          <p:spPr bwMode="auto">
            <a:xfrm>
              <a:off x="2418855" y="2964540"/>
              <a:ext cx="428873" cy="582717"/>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cxnSp>
        <p:nvCxnSpPr>
          <p:cNvPr id="255" name="Straight Connector 248"/>
          <p:cNvCxnSpPr>
            <a:cxnSpLocks noChangeShapeType="1"/>
          </p:cNvCxnSpPr>
          <p:nvPr/>
        </p:nvCxnSpPr>
        <p:spPr bwMode="auto">
          <a:xfrm>
            <a:off x="2276991" y="4144353"/>
            <a:ext cx="1800878" cy="951994"/>
          </a:xfrm>
          <a:prstGeom prst="line">
            <a:avLst/>
          </a:prstGeom>
          <a:noFill/>
          <a:ln w="12700">
            <a:solidFill>
              <a:schemeClr val="tx1"/>
            </a:solidFill>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cxnSp>
        <p:nvCxnSpPr>
          <p:cNvPr id="256" name="Straight Connector 248"/>
          <p:cNvCxnSpPr>
            <a:cxnSpLocks noChangeShapeType="1"/>
          </p:cNvCxnSpPr>
          <p:nvPr/>
        </p:nvCxnSpPr>
        <p:spPr bwMode="auto">
          <a:xfrm>
            <a:off x="2254625" y="2899618"/>
            <a:ext cx="1891141" cy="2036521"/>
          </a:xfrm>
          <a:prstGeom prst="line">
            <a:avLst/>
          </a:prstGeom>
          <a:noFill/>
          <a:ln w="12700">
            <a:solidFill>
              <a:schemeClr val="tx1"/>
            </a:solidFill>
            <a:prstDash val="dash"/>
            <a:round/>
            <a:headEnd/>
            <a:tailEnd/>
          </a:ln>
          <a:effectLst>
            <a:glow rad="63500">
              <a:schemeClr val="accent3">
                <a:satMod val="175000"/>
                <a:alpha val="40000"/>
              </a:schemeClr>
            </a:glow>
          </a:effectLst>
          <a:extLst>
            <a:ext uri="{909E8E84-426E-40DD-AFC4-6F175D3DCCD1}">
              <a14:hiddenFill xmlns:a14="http://schemas.microsoft.com/office/drawing/2010/main">
                <a:noFill/>
              </a14:hiddenFill>
            </a:ext>
          </a:extLst>
        </p:spPr>
      </p:cxnSp>
      <p:cxnSp>
        <p:nvCxnSpPr>
          <p:cNvPr id="257" name="Straight Connector 256"/>
          <p:cNvCxnSpPr>
            <a:cxnSpLocks/>
          </p:cNvCxnSpPr>
          <p:nvPr/>
        </p:nvCxnSpPr>
        <p:spPr bwMode="auto">
          <a:xfrm>
            <a:off x="5795217" y="3173235"/>
            <a:ext cx="527229" cy="215662"/>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58" name="Straight Connector 257"/>
          <p:cNvCxnSpPr>
            <a:cxnSpLocks/>
          </p:cNvCxnSpPr>
          <p:nvPr/>
        </p:nvCxnSpPr>
        <p:spPr bwMode="auto">
          <a:xfrm>
            <a:off x="5683630" y="3162748"/>
            <a:ext cx="1" cy="256663"/>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59" name="Straight Connector 258"/>
          <p:cNvCxnSpPr>
            <a:cxnSpLocks/>
          </p:cNvCxnSpPr>
          <p:nvPr/>
        </p:nvCxnSpPr>
        <p:spPr bwMode="auto">
          <a:xfrm flipH="1">
            <a:off x="5866850" y="3821939"/>
            <a:ext cx="1701569"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260" name="Group 557"/>
          <p:cNvGrpSpPr>
            <a:grpSpLocks noChangeAspect="1"/>
          </p:cNvGrpSpPr>
          <p:nvPr/>
        </p:nvGrpSpPr>
        <p:grpSpPr bwMode="auto">
          <a:xfrm>
            <a:off x="6178265" y="3380955"/>
            <a:ext cx="428873" cy="589941"/>
            <a:chOff x="3510" y="1858"/>
            <a:chExt cx="363" cy="520"/>
          </a:xfrm>
        </p:grpSpPr>
        <p:sp>
          <p:nvSpPr>
            <p:cNvPr id="261"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262"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263"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None/>
              </a:pPr>
              <a:r>
                <a:rPr lang="en-US" altLang="en-US" sz="1000">
                  <a:solidFill>
                    <a:srgbClr val="8F3F7B"/>
                  </a:solidFill>
                  <a:ea typeface="MS PGothic" pitchFamily="34" charset="-128"/>
                </a:rPr>
                <a:t>SMF</a:t>
              </a:r>
            </a:p>
          </p:txBody>
        </p:sp>
        <p:sp>
          <p:nvSpPr>
            <p:cNvPr id="264"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265"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266" name="Group 557"/>
          <p:cNvGrpSpPr>
            <a:grpSpLocks noChangeAspect="1"/>
          </p:cNvGrpSpPr>
          <p:nvPr/>
        </p:nvGrpSpPr>
        <p:grpSpPr bwMode="auto">
          <a:xfrm>
            <a:off x="5488127" y="3392986"/>
            <a:ext cx="420805" cy="577910"/>
            <a:chOff x="3510" y="1858"/>
            <a:chExt cx="363" cy="520"/>
          </a:xfrm>
        </p:grpSpPr>
        <p:sp>
          <p:nvSpPr>
            <p:cNvPr id="267"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268"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269"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None/>
              </a:pPr>
              <a:r>
                <a:rPr lang="en-US" altLang="en-US" sz="1000">
                  <a:solidFill>
                    <a:srgbClr val="8F3F7B"/>
                  </a:solidFill>
                  <a:ea typeface="MS PGothic" pitchFamily="34" charset="-128"/>
                </a:rPr>
                <a:t>AMF</a:t>
              </a:r>
            </a:p>
          </p:txBody>
        </p:sp>
        <p:sp>
          <p:nvSpPr>
            <p:cNvPr id="270"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271"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cxnSp>
        <p:nvCxnSpPr>
          <p:cNvPr id="272" name="Straight Connector 271"/>
          <p:cNvCxnSpPr>
            <a:cxnSpLocks/>
          </p:cNvCxnSpPr>
          <p:nvPr/>
        </p:nvCxnSpPr>
        <p:spPr bwMode="auto">
          <a:xfrm flipV="1">
            <a:off x="5842491" y="3054463"/>
            <a:ext cx="985364" cy="412427"/>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73" name="Straight Connector 272"/>
          <p:cNvCxnSpPr>
            <a:cxnSpLocks/>
          </p:cNvCxnSpPr>
          <p:nvPr/>
        </p:nvCxnSpPr>
        <p:spPr bwMode="auto">
          <a:xfrm flipV="1">
            <a:off x="6827855" y="3054463"/>
            <a:ext cx="521681" cy="1"/>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91" name="Straight Connector 290"/>
          <p:cNvCxnSpPr>
            <a:cxnSpLocks/>
          </p:cNvCxnSpPr>
          <p:nvPr/>
        </p:nvCxnSpPr>
        <p:spPr bwMode="auto">
          <a:xfrm flipH="1">
            <a:off x="7960036" y="4972522"/>
            <a:ext cx="1555927"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292" name="Straight Connector 291"/>
          <p:cNvCxnSpPr>
            <a:cxnSpLocks/>
          </p:cNvCxnSpPr>
          <p:nvPr/>
        </p:nvCxnSpPr>
        <p:spPr bwMode="auto">
          <a:xfrm flipH="1">
            <a:off x="7998444" y="6325020"/>
            <a:ext cx="1541918"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293" name="Group 292"/>
          <p:cNvGrpSpPr/>
          <p:nvPr/>
        </p:nvGrpSpPr>
        <p:grpSpPr>
          <a:xfrm>
            <a:off x="6567249" y="4641478"/>
            <a:ext cx="421784" cy="582717"/>
            <a:chOff x="2418855" y="2964540"/>
            <a:chExt cx="428873" cy="582717"/>
          </a:xfrm>
        </p:grpSpPr>
        <p:sp>
          <p:nvSpPr>
            <p:cNvPr id="294" name="AutoShape 46"/>
            <p:cNvSpPr>
              <a:spLocks noChangeAspect="1" noChangeArrowheads="1"/>
            </p:cNvSpPr>
            <p:nvPr/>
          </p:nvSpPr>
          <p:spPr bwMode="auto">
            <a:xfrm>
              <a:off x="2427125" y="3130390"/>
              <a:ext cx="413514" cy="410143"/>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95" name="Oval 47"/>
            <p:cNvSpPr>
              <a:spLocks noChangeAspect="1" noChangeArrowheads="1"/>
            </p:cNvSpPr>
            <p:nvPr/>
          </p:nvSpPr>
          <p:spPr bwMode="auto">
            <a:xfrm>
              <a:off x="2424762" y="2972384"/>
              <a:ext cx="415877" cy="397816"/>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96" name="Text Box 48"/>
            <p:cNvSpPr txBox="1">
              <a:spLocks noChangeAspect="1" noChangeArrowheads="1"/>
            </p:cNvSpPr>
            <p:nvPr/>
          </p:nvSpPr>
          <p:spPr bwMode="auto">
            <a:xfrm>
              <a:off x="2438940" y="3281673"/>
              <a:ext cx="386340" cy="25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a:solidFill>
                    <a:srgbClr val="8F3F7B"/>
                  </a:solidFill>
                  <a:latin typeface="+mn-lt"/>
                  <a:ea typeface="Segoe UI" panose="020B0502040204020203" pitchFamily="34" charset="0"/>
                  <a:cs typeface="Segoe UI" panose="020B0502040204020203" pitchFamily="34" charset="0"/>
                </a:rPr>
                <a:t>PCF</a:t>
              </a:r>
              <a:endParaRPr lang="en-US" altLang="en-US" sz="800">
                <a:solidFill>
                  <a:srgbClr val="8F3F7B"/>
                </a:solidFill>
                <a:latin typeface="+mn-lt"/>
                <a:ea typeface="Segoe UI" panose="020B0502040204020203" pitchFamily="34" charset="0"/>
                <a:cs typeface="Segoe UI" panose="020B0502040204020203" pitchFamily="34" charset="0"/>
              </a:endParaRPr>
            </a:p>
          </p:txBody>
        </p:sp>
        <p:sp>
          <p:nvSpPr>
            <p:cNvPr id="297" name="Rectangle 49"/>
            <p:cNvSpPr>
              <a:spLocks noChangeAspect="1" noChangeArrowheads="1"/>
            </p:cNvSpPr>
            <p:nvPr/>
          </p:nvSpPr>
          <p:spPr bwMode="auto">
            <a:xfrm>
              <a:off x="2418855" y="2964540"/>
              <a:ext cx="428873" cy="58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298" name="Freeform 11"/>
            <p:cNvSpPr>
              <a:spLocks noChangeAspect="1" noEditPoints="1"/>
            </p:cNvSpPr>
            <p:nvPr/>
          </p:nvSpPr>
          <p:spPr bwMode="auto">
            <a:xfrm>
              <a:off x="2418855" y="2964540"/>
              <a:ext cx="428873" cy="582717"/>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cxnSp>
        <p:nvCxnSpPr>
          <p:cNvPr id="299" name="Straight Connector 298"/>
          <p:cNvCxnSpPr>
            <a:cxnSpLocks/>
          </p:cNvCxnSpPr>
          <p:nvPr/>
        </p:nvCxnSpPr>
        <p:spPr bwMode="auto">
          <a:xfrm flipH="1">
            <a:off x="8252350" y="6217724"/>
            <a:ext cx="735670"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300" name="Straight Connector 299"/>
          <p:cNvCxnSpPr>
            <a:cxnSpLocks/>
            <a:endCxn id="295" idx="6"/>
          </p:cNvCxnSpPr>
          <p:nvPr/>
        </p:nvCxnSpPr>
        <p:spPr bwMode="auto">
          <a:xfrm flipH="1" flipV="1">
            <a:off x="6982061" y="4848230"/>
            <a:ext cx="858166" cy="2476"/>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301" name="Group 300"/>
          <p:cNvGrpSpPr/>
          <p:nvPr/>
        </p:nvGrpSpPr>
        <p:grpSpPr>
          <a:xfrm>
            <a:off x="1859149" y="3682324"/>
            <a:ext cx="417842" cy="574873"/>
            <a:chOff x="1690243" y="3902109"/>
            <a:chExt cx="465198" cy="666000"/>
          </a:xfrm>
        </p:grpSpPr>
        <p:sp>
          <p:nvSpPr>
            <p:cNvPr id="302" name="AutoShape 802"/>
            <p:cNvSpPr>
              <a:spLocks noChangeArrowheads="1"/>
            </p:cNvSpPr>
            <p:nvPr/>
          </p:nvSpPr>
          <p:spPr bwMode="auto">
            <a:xfrm>
              <a:off x="1699214" y="4091663"/>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303" name="Oval 803"/>
            <p:cNvSpPr>
              <a:spLocks noChangeArrowheads="1"/>
            </p:cNvSpPr>
            <p:nvPr/>
          </p:nvSpPr>
          <p:spPr bwMode="auto">
            <a:xfrm>
              <a:off x="1696651" y="3911074"/>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304" name="Text Box 804"/>
            <p:cNvSpPr txBox="1">
              <a:spLocks noChangeArrowheads="1"/>
            </p:cNvSpPr>
            <p:nvPr/>
          </p:nvSpPr>
          <p:spPr bwMode="auto">
            <a:xfrm>
              <a:off x="1712029" y="4264567"/>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900">
                  <a:solidFill>
                    <a:srgbClr val="00285F"/>
                  </a:solidFill>
                  <a:latin typeface="+mn-lt"/>
                  <a:ea typeface="Segoe UI" panose="020B0502040204020203" pitchFamily="34" charset="0"/>
                  <a:cs typeface="Segoe UI" panose="020B0502040204020203" pitchFamily="34" charset="0"/>
                </a:rPr>
                <a:t>Device</a:t>
              </a:r>
            </a:p>
          </p:txBody>
        </p:sp>
        <p:sp>
          <p:nvSpPr>
            <p:cNvPr id="305" name="Rectangle 805"/>
            <p:cNvSpPr>
              <a:spLocks noChangeArrowheads="1"/>
            </p:cNvSpPr>
            <p:nvPr/>
          </p:nvSpPr>
          <p:spPr bwMode="auto">
            <a:xfrm>
              <a:off x="1690243" y="3902109"/>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58585A"/>
                </a:solidFill>
              </a:endParaRPr>
            </a:p>
          </p:txBody>
        </p:sp>
        <p:sp>
          <p:nvSpPr>
            <p:cNvPr id="306" name="Freeform 16"/>
            <p:cNvSpPr>
              <a:spLocks noEditPoints="1"/>
            </p:cNvSpPr>
            <p:nvPr/>
          </p:nvSpPr>
          <p:spPr bwMode="auto">
            <a:xfrm>
              <a:off x="1690243" y="3902109"/>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rgbClr val="002060"/>
            </a:solidFill>
            <a:ln>
              <a:noFill/>
            </a:ln>
            <a:extLst/>
          </p:spPr>
          <p:txBody>
            <a:bodyPr tIns="1080000" anchor="ctr"/>
            <a:lstStyle/>
            <a:p>
              <a:endParaRPr lang="en-US">
                <a:solidFill>
                  <a:srgbClr val="58585A"/>
                </a:solidFill>
              </a:endParaRPr>
            </a:p>
          </p:txBody>
        </p:sp>
      </p:grpSp>
      <p:grpSp>
        <p:nvGrpSpPr>
          <p:cNvPr id="307" name="Group 306"/>
          <p:cNvGrpSpPr/>
          <p:nvPr/>
        </p:nvGrpSpPr>
        <p:grpSpPr>
          <a:xfrm>
            <a:off x="1878717" y="4884251"/>
            <a:ext cx="417842" cy="574873"/>
            <a:chOff x="1690243" y="3902109"/>
            <a:chExt cx="465198" cy="666000"/>
          </a:xfrm>
        </p:grpSpPr>
        <p:sp>
          <p:nvSpPr>
            <p:cNvPr id="308" name="AutoShape 802"/>
            <p:cNvSpPr>
              <a:spLocks noChangeArrowheads="1"/>
            </p:cNvSpPr>
            <p:nvPr/>
          </p:nvSpPr>
          <p:spPr bwMode="auto">
            <a:xfrm>
              <a:off x="1699214" y="4091663"/>
              <a:ext cx="448538" cy="468762"/>
            </a:xfrm>
            <a:prstGeom prst="roundRect">
              <a:avLst>
                <a:gd name="adj" fmla="val 9356"/>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309" name="Oval 803"/>
            <p:cNvSpPr>
              <a:spLocks noChangeArrowheads="1"/>
            </p:cNvSpPr>
            <p:nvPr/>
          </p:nvSpPr>
          <p:spPr bwMode="auto">
            <a:xfrm>
              <a:off x="1696651" y="3911074"/>
              <a:ext cx="451101" cy="454673"/>
            </a:xfrm>
            <a:prstGeom prst="ellipse">
              <a:avLst/>
            </a:prstGeom>
            <a:solidFill>
              <a:schemeClr val="bg1"/>
            </a:solidFill>
            <a:ln w="12700"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nchor="ctr"/>
            <a:lstStyle/>
            <a:p>
              <a:endParaRPr lang="en-US">
                <a:solidFill>
                  <a:srgbClr val="58585A"/>
                </a:solidFill>
              </a:endParaRPr>
            </a:p>
          </p:txBody>
        </p:sp>
        <p:sp>
          <p:nvSpPr>
            <p:cNvPr id="310" name="Text Box 804"/>
            <p:cNvSpPr txBox="1">
              <a:spLocks noChangeArrowheads="1"/>
            </p:cNvSpPr>
            <p:nvPr/>
          </p:nvSpPr>
          <p:spPr bwMode="auto">
            <a:xfrm>
              <a:off x="1712029" y="4264567"/>
              <a:ext cx="419063" cy="288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lvl1pPr eaLnBrk="0" hangingPunct="0">
                <a:defRPr sz="2000">
                  <a:solidFill>
                    <a:schemeClr val="tx1"/>
                  </a:solidFill>
                  <a:latin typeface="Arial" charset="0"/>
                  <a:cs typeface="Arial" charset="0"/>
                </a:defRPr>
              </a:lvl1pPr>
              <a:lvl2pPr marL="742950" indent="-285750" eaLnBrk="0" hangingPunct="0">
                <a:defRPr sz="2000">
                  <a:solidFill>
                    <a:schemeClr val="tx1"/>
                  </a:solidFill>
                  <a:latin typeface="Arial" charset="0"/>
                  <a:cs typeface="Arial" charset="0"/>
                </a:defRPr>
              </a:lvl2pPr>
              <a:lvl3pPr marL="1143000" indent="-228600" eaLnBrk="0" hangingPunct="0">
                <a:defRPr sz="2000">
                  <a:solidFill>
                    <a:schemeClr val="tx1"/>
                  </a:solidFill>
                  <a:latin typeface="Arial" charset="0"/>
                  <a:cs typeface="Arial" charset="0"/>
                </a:defRPr>
              </a:lvl3pPr>
              <a:lvl4pPr marL="1600200" indent="-228600" eaLnBrk="0" hangingPunct="0">
                <a:defRPr sz="2000">
                  <a:solidFill>
                    <a:schemeClr val="tx1"/>
                  </a:solidFill>
                  <a:latin typeface="Arial" charset="0"/>
                  <a:cs typeface="Arial" charset="0"/>
                </a:defRPr>
              </a:lvl4pPr>
              <a:lvl5pPr marL="2057400" indent="-228600" eaLnBrk="0" hangingPunct="0">
                <a:defRPr sz="2000">
                  <a:solidFill>
                    <a:schemeClr val="tx1"/>
                  </a:solidFill>
                  <a:latin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cs typeface="Arial" charset="0"/>
                </a:defRPr>
              </a:lvl9pPr>
            </a:lstStyle>
            <a:p>
              <a:pPr algn="ctr" eaLnBrk="1" hangingPunct="1">
                <a:lnSpc>
                  <a:spcPct val="80000"/>
                </a:lnSpc>
              </a:pPr>
              <a:r>
                <a:rPr lang="en-US" sz="900">
                  <a:solidFill>
                    <a:srgbClr val="58585A"/>
                  </a:solidFill>
                  <a:latin typeface="+mn-lt"/>
                  <a:ea typeface="Segoe UI" panose="020B0502040204020203" pitchFamily="34" charset="0"/>
                  <a:cs typeface="Segoe UI" panose="020B0502040204020203" pitchFamily="34" charset="0"/>
                </a:rPr>
                <a:t>Device</a:t>
              </a:r>
            </a:p>
          </p:txBody>
        </p:sp>
        <p:sp>
          <p:nvSpPr>
            <p:cNvPr id="311" name="Rectangle 805"/>
            <p:cNvSpPr>
              <a:spLocks noChangeArrowheads="1"/>
            </p:cNvSpPr>
            <p:nvPr/>
          </p:nvSpPr>
          <p:spPr bwMode="auto">
            <a:xfrm>
              <a:off x="1690243" y="3902109"/>
              <a:ext cx="465198" cy="66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rIns="72000" anchor="ctr"/>
            <a:lstStyle/>
            <a:p>
              <a:endParaRPr lang="en-US">
                <a:solidFill>
                  <a:srgbClr val="58585A"/>
                </a:solidFill>
              </a:endParaRPr>
            </a:p>
          </p:txBody>
        </p:sp>
        <p:sp>
          <p:nvSpPr>
            <p:cNvPr id="312" name="Freeform 16"/>
            <p:cNvSpPr>
              <a:spLocks noEditPoints="1"/>
            </p:cNvSpPr>
            <p:nvPr/>
          </p:nvSpPr>
          <p:spPr bwMode="auto">
            <a:xfrm>
              <a:off x="1690243" y="3902109"/>
              <a:ext cx="465198" cy="666000"/>
            </a:xfrm>
            <a:custGeom>
              <a:avLst/>
              <a:gdLst>
                <a:gd name="T0" fmla="*/ 1716945 w 410"/>
                <a:gd name="T1" fmla="*/ 960066 h 589"/>
                <a:gd name="T2" fmla="*/ 1682776 w 410"/>
                <a:gd name="T3" fmla="*/ 993606 h 589"/>
                <a:gd name="T4" fmla="*/ 1682776 w 410"/>
                <a:gd name="T5" fmla="*/ 2301644 h 589"/>
                <a:gd name="T6" fmla="*/ 1580272 w 410"/>
                <a:gd name="T7" fmla="*/ 2402261 h 589"/>
                <a:gd name="T8" fmla="*/ 170840 w 410"/>
                <a:gd name="T9" fmla="*/ 2402261 h 589"/>
                <a:gd name="T10" fmla="*/ 68336 w 410"/>
                <a:gd name="T11" fmla="*/ 2301644 h 589"/>
                <a:gd name="T12" fmla="*/ 68336 w 410"/>
                <a:gd name="T13" fmla="*/ 859448 h 589"/>
                <a:gd name="T14" fmla="*/ 875557 w 410"/>
                <a:gd name="T15" fmla="*/ 67078 h 589"/>
                <a:gd name="T16" fmla="*/ 1682776 w 410"/>
                <a:gd name="T17" fmla="*/ 859448 h 589"/>
                <a:gd name="T18" fmla="*/ 1716945 w 410"/>
                <a:gd name="T19" fmla="*/ 892987 h 589"/>
                <a:gd name="T20" fmla="*/ 1751111 w 410"/>
                <a:gd name="T21" fmla="*/ 859448 h 589"/>
                <a:gd name="T22" fmla="*/ 1751111 w 410"/>
                <a:gd name="T23" fmla="*/ 859448 h 589"/>
                <a:gd name="T24" fmla="*/ 875557 w 410"/>
                <a:gd name="T25" fmla="*/ 0 h 589"/>
                <a:gd name="T26" fmla="*/ 0 w 410"/>
                <a:gd name="T27" fmla="*/ 859448 h 589"/>
                <a:gd name="T28" fmla="*/ 0 w 410"/>
                <a:gd name="T29" fmla="*/ 2301644 h 589"/>
                <a:gd name="T30" fmla="*/ 170840 w 410"/>
                <a:gd name="T31" fmla="*/ 2469341 h 589"/>
                <a:gd name="T32" fmla="*/ 1580272 w 410"/>
                <a:gd name="T33" fmla="*/ 2469341 h 589"/>
                <a:gd name="T34" fmla="*/ 1751111 w 410"/>
                <a:gd name="T35" fmla="*/ 2301644 h 589"/>
                <a:gd name="T36" fmla="*/ 1751111 w 410"/>
                <a:gd name="T37" fmla="*/ 993606 h 589"/>
                <a:gd name="T38" fmla="*/ 1716945 w 410"/>
                <a:gd name="T39" fmla="*/ 960066 h 589"/>
                <a:gd name="T40" fmla="*/ 1353908 w 410"/>
                <a:gd name="T41" fmla="*/ 352164 h 589"/>
                <a:gd name="T42" fmla="*/ 397204 w 410"/>
                <a:gd name="T43" fmla="*/ 352164 h 589"/>
                <a:gd name="T44" fmla="*/ 371577 w 410"/>
                <a:gd name="T45" fmla="*/ 368933 h 589"/>
                <a:gd name="T46" fmla="*/ 367306 w 410"/>
                <a:gd name="T47" fmla="*/ 402473 h 589"/>
                <a:gd name="T48" fmla="*/ 845658 w 410"/>
                <a:gd name="T49" fmla="*/ 1245151 h 589"/>
                <a:gd name="T50" fmla="*/ 875557 w 410"/>
                <a:gd name="T51" fmla="*/ 1261922 h 589"/>
                <a:gd name="T52" fmla="*/ 905453 w 410"/>
                <a:gd name="T53" fmla="*/ 1245151 h 589"/>
                <a:gd name="T54" fmla="*/ 1383806 w 410"/>
                <a:gd name="T55" fmla="*/ 402473 h 589"/>
                <a:gd name="T56" fmla="*/ 1383806 w 410"/>
                <a:gd name="T57" fmla="*/ 368933 h 589"/>
                <a:gd name="T58" fmla="*/ 1353908 w 410"/>
                <a:gd name="T59" fmla="*/ 352164 h 589"/>
                <a:gd name="T60" fmla="*/ 875557 w 410"/>
                <a:gd name="T61" fmla="*/ 1157110 h 589"/>
                <a:gd name="T62" fmla="*/ 456998 w 410"/>
                <a:gd name="T63" fmla="*/ 419244 h 589"/>
                <a:gd name="T64" fmla="*/ 1294115 w 410"/>
                <a:gd name="T65" fmla="*/ 419244 h 589"/>
                <a:gd name="T66" fmla="*/ 875557 w 410"/>
                <a:gd name="T67" fmla="*/ 1157110 h 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10"/>
                <a:gd name="T103" fmla="*/ 0 h 589"/>
                <a:gd name="T104" fmla="*/ 410 w 410"/>
                <a:gd name="T105" fmla="*/ 589 h 5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10" h="589">
                  <a:moveTo>
                    <a:pt x="402" y="229"/>
                  </a:moveTo>
                  <a:cubicBezTo>
                    <a:pt x="397" y="229"/>
                    <a:pt x="394" y="233"/>
                    <a:pt x="394" y="237"/>
                  </a:cubicBezTo>
                  <a:cubicBezTo>
                    <a:pt x="394" y="549"/>
                    <a:pt x="394" y="549"/>
                    <a:pt x="394" y="549"/>
                  </a:cubicBezTo>
                  <a:cubicBezTo>
                    <a:pt x="394" y="562"/>
                    <a:pt x="383" y="573"/>
                    <a:pt x="370" y="573"/>
                  </a:cubicBezTo>
                  <a:cubicBezTo>
                    <a:pt x="40" y="573"/>
                    <a:pt x="40" y="573"/>
                    <a:pt x="40" y="573"/>
                  </a:cubicBezTo>
                  <a:cubicBezTo>
                    <a:pt x="27" y="573"/>
                    <a:pt x="17" y="562"/>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549"/>
                    <a:pt x="0" y="549"/>
                    <a:pt x="0" y="549"/>
                  </a:cubicBezTo>
                  <a:cubicBezTo>
                    <a:pt x="0" y="571"/>
                    <a:pt x="18" y="589"/>
                    <a:pt x="40"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close/>
                  <a:moveTo>
                    <a:pt x="317" y="84"/>
                  </a:moveTo>
                  <a:cubicBezTo>
                    <a:pt x="93" y="84"/>
                    <a:pt x="93" y="84"/>
                    <a:pt x="93" y="84"/>
                  </a:cubicBezTo>
                  <a:cubicBezTo>
                    <a:pt x="91" y="84"/>
                    <a:pt x="88" y="86"/>
                    <a:pt x="87" y="88"/>
                  </a:cubicBezTo>
                  <a:cubicBezTo>
                    <a:pt x="85" y="90"/>
                    <a:pt x="85" y="93"/>
                    <a:pt x="86" y="96"/>
                  </a:cubicBezTo>
                  <a:cubicBezTo>
                    <a:pt x="198" y="297"/>
                    <a:pt x="198" y="297"/>
                    <a:pt x="198" y="297"/>
                  </a:cubicBezTo>
                  <a:cubicBezTo>
                    <a:pt x="200" y="299"/>
                    <a:pt x="202" y="301"/>
                    <a:pt x="205" y="301"/>
                  </a:cubicBezTo>
                  <a:cubicBezTo>
                    <a:pt x="208" y="301"/>
                    <a:pt x="211" y="299"/>
                    <a:pt x="212" y="297"/>
                  </a:cubicBezTo>
                  <a:cubicBezTo>
                    <a:pt x="324" y="96"/>
                    <a:pt x="324" y="96"/>
                    <a:pt x="324" y="96"/>
                  </a:cubicBezTo>
                  <a:cubicBezTo>
                    <a:pt x="325" y="93"/>
                    <a:pt x="325" y="90"/>
                    <a:pt x="324" y="88"/>
                  </a:cubicBezTo>
                  <a:cubicBezTo>
                    <a:pt x="322" y="86"/>
                    <a:pt x="320" y="84"/>
                    <a:pt x="317" y="84"/>
                  </a:cubicBezTo>
                  <a:close/>
                  <a:moveTo>
                    <a:pt x="205" y="276"/>
                  </a:moveTo>
                  <a:cubicBezTo>
                    <a:pt x="107" y="100"/>
                    <a:pt x="107" y="100"/>
                    <a:pt x="107" y="100"/>
                  </a:cubicBezTo>
                  <a:cubicBezTo>
                    <a:pt x="303" y="100"/>
                    <a:pt x="303" y="100"/>
                    <a:pt x="303" y="100"/>
                  </a:cubicBezTo>
                  <a:lnTo>
                    <a:pt x="205" y="276"/>
                  </a:lnTo>
                  <a:close/>
                </a:path>
              </a:pathLst>
            </a:custGeom>
            <a:solidFill>
              <a:schemeClr val="tx1"/>
            </a:solidFill>
            <a:ln>
              <a:noFill/>
            </a:ln>
            <a:extLst/>
          </p:spPr>
          <p:txBody>
            <a:bodyPr tIns="1080000" anchor="ctr"/>
            <a:lstStyle/>
            <a:p>
              <a:endParaRPr lang="en-US">
                <a:solidFill>
                  <a:srgbClr val="58585A"/>
                </a:solidFill>
              </a:endParaRPr>
            </a:p>
          </p:txBody>
        </p:sp>
      </p:grpSp>
      <p:grpSp>
        <p:nvGrpSpPr>
          <p:cNvPr id="313" name="Group 264"/>
          <p:cNvGrpSpPr>
            <a:grpSpLocks noChangeAspect="1"/>
          </p:cNvGrpSpPr>
          <p:nvPr/>
        </p:nvGrpSpPr>
        <p:grpSpPr bwMode="auto">
          <a:xfrm>
            <a:off x="9515963" y="4663735"/>
            <a:ext cx="433579" cy="581945"/>
            <a:chOff x="644" y="2384"/>
            <a:chExt cx="366" cy="520"/>
          </a:xfrm>
        </p:grpSpPr>
        <p:sp>
          <p:nvSpPr>
            <p:cNvPr id="314" name="AutoShape 142"/>
            <p:cNvSpPr>
              <a:spLocks noChangeAspect="1" noChangeArrowheads="1"/>
            </p:cNvSpPr>
            <p:nvPr/>
          </p:nvSpPr>
          <p:spPr bwMode="auto">
            <a:xfrm>
              <a:off x="651" y="2532"/>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315" name="Oval 143"/>
            <p:cNvSpPr>
              <a:spLocks noChangeAspect="1" noChangeArrowheads="1"/>
            </p:cNvSpPr>
            <p:nvPr/>
          </p:nvSpPr>
          <p:spPr bwMode="auto">
            <a:xfrm>
              <a:off x="649" y="2391"/>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316" name="Text Box 144"/>
            <p:cNvSpPr txBox="1">
              <a:spLocks noChangeAspect="1" noChangeArrowheads="1"/>
            </p:cNvSpPr>
            <p:nvPr/>
          </p:nvSpPr>
          <p:spPr bwMode="auto">
            <a:xfrm>
              <a:off x="644" y="2713"/>
              <a:ext cx="366"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ctr">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a:solidFill>
                    <a:srgbClr val="8F3F7B"/>
                  </a:solidFill>
                  <a:latin typeface="+mn-lt"/>
                  <a:ea typeface="Segoe UI" panose="020B0502040204020203" pitchFamily="34" charset="0"/>
                  <a:cs typeface="Segoe UI" panose="020B0502040204020203" pitchFamily="34" charset="0"/>
                </a:rPr>
                <a:t>UPF</a:t>
              </a:r>
              <a:endParaRPr lang="en-US" altLang="en-US" sz="900">
                <a:solidFill>
                  <a:srgbClr val="8F3F7B"/>
                </a:solidFill>
                <a:latin typeface="+mn-lt"/>
                <a:ea typeface="Segoe UI" panose="020B0502040204020203" pitchFamily="34" charset="0"/>
                <a:cs typeface="Segoe UI" panose="020B0502040204020203" pitchFamily="34" charset="0"/>
              </a:endParaRPr>
            </a:p>
          </p:txBody>
        </p:sp>
        <p:sp>
          <p:nvSpPr>
            <p:cNvPr id="317" name="Rectangle 145"/>
            <p:cNvSpPr>
              <a:spLocks noChangeAspect="1" noChangeArrowheads="1"/>
            </p:cNvSpPr>
            <p:nvPr/>
          </p:nvSpPr>
          <p:spPr bwMode="auto">
            <a:xfrm>
              <a:off x="644" y="2384"/>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318" name="Freeform 11"/>
            <p:cNvSpPr>
              <a:spLocks noChangeAspect="1" noEditPoints="1"/>
            </p:cNvSpPr>
            <p:nvPr/>
          </p:nvSpPr>
          <p:spPr bwMode="auto">
            <a:xfrm>
              <a:off x="644" y="2384"/>
              <a:ext cx="363" cy="519"/>
            </a:xfrm>
            <a:custGeom>
              <a:avLst/>
              <a:gdLst>
                <a:gd name="T0" fmla="*/ 8960 w 410"/>
                <a:gd name="T1" fmla="*/ 4267 h 589"/>
                <a:gd name="T2" fmla="*/ 8414 w 410"/>
                <a:gd name="T3" fmla="*/ 10315 h 589"/>
                <a:gd name="T4" fmla="*/ 363 w 410"/>
                <a:gd name="T5" fmla="*/ 9882 h 589"/>
                <a:gd name="T6" fmla="*/ 4661 w 410"/>
                <a:gd name="T7" fmla="*/ 289 h 589"/>
                <a:gd name="T8" fmla="*/ 9141 w 410"/>
                <a:gd name="T9" fmla="*/ 3834 h 589"/>
                <a:gd name="T10" fmla="*/ 9324 w 410"/>
                <a:gd name="T11" fmla="*/ 3690 h 589"/>
                <a:gd name="T12" fmla="*/ 0 w 410"/>
                <a:gd name="T13" fmla="*/ 3690 h 589"/>
                <a:gd name="T14" fmla="*/ 23 w 410"/>
                <a:gd name="T15" fmla="*/ 9882 h 589"/>
                <a:gd name="T16" fmla="*/ 8414 w 410"/>
                <a:gd name="T17" fmla="*/ 10603 h 589"/>
                <a:gd name="T18" fmla="*/ 9324 w 410"/>
                <a:gd name="T19" fmla="*/ 4267 h 589"/>
                <a:gd name="T20" fmla="*/ 7527 w 410"/>
                <a:gd name="T21" fmla="*/ 2881 h 589"/>
                <a:gd name="T22" fmla="*/ 6572 w 410"/>
                <a:gd name="T23" fmla="*/ 2340 h 589"/>
                <a:gd name="T24" fmla="*/ 6959 w 410"/>
                <a:gd name="T25" fmla="*/ 2844 h 589"/>
                <a:gd name="T26" fmla="*/ 3503 w 410"/>
                <a:gd name="T27" fmla="*/ 2988 h 589"/>
                <a:gd name="T28" fmla="*/ 6936 w 410"/>
                <a:gd name="T29" fmla="*/ 3133 h 589"/>
                <a:gd name="T30" fmla="*/ 6572 w 410"/>
                <a:gd name="T31" fmla="*/ 3636 h 589"/>
                <a:gd name="T32" fmla="*/ 6821 w 410"/>
                <a:gd name="T33" fmla="*/ 3636 h 589"/>
                <a:gd name="T34" fmla="*/ 7527 w 410"/>
                <a:gd name="T35" fmla="*/ 2881 h 589"/>
                <a:gd name="T36" fmla="*/ 2502 w 410"/>
                <a:gd name="T37" fmla="*/ 1476 h 589"/>
                <a:gd name="T38" fmla="*/ 2775 w 410"/>
                <a:gd name="T39" fmla="*/ 1674 h 589"/>
                <a:gd name="T40" fmla="*/ 5640 w 410"/>
                <a:gd name="T41" fmla="*/ 1980 h 589"/>
                <a:gd name="T42" fmla="*/ 5640 w 410"/>
                <a:gd name="T43" fmla="*/ 2269 h 589"/>
                <a:gd name="T44" fmla="*/ 2775 w 410"/>
                <a:gd name="T45" fmla="*/ 2575 h 589"/>
                <a:gd name="T46" fmla="*/ 2638 w 410"/>
                <a:gd name="T47" fmla="*/ 2827 h 589"/>
                <a:gd name="T48" fmla="*/ 1819 w 410"/>
                <a:gd name="T49" fmla="*/ 2232 h 589"/>
                <a:gd name="T50" fmla="*/ 7504 w 410"/>
                <a:gd name="T51" fmla="*/ 4662 h 589"/>
                <a:gd name="T52" fmla="*/ 6548 w 410"/>
                <a:gd name="T53" fmla="*/ 4105 h 589"/>
                <a:gd name="T54" fmla="*/ 6936 w 410"/>
                <a:gd name="T55" fmla="*/ 4608 h 589"/>
                <a:gd name="T56" fmla="*/ 3480 w 410"/>
                <a:gd name="T57" fmla="*/ 4752 h 589"/>
                <a:gd name="T58" fmla="*/ 6936 w 410"/>
                <a:gd name="T59" fmla="*/ 4897 h 589"/>
                <a:gd name="T60" fmla="*/ 6548 w 410"/>
                <a:gd name="T61" fmla="*/ 5401 h 589"/>
                <a:gd name="T62" fmla="*/ 6821 w 410"/>
                <a:gd name="T63" fmla="*/ 5401 h 589"/>
                <a:gd name="T64" fmla="*/ 7504 w 410"/>
                <a:gd name="T65" fmla="*/ 4662 h 589"/>
                <a:gd name="T66" fmla="*/ 2502 w 410"/>
                <a:gd name="T67" fmla="*/ 3204 h 589"/>
                <a:gd name="T68" fmla="*/ 2775 w 410"/>
                <a:gd name="T69" fmla="*/ 3401 h 589"/>
                <a:gd name="T70" fmla="*/ 5640 w 410"/>
                <a:gd name="T71" fmla="*/ 3708 h 589"/>
                <a:gd name="T72" fmla="*/ 5640 w 410"/>
                <a:gd name="T73" fmla="*/ 3996 h 589"/>
                <a:gd name="T74" fmla="*/ 2775 w 410"/>
                <a:gd name="T75" fmla="*/ 4302 h 589"/>
                <a:gd name="T76" fmla="*/ 2638 w 410"/>
                <a:gd name="T77" fmla="*/ 4556 h 589"/>
                <a:gd name="T78" fmla="*/ 1819 w 410"/>
                <a:gd name="T79" fmla="*/ 3960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319" name="Group 264"/>
          <p:cNvGrpSpPr>
            <a:grpSpLocks noChangeAspect="1"/>
          </p:cNvGrpSpPr>
          <p:nvPr/>
        </p:nvGrpSpPr>
        <p:grpSpPr bwMode="auto">
          <a:xfrm>
            <a:off x="9524255" y="5918743"/>
            <a:ext cx="433579" cy="581945"/>
            <a:chOff x="644" y="2384"/>
            <a:chExt cx="366" cy="520"/>
          </a:xfrm>
        </p:grpSpPr>
        <p:sp>
          <p:nvSpPr>
            <p:cNvPr id="320" name="AutoShape 142"/>
            <p:cNvSpPr>
              <a:spLocks noChangeAspect="1" noChangeArrowheads="1"/>
            </p:cNvSpPr>
            <p:nvPr/>
          </p:nvSpPr>
          <p:spPr bwMode="auto">
            <a:xfrm>
              <a:off x="651" y="2532"/>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321" name="Oval 143"/>
            <p:cNvSpPr>
              <a:spLocks noChangeAspect="1" noChangeArrowheads="1"/>
            </p:cNvSpPr>
            <p:nvPr/>
          </p:nvSpPr>
          <p:spPr bwMode="auto">
            <a:xfrm>
              <a:off x="649" y="2391"/>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322" name="Text Box 144"/>
            <p:cNvSpPr txBox="1">
              <a:spLocks noChangeAspect="1" noChangeArrowheads="1"/>
            </p:cNvSpPr>
            <p:nvPr/>
          </p:nvSpPr>
          <p:spPr bwMode="auto">
            <a:xfrm>
              <a:off x="644" y="2713"/>
              <a:ext cx="366" cy="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0" tIns="0" rIns="0" bIns="0" anchor="ctr">
              <a:spAutoFit/>
            </a:bodyP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a:solidFill>
                    <a:srgbClr val="8F3F7B"/>
                  </a:solidFill>
                  <a:latin typeface="+mn-lt"/>
                  <a:ea typeface="Segoe UI" panose="020B0502040204020203" pitchFamily="34" charset="0"/>
                  <a:cs typeface="Segoe UI" panose="020B0502040204020203" pitchFamily="34" charset="0"/>
                </a:rPr>
                <a:t>UPF</a:t>
              </a:r>
              <a:endParaRPr lang="en-US" altLang="en-US" sz="900">
                <a:solidFill>
                  <a:srgbClr val="8F3F7B"/>
                </a:solidFill>
                <a:latin typeface="+mn-lt"/>
                <a:ea typeface="Segoe UI" panose="020B0502040204020203" pitchFamily="34" charset="0"/>
                <a:cs typeface="Segoe UI" panose="020B0502040204020203" pitchFamily="34" charset="0"/>
              </a:endParaRPr>
            </a:p>
          </p:txBody>
        </p:sp>
        <p:sp>
          <p:nvSpPr>
            <p:cNvPr id="323" name="Rectangle 145"/>
            <p:cNvSpPr>
              <a:spLocks noChangeAspect="1" noChangeArrowheads="1"/>
            </p:cNvSpPr>
            <p:nvPr/>
          </p:nvSpPr>
          <p:spPr bwMode="auto">
            <a:xfrm>
              <a:off x="644" y="2384"/>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900">
                <a:solidFill>
                  <a:srgbClr val="58585A"/>
                </a:solidFill>
              </a:endParaRPr>
            </a:p>
          </p:txBody>
        </p:sp>
        <p:sp>
          <p:nvSpPr>
            <p:cNvPr id="324" name="Freeform 11"/>
            <p:cNvSpPr>
              <a:spLocks noChangeAspect="1" noEditPoints="1"/>
            </p:cNvSpPr>
            <p:nvPr/>
          </p:nvSpPr>
          <p:spPr bwMode="auto">
            <a:xfrm>
              <a:off x="644" y="2384"/>
              <a:ext cx="363" cy="519"/>
            </a:xfrm>
            <a:custGeom>
              <a:avLst/>
              <a:gdLst>
                <a:gd name="T0" fmla="*/ 8960 w 410"/>
                <a:gd name="T1" fmla="*/ 4267 h 589"/>
                <a:gd name="T2" fmla="*/ 8414 w 410"/>
                <a:gd name="T3" fmla="*/ 10315 h 589"/>
                <a:gd name="T4" fmla="*/ 363 w 410"/>
                <a:gd name="T5" fmla="*/ 9882 h 589"/>
                <a:gd name="T6" fmla="*/ 4661 w 410"/>
                <a:gd name="T7" fmla="*/ 289 h 589"/>
                <a:gd name="T8" fmla="*/ 9141 w 410"/>
                <a:gd name="T9" fmla="*/ 3834 h 589"/>
                <a:gd name="T10" fmla="*/ 9324 w 410"/>
                <a:gd name="T11" fmla="*/ 3690 h 589"/>
                <a:gd name="T12" fmla="*/ 0 w 410"/>
                <a:gd name="T13" fmla="*/ 3690 h 589"/>
                <a:gd name="T14" fmla="*/ 23 w 410"/>
                <a:gd name="T15" fmla="*/ 9882 h 589"/>
                <a:gd name="T16" fmla="*/ 8414 w 410"/>
                <a:gd name="T17" fmla="*/ 10603 h 589"/>
                <a:gd name="T18" fmla="*/ 9324 w 410"/>
                <a:gd name="T19" fmla="*/ 4267 h 589"/>
                <a:gd name="T20" fmla="*/ 7527 w 410"/>
                <a:gd name="T21" fmla="*/ 2881 h 589"/>
                <a:gd name="T22" fmla="*/ 6572 w 410"/>
                <a:gd name="T23" fmla="*/ 2340 h 589"/>
                <a:gd name="T24" fmla="*/ 6959 w 410"/>
                <a:gd name="T25" fmla="*/ 2844 h 589"/>
                <a:gd name="T26" fmla="*/ 3503 w 410"/>
                <a:gd name="T27" fmla="*/ 2988 h 589"/>
                <a:gd name="T28" fmla="*/ 6936 w 410"/>
                <a:gd name="T29" fmla="*/ 3133 h 589"/>
                <a:gd name="T30" fmla="*/ 6572 w 410"/>
                <a:gd name="T31" fmla="*/ 3636 h 589"/>
                <a:gd name="T32" fmla="*/ 6821 w 410"/>
                <a:gd name="T33" fmla="*/ 3636 h 589"/>
                <a:gd name="T34" fmla="*/ 7527 w 410"/>
                <a:gd name="T35" fmla="*/ 2881 h 589"/>
                <a:gd name="T36" fmla="*/ 2502 w 410"/>
                <a:gd name="T37" fmla="*/ 1476 h 589"/>
                <a:gd name="T38" fmla="*/ 2775 w 410"/>
                <a:gd name="T39" fmla="*/ 1674 h 589"/>
                <a:gd name="T40" fmla="*/ 5640 w 410"/>
                <a:gd name="T41" fmla="*/ 1980 h 589"/>
                <a:gd name="T42" fmla="*/ 5640 w 410"/>
                <a:gd name="T43" fmla="*/ 2269 h 589"/>
                <a:gd name="T44" fmla="*/ 2775 w 410"/>
                <a:gd name="T45" fmla="*/ 2575 h 589"/>
                <a:gd name="T46" fmla="*/ 2638 w 410"/>
                <a:gd name="T47" fmla="*/ 2827 h 589"/>
                <a:gd name="T48" fmla="*/ 1819 w 410"/>
                <a:gd name="T49" fmla="*/ 2232 h 589"/>
                <a:gd name="T50" fmla="*/ 7504 w 410"/>
                <a:gd name="T51" fmla="*/ 4662 h 589"/>
                <a:gd name="T52" fmla="*/ 6548 w 410"/>
                <a:gd name="T53" fmla="*/ 4105 h 589"/>
                <a:gd name="T54" fmla="*/ 6936 w 410"/>
                <a:gd name="T55" fmla="*/ 4608 h 589"/>
                <a:gd name="T56" fmla="*/ 3480 w 410"/>
                <a:gd name="T57" fmla="*/ 4752 h 589"/>
                <a:gd name="T58" fmla="*/ 6936 w 410"/>
                <a:gd name="T59" fmla="*/ 4897 h 589"/>
                <a:gd name="T60" fmla="*/ 6548 w 410"/>
                <a:gd name="T61" fmla="*/ 5401 h 589"/>
                <a:gd name="T62" fmla="*/ 6821 w 410"/>
                <a:gd name="T63" fmla="*/ 5401 h 589"/>
                <a:gd name="T64" fmla="*/ 7504 w 410"/>
                <a:gd name="T65" fmla="*/ 4662 h 589"/>
                <a:gd name="T66" fmla="*/ 2502 w 410"/>
                <a:gd name="T67" fmla="*/ 3204 h 589"/>
                <a:gd name="T68" fmla="*/ 2775 w 410"/>
                <a:gd name="T69" fmla="*/ 3401 h 589"/>
                <a:gd name="T70" fmla="*/ 5640 w 410"/>
                <a:gd name="T71" fmla="*/ 3708 h 589"/>
                <a:gd name="T72" fmla="*/ 5640 w 410"/>
                <a:gd name="T73" fmla="*/ 3996 h 589"/>
                <a:gd name="T74" fmla="*/ 2775 w 410"/>
                <a:gd name="T75" fmla="*/ 4302 h 589"/>
                <a:gd name="T76" fmla="*/ 2638 w 410"/>
                <a:gd name="T77" fmla="*/ 4556 h 589"/>
                <a:gd name="T78" fmla="*/ 1819 w 410"/>
                <a:gd name="T79" fmla="*/ 3960 h 58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10"/>
                <a:gd name="T121" fmla="*/ 0 h 589"/>
                <a:gd name="T122" fmla="*/ 410 w 410"/>
                <a:gd name="T123" fmla="*/ 589 h 58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31" y="160"/>
                  </a:moveTo>
                  <a:cubicBezTo>
                    <a:pt x="300" y="130"/>
                    <a:pt x="300" y="130"/>
                    <a:pt x="300" y="130"/>
                  </a:cubicBezTo>
                  <a:cubicBezTo>
                    <a:pt x="297" y="126"/>
                    <a:pt x="292" y="126"/>
                    <a:pt x="289" y="130"/>
                  </a:cubicBezTo>
                  <a:cubicBezTo>
                    <a:pt x="285" y="133"/>
                    <a:pt x="285" y="138"/>
                    <a:pt x="289" y="141"/>
                  </a:cubicBezTo>
                  <a:cubicBezTo>
                    <a:pt x="306" y="158"/>
                    <a:pt x="306" y="158"/>
                    <a:pt x="306" y="158"/>
                  </a:cubicBezTo>
                  <a:cubicBezTo>
                    <a:pt x="162" y="158"/>
                    <a:pt x="162" y="158"/>
                    <a:pt x="162" y="158"/>
                  </a:cubicBezTo>
                  <a:cubicBezTo>
                    <a:pt x="157" y="158"/>
                    <a:pt x="154" y="162"/>
                    <a:pt x="154" y="166"/>
                  </a:cubicBezTo>
                  <a:cubicBezTo>
                    <a:pt x="154" y="170"/>
                    <a:pt x="157" y="174"/>
                    <a:pt x="162" y="174"/>
                  </a:cubicBezTo>
                  <a:cubicBezTo>
                    <a:pt x="305" y="174"/>
                    <a:pt x="305" y="174"/>
                    <a:pt x="305" y="174"/>
                  </a:cubicBezTo>
                  <a:cubicBezTo>
                    <a:pt x="289" y="191"/>
                    <a:pt x="289" y="191"/>
                    <a:pt x="289" y="191"/>
                  </a:cubicBezTo>
                  <a:cubicBezTo>
                    <a:pt x="285" y="194"/>
                    <a:pt x="285" y="199"/>
                    <a:pt x="289" y="202"/>
                  </a:cubicBezTo>
                  <a:cubicBezTo>
                    <a:pt x="290" y="204"/>
                    <a:pt x="292" y="205"/>
                    <a:pt x="294" y="205"/>
                  </a:cubicBezTo>
                  <a:cubicBezTo>
                    <a:pt x="296" y="205"/>
                    <a:pt x="298" y="204"/>
                    <a:pt x="300" y="202"/>
                  </a:cubicBezTo>
                  <a:cubicBezTo>
                    <a:pt x="331" y="172"/>
                    <a:pt x="331" y="172"/>
                    <a:pt x="331" y="172"/>
                  </a:cubicBezTo>
                  <a:cubicBezTo>
                    <a:pt x="334" y="168"/>
                    <a:pt x="334" y="163"/>
                    <a:pt x="331" y="160"/>
                  </a:cubicBezTo>
                  <a:moveTo>
                    <a:pt x="80" y="113"/>
                  </a:moveTo>
                  <a:cubicBezTo>
                    <a:pt x="110" y="82"/>
                    <a:pt x="110" y="82"/>
                    <a:pt x="110" y="82"/>
                  </a:cubicBezTo>
                  <a:cubicBezTo>
                    <a:pt x="114" y="79"/>
                    <a:pt x="119" y="79"/>
                    <a:pt x="122" y="82"/>
                  </a:cubicBezTo>
                  <a:cubicBezTo>
                    <a:pt x="125" y="85"/>
                    <a:pt x="125" y="90"/>
                    <a:pt x="122" y="93"/>
                  </a:cubicBezTo>
                  <a:cubicBezTo>
                    <a:pt x="105" y="110"/>
                    <a:pt x="105" y="110"/>
                    <a:pt x="105" y="110"/>
                  </a:cubicBezTo>
                  <a:cubicBezTo>
                    <a:pt x="248" y="110"/>
                    <a:pt x="248" y="110"/>
                    <a:pt x="248" y="110"/>
                  </a:cubicBezTo>
                  <a:cubicBezTo>
                    <a:pt x="253" y="110"/>
                    <a:pt x="256" y="114"/>
                    <a:pt x="256" y="118"/>
                  </a:cubicBezTo>
                  <a:cubicBezTo>
                    <a:pt x="256" y="123"/>
                    <a:pt x="253" y="126"/>
                    <a:pt x="248" y="126"/>
                  </a:cubicBezTo>
                  <a:cubicBezTo>
                    <a:pt x="105" y="126"/>
                    <a:pt x="105" y="126"/>
                    <a:pt x="105" y="126"/>
                  </a:cubicBezTo>
                  <a:cubicBezTo>
                    <a:pt x="122" y="143"/>
                    <a:pt x="122" y="143"/>
                    <a:pt x="122" y="143"/>
                  </a:cubicBezTo>
                  <a:cubicBezTo>
                    <a:pt x="125" y="146"/>
                    <a:pt x="125" y="151"/>
                    <a:pt x="122" y="155"/>
                  </a:cubicBezTo>
                  <a:cubicBezTo>
                    <a:pt x="120" y="156"/>
                    <a:pt x="118" y="157"/>
                    <a:pt x="116" y="157"/>
                  </a:cubicBezTo>
                  <a:cubicBezTo>
                    <a:pt x="114" y="157"/>
                    <a:pt x="112" y="156"/>
                    <a:pt x="110" y="155"/>
                  </a:cubicBezTo>
                  <a:cubicBezTo>
                    <a:pt x="80" y="124"/>
                    <a:pt x="80" y="124"/>
                    <a:pt x="80" y="124"/>
                  </a:cubicBezTo>
                  <a:cubicBezTo>
                    <a:pt x="77" y="121"/>
                    <a:pt x="77" y="116"/>
                    <a:pt x="80" y="113"/>
                  </a:cubicBezTo>
                  <a:moveTo>
                    <a:pt x="330" y="259"/>
                  </a:moveTo>
                  <a:cubicBezTo>
                    <a:pt x="300" y="228"/>
                    <a:pt x="300" y="228"/>
                    <a:pt x="300" y="228"/>
                  </a:cubicBezTo>
                  <a:cubicBezTo>
                    <a:pt x="296" y="225"/>
                    <a:pt x="291" y="225"/>
                    <a:pt x="288" y="228"/>
                  </a:cubicBezTo>
                  <a:cubicBezTo>
                    <a:pt x="285" y="231"/>
                    <a:pt x="285" y="236"/>
                    <a:pt x="288" y="239"/>
                  </a:cubicBezTo>
                  <a:cubicBezTo>
                    <a:pt x="305" y="256"/>
                    <a:pt x="305" y="256"/>
                    <a:pt x="305" y="256"/>
                  </a:cubicBezTo>
                  <a:cubicBezTo>
                    <a:pt x="161" y="256"/>
                    <a:pt x="161" y="256"/>
                    <a:pt x="161" y="256"/>
                  </a:cubicBezTo>
                  <a:cubicBezTo>
                    <a:pt x="157" y="256"/>
                    <a:pt x="153" y="260"/>
                    <a:pt x="153" y="264"/>
                  </a:cubicBezTo>
                  <a:cubicBezTo>
                    <a:pt x="153" y="269"/>
                    <a:pt x="157" y="272"/>
                    <a:pt x="161" y="272"/>
                  </a:cubicBezTo>
                  <a:cubicBezTo>
                    <a:pt x="305" y="272"/>
                    <a:pt x="305" y="272"/>
                    <a:pt x="305" y="272"/>
                  </a:cubicBezTo>
                  <a:cubicBezTo>
                    <a:pt x="288" y="289"/>
                    <a:pt x="288" y="289"/>
                    <a:pt x="288" y="289"/>
                  </a:cubicBezTo>
                  <a:cubicBezTo>
                    <a:pt x="285" y="292"/>
                    <a:pt x="285" y="297"/>
                    <a:pt x="288" y="300"/>
                  </a:cubicBezTo>
                  <a:cubicBezTo>
                    <a:pt x="290" y="302"/>
                    <a:pt x="292" y="303"/>
                    <a:pt x="294" y="303"/>
                  </a:cubicBezTo>
                  <a:cubicBezTo>
                    <a:pt x="296" y="303"/>
                    <a:pt x="298" y="302"/>
                    <a:pt x="300" y="300"/>
                  </a:cubicBezTo>
                  <a:cubicBezTo>
                    <a:pt x="330" y="270"/>
                    <a:pt x="330" y="270"/>
                    <a:pt x="330" y="270"/>
                  </a:cubicBezTo>
                  <a:cubicBezTo>
                    <a:pt x="333" y="267"/>
                    <a:pt x="333" y="262"/>
                    <a:pt x="330" y="259"/>
                  </a:cubicBezTo>
                  <a:moveTo>
                    <a:pt x="80" y="209"/>
                  </a:moveTo>
                  <a:cubicBezTo>
                    <a:pt x="110" y="178"/>
                    <a:pt x="110" y="178"/>
                    <a:pt x="110" y="178"/>
                  </a:cubicBezTo>
                  <a:cubicBezTo>
                    <a:pt x="114" y="175"/>
                    <a:pt x="119" y="175"/>
                    <a:pt x="122" y="178"/>
                  </a:cubicBezTo>
                  <a:cubicBezTo>
                    <a:pt x="125" y="181"/>
                    <a:pt x="125" y="186"/>
                    <a:pt x="122" y="189"/>
                  </a:cubicBezTo>
                  <a:cubicBezTo>
                    <a:pt x="105" y="206"/>
                    <a:pt x="105" y="206"/>
                    <a:pt x="105" y="206"/>
                  </a:cubicBezTo>
                  <a:cubicBezTo>
                    <a:pt x="248" y="206"/>
                    <a:pt x="248" y="206"/>
                    <a:pt x="248" y="206"/>
                  </a:cubicBezTo>
                  <a:cubicBezTo>
                    <a:pt x="253" y="206"/>
                    <a:pt x="256" y="210"/>
                    <a:pt x="256" y="214"/>
                  </a:cubicBezTo>
                  <a:cubicBezTo>
                    <a:pt x="256" y="219"/>
                    <a:pt x="253" y="222"/>
                    <a:pt x="248" y="222"/>
                  </a:cubicBezTo>
                  <a:cubicBezTo>
                    <a:pt x="105" y="222"/>
                    <a:pt x="105" y="222"/>
                    <a:pt x="105" y="222"/>
                  </a:cubicBezTo>
                  <a:cubicBezTo>
                    <a:pt x="122" y="239"/>
                    <a:pt x="122" y="239"/>
                    <a:pt x="122" y="239"/>
                  </a:cubicBezTo>
                  <a:cubicBezTo>
                    <a:pt x="125" y="242"/>
                    <a:pt x="125" y="247"/>
                    <a:pt x="122" y="251"/>
                  </a:cubicBezTo>
                  <a:cubicBezTo>
                    <a:pt x="120" y="252"/>
                    <a:pt x="118" y="253"/>
                    <a:pt x="116" y="253"/>
                  </a:cubicBezTo>
                  <a:cubicBezTo>
                    <a:pt x="114" y="253"/>
                    <a:pt x="112" y="252"/>
                    <a:pt x="110" y="251"/>
                  </a:cubicBezTo>
                  <a:cubicBezTo>
                    <a:pt x="80" y="220"/>
                    <a:pt x="80" y="220"/>
                    <a:pt x="80" y="220"/>
                  </a:cubicBezTo>
                  <a:cubicBezTo>
                    <a:pt x="77" y="217"/>
                    <a:pt x="77" y="212"/>
                    <a:pt x="80" y="20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325" name="Group 557"/>
          <p:cNvGrpSpPr>
            <a:grpSpLocks noChangeAspect="1"/>
          </p:cNvGrpSpPr>
          <p:nvPr/>
        </p:nvGrpSpPr>
        <p:grpSpPr bwMode="auto">
          <a:xfrm>
            <a:off x="8237997" y="4503538"/>
            <a:ext cx="428873" cy="589941"/>
            <a:chOff x="3510" y="1858"/>
            <a:chExt cx="363" cy="520"/>
          </a:xfrm>
        </p:grpSpPr>
        <p:sp>
          <p:nvSpPr>
            <p:cNvPr id="326"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327"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328"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None/>
              </a:pPr>
              <a:r>
                <a:rPr lang="en-US" altLang="en-US" sz="1000">
                  <a:solidFill>
                    <a:srgbClr val="8F3F7B"/>
                  </a:solidFill>
                  <a:ea typeface="MS PGothic" pitchFamily="34" charset="-128"/>
                </a:rPr>
                <a:t>SMF</a:t>
              </a:r>
            </a:p>
          </p:txBody>
        </p:sp>
        <p:sp>
          <p:nvSpPr>
            <p:cNvPr id="329"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330"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331" name="Group 557"/>
          <p:cNvGrpSpPr>
            <a:grpSpLocks noChangeAspect="1"/>
          </p:cNvGrpSpPr>
          <p:nvPr/>
        </p:nvGrpSpPr>
        <p:grpSpPr bwMode="auto">
          <a:xfrm>
            <a:off x="7835186" y="5791453"/>
            <a:ext cx="428873" cy="589941"/>
            <a:chOff x="3510" y="1858"/>
            <a:chExt cx="363" cy="520"/>
          </a:xfrm>
        </p:grpSpPr>
        <p:sp>
          <p:nvSpPr>
            <p:cNvPr id="332"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333"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334"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None/>
              </a:pPr>
              <a:r>
                <a:rPr lang="en-US" altLang="en-US" sz="1000">
                  <a:solidFill>
                    <a:srgbClr val="8F3F7B"/>
                  </a:solidFill>
                  <a:ea typeface="MS PGothic" pitchFamily="34" charset="-128"/>
                </a:rPr>
                <a:t>SMF</a:t>
              </a:r>
            </a:p>
          </p:txBody>
        </p:sp>
        <p:sp>
          <p:nvSpPr>
            <p:cNvPr id="335"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336"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grpSp>
        <p:nvGrpSpPr>
          <p:cNvPr id="337" name="Group 336"/>
          <p:cNvGrpSpPr/>
          <p:nvPr/>
        </p:nvGrpSpPr>
        <p:grpSpPr>
          <a:xfrm>
            <a:off x="8979887" y="5708814"/>
            <a:ext cx="421784" cy="582717"/>
            <a:chOff x="2418855" y="2964540"/>
            <a:chExt cx="428873" cy="582717"/>
          </a:xfrm>
        </p:grpSpPr>
        <p:sp>
          <p:nvSpPr>
            <p:cNvPr id="338" name="AutoShape 46"/>
            <p:cNvSpPr>
              <a:spLocks noChangeAspect="1" noChangeArrowheads="1"/>
            </p:cNvSpPr>
            <p:nvPr/>
          </p:nvSpPr>
          <p:spPr bwMode="auto">
            <a:xfrm>
              <a:off x="2427125" y="3130390"/>
              <a:ext cx="413514" cy="410143"/>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39" name="Oval 47"/>
            <p:cNvSpPr>
              <a:spLocks noChangeAspect="1" noChangeArrowheads="1"/>
            </p:cNvSpPr>
            <p:nvPr/>
          </p:nvSpPr>
          <p:spPr bwMode="auto">
            <a:xfrm>
              <a:off x="2424762" y="2972384"/>
              <a:ext cx="415877" cy="397816"/>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40" name="Text Box 48"/>
            <p:cNvSpPr txBox="1">
              <a:spLocks noChangeAspect="1" noChangeArrowheads="1"/>
            </p:cNvSpPr>
            <p:nvPr/>
          </p:nvSpPr>
          <p:spPr bwMode="auto">
            <a:xfrm>
              <a:off x="2438940" y="3281673"/>
              <a:ext cx="386340" cy="25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a:solidFill>
                    <a:srgbClr val="8F3F7B"/>
                  </a:solidFill>
                  <a:latin typeface="+mn-lt"/>
                  <a:ea typeface="Segoe UI" panose="020B0502040204020203" pitchFamily="34" charset="0"/>
                  <a:cs typeface="Segoe UI" panose="020B0502040204020203" pitchFamily="34" charset="0"/>
                </a:rPr>
                <a:t>PCF</a:t>
              </a:r>
              <a:endParaRPr lang="en-US" altLang="en-US" sz="800">
                <a:solidFill>
                  <a:srgbClr val="8F3F7B"/>
                </a:solidFill>
                <a:latin typeface="+mn-lt"/>
                <a:ea typeface="Segoe UI" panose="020B0502040204020203" pitchFamily="34" charset="0"/>
                <a:cs typeface="Segoe UI" panose="020B0502040204020203" pitchFamily="34" charset="0"/>
              </a:endParaRPr>
            </a:p>
          </p:txBody>
        </p:sp>
        <p:sp>
          <p:nvSpPr>
            <p:cNvPr id="341" name="Rectangle 49"/>
            <p:cNvSpPr>
              <a:spLocks noChangeAspect="1" noChangeArrowheads="1"/>
            </p:cNvSpPr>
            <p:nvPr/>
          </p:nvSpPr>
          <p:spPr bwMode="auto">
            <a:xfrm>
              <a:off x="2418855" y="2964540"/>
              <a:ext cx="428873" cy="58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42" name="Freeform 11"/>
            <p:cNvSpPr>
              <a:spLocks noChangeAspect="1" noEditPoints="1"/>
            </p:cNvSpPr>
            <p:nvPr/>
          </p:nvSpPr>
          <p:spPr bwMode="auto">
            <a:xfrm>
              <a:off x="2418855" y="2964540"/>
              <a:ext cx="428873" cy="582717"/>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343" name="Group 45"/>
          <p:cNvGrpSpPr>
            <a:grpSpLocks noChangeAspect="1"/>
          </p:cNvGrpSpPr>
          <p:nvPr/>
        </p:nvGrpSpPr>
        <p:grpSpPr bwMode="auto">
          <a:xfrm>
            <a:off x="8405627" y="5573142"/>
            <a:ext cx="428873" cy="582717"/>
            <a:chOff x="1057" y="1587"/>
            <a:chExt cx="363" cy="520"/>
          </a:xfrm>
        </p:grpSpPr>
        <p:sp>
          <p:nvSpPr>
            <p:cNvPr id="344"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45"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46"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a:solidFill>
                    <a:srgbClr val="00A9D4"/>
                  </a:solidFill>
                  <a:latin typeface="+mn-lt"/>
                  <a:ea typeface="Segoe UI" panose="020B0502040204020203" pitchFamily="34" charset="0"/>
                  <a:cs typeface="Segoe UI" panose="020B0502040204020203" pitchFamily="34" charset="0"/>
                </a:rPr>
                <a:t>AAA</a:t>
              </a:r>
            </a:p>
          </p:txBody>
        </p:sp>
        <p:sp>
          <p:nvSpPr>
            <p:cNvPr id="347"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48" name="Freeform 11"/>
            <p:cNvSpPr>
              <a:spLocks noChangeAspect="1" noEditPoints="1"/>
            </p:cNvSpPr>
            <p:nvPr/>
          </p:nvSpPr>
          <p:spPr bwMode="auto">
            <a:xfrm>
              <a:off x="1057" y="1587"/>
              <a:ext cx="363" cy="520"/>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cxnSp>
        <p:nvCxnSpPr>
          <p:cNvPr id="349" name="Straight Connector 348"/>
          <p:cNvCxnSpPr>
            <a:cxnSpLocks/>
          </p:cNvCxnSpPr>
          <p:nvPr/>
        </p:nvCxnSpPr>
        <p:spPr bwMode="auto">
          <a:xfrm flipH="1">
            <a:off x="8250026" y="5978802"/>
            <a:ext cx="163871"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cxnSp>
        <p:nvCxnSpPr>
          <p:cNvPr id="350" name="Straight Connector 349"/>
          <p:cNvCxnSpPr>
            <a:cxnSpLocks/>
            <a:stCxn id="294" idx="2"/>
            <a:endCxn id="370" idx="6"/>
          </p:cNvCxnSpPr>
          <p:nvPr/>
        </p:nvCxnSpPr>
        <p:spPr bwMode="auto">
          <a:xfrm flipH="1">
            <a:off x="5933271" y="5217471"/>
            <a:ext cx="845451" cy="215345"/>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351" name="Group 278"/>
          <p:cNvGrpSpPr>
            <a:grpSpLocks noChangeAspect="1"/>
          </p:cNvGrpSpPr>
          <p:nvPr/>
        </p:nvGrpSpPr>
        <p:grpSpPr bwMode="auto">
          <a:xfrm>
            <a:off x="4054748" y="4883020"/>
            <a:ext cx="442607" cy="594456"/>
            <a:chOff x="3106" y="2389"/>
            <a:chExt cx="363" cy="520"/>
          </a:xfrm>
        </p:grpSpPr>
        <p:sp>
          <p:nvSpPr>
            <p:cNvPr id="352" name="AutoShape 220"/>
            <p:cNvSpPr>
              <a:spLocks noChangeAspect="1" noChangeArrowheads="1"/>
            </p:cNvSpPr>
            <p:nvPr/>
          </p:nvSpPr>
          <p:spPr bwMode="auto">
            <a:xfrm>
              <a:off x="3113" y="2537"/>
              <a:ext cx="350" cy="366"/>
            </a:xfrm>
            <a:prstGeom prst="roundRect">
              <a:avLst>
                <a:gd name="adj" fmla="val 9356"/>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353" name="Oval 221"/>
            <p:cNvSpPr>
              <a:spLocks noChangeAspect="1" noChangeArrowheads="1"/>
            </p:cNvSpPr>
            <p:nvPr/>
          </p:nvSpPr>
          <p:spPr bwMode="auto">
            <a:xfrm>
              <a:off x="3111" y="2396"/>
              <a:ext cx="352" cy="355"/>
            </a:xfrm>
            <a:prstGeom prst="ellipse">
              <a:avLst/>
            </a:prstGeom>
            <a:solidFill>
              <a:schemeClr val="bg1"/>
            </a:solidFill>
            <a:ln w="12700">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354" name="Text Box 222"/>
            <p:cNvSpPr txBox="1">
              <a:spLocks noChangeAspect="1" noChangeArrowheads="1"/>
            </p:cNvSpPr>
            <p:nvPr/>
          </p:nvSpPr>
          <p:spPr bwMode="auto">
            <a:xfrm>
              <a:off x="3123" y="2672"/>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FontTx/>
                <a:buNone/>
              </a:pPr>
              <a:r>
                <a:rPr lang="en-US" altLang="en-US" sz="1000">
                  <a:solidFill>
                    <a:srgbClr val="8F3F7B"/>
                  </a:solidFill>
                  <a:latin typeface="+mn-lt"/>
                  <a:ea typeface="Segoe UI" panose="020B0502040204020203" pitchFamily="34" charset="0"/>
                  <a:cs typeface="Segoe UI" panose="020B0502040204020203" pitchFamily="34" charset="0"/>
                </a:rPr>
                <a:t>NG-</a:t>
              </a:r>
            </a:p>
            <a:p>
              <a:pPr algn="ctr" eaLnBrk="1" hangingPunct="1">
                <a:lnSpc>
                  <a:spcPct val="80000"/>
                </a:lnSpc>
                <a:spcBef>
                  <a:spcPct val="0"/>
                </a:spcBef>
                <a:buClrTx/>
                <a:buFontTx/>
                <a:buNone/>
              </a:pPr>
              <a:r>
                <a:rPr lang="en-US" altLang="en-US" sz="1000">
                  <a:solidFill>
                    <a:srgbClr val="8F3F7B"/>
                  </a:solidFill>
                  <a:latin typeface="+mn-lt"/>
                  <a:ea typeface="Segoe UI" panose="020B0502040204020203" pitchFamily="34" charset="0"/>
                  <a:cs typeface="Segoe UI" panose="020B0502040204020203" pitchFamily="34" charset="0"/>
                </a:rPr>
                <a:t>RAN</a:t>
              </a:r>
            </a:p>
          </p:txBody>
        </p:sp>
        <p:sp>
          <p:nvSpPr>
            <p:cNvPr id="355" name="Rectangle 223"/>
            <p:cNvSpPr>
              <a:spLocks noChangeAspect="1" noChangeArrowheads="1"/>
            </p:cNvSpPr>
            <p:nvPr/>
          </p:nvSpPr>
          <p:spPr bwMode="auto">
            <a:xfrm>
              <a:off x="3106" y="2389"/>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1000">
                <a:solidFill>
                  <a:srgbClr val="58585A"/>
                </a:solidFill>
              </a:endParaRPr>
            </a:p>
          </p:txBody>
        </p:sp>
        <p:sp>
          <p:nvSpPr>
            <p:cNvPr id="356" name="Freeform 11"/>
            <p:cNvSpPr>
              <a:spLocks noChangeAspect="1" noEditPoints="1"/>
            </p:cNvSpPr>
            <p:nvPr/>
          </p:nvSpPr>
          <p:spPr bwMode="auto">
            <a:xfrm>
              <a:off x="3106" y="2389"/>
              <a:ext cx="363" cy="520"/>
            </a:xfrm>
            <a:custGeom>
              <a:avLst/>
              <a:gdLst>
                <a:gd name="T0" fmla="*/ 115539 w 410"/>
                <a:gd name="T1" fmla="*/ 64176 h 589"/>
                <a:gd name="T2" fmla="*/ 108501 w 410"/>
                <a:gd name="T3" fmla="*/ 155160 h 589"/>
                <a:gd name="T4" fmla="*/ 4692 w 410"/>
                <a:gd name="T5" fmla="*/ 148661 h 589"/>
                <a:gd name="T6" fmla="*/ 60116 w 410"/>
                <a:gd name="T7" fmla="*/ 4333 h 589"/>
                <a:gd name="T8" fmla="*/ 117885 w 410"/>
                <a:gd name="T9" fmla="*/ 57677 h 589"/>
                <a:gd name="T10" fmla="*/ 120230 w 410"/>
                <a:gd name="T11" fmla="*/ 55512 h 589"/>
                <a:gd name="T12" fmla="*/ 0 w 410"/>
                <a:gd name="T13" fmla="*/ 55512 h 589"/>
                <a:gd name="T14" fmla="*/ 292 w 410"/>
                <a:gd name="T15" fmla="*/ 148661 h 589"/>
                <a:gd name="T16" fmla="*/ 108501 w 410"/>
                <a:gd name="T17" fmla="*/ 159493 h 589"/>
                <a:gd name="T18" fmla="*/ 120230 w 410"/>
                <a:gd name="T19" fmla="*/ 64176 h 589"/>
                <a:gd name="T20" fmla="*/ 89147 w 410"/>
                <a:gd name="T21" fmla="*/ 78257 h 589"/>
                <a:gd name="T22" fmla="*/ 73898 w 410"/>
                <a:gd name="T23" fmla="*/ 37097 h 589"/>
                <a:gd name="T24" fmla="*/ 69793 w 410"/>
                <a:gd name="T25" fmla="*/ 31141 h 589"/>
                <a:gd name="T26" fmla="*/ 69206 w 410"/>
                <a:gd name="T27" fmla="*/ 37097 h 589"/>
                <a:gd name="T28" fmla="*/ 50731 w 410"/>
                <a:gd name="T29" fmla="*/ 37097 h 589"/>
                <a:gd name="T30" fmla="*/ 63342 w 410"/>
                <a:gd name="T31" fmla="*/ 28973 h 589"/>
                <a:gd name="T32" fmla="*/ 64807 w 410"/>
                <a:gd name="T33" fmla="*/ 25183 h 589"/>
                <a:gd name="T34" fmla="*/ 46040 w 410"/>
                <a:gd name="T35" fmla="*/ 37097 h 589"/>
                <a:gd name="T36" fmla="*/ 31083 w 410"/>
                <a:gd name="T37" fmla="*/ 78257 h 589"/>
                <a:gd name="T38" fmla="*/ 32844 w 410"/>
                <a:gd name="T39" fmla="*/ 82048 h 589"/>
                <a:gd name="T40" fmla="*/ 50145 w 410"/>
                <a:gd name="T41" fmla="*/ 80694 h 589"/>
                <a:gd name="T42" fmla="*/ 70086 w 410"/>
                <a:gd name="T43" fmla="*/ 80694 h 589"/>
                <a:gd name="T44" fmla="*/ 87680 w 410"/>
                <a:gd name="T45" fmla="*/ 82048 h 589"/>
                <a:gd name="T46" fmla="*/ 89147 w 410"/>
                <a:gd name="T47" fmla="*/ 78257 h 589"/>
                <a:gd name="T48" fmla="*/ 66273 w 410"/>
                <a:gd name="T49" fmla="*/ 60386 h 589"/>
                <a:gd name="T50" fmla="*/ 53371 w 410"/>
                <a:gd name="T51" fmla="*/ 60386 h 589"/>
                <a:gd name="T52" fmla="*/ 73604 w 410"/>
                <a:gd name="T53" fmla="*/ 77715 h 589"/>
                <a:gd name="T54" fmla="*/ 46332 w 410"/>
                <a:gd name="T55" fmla="*/ 77715 h 589"/>
                <a:gd name="T56" fmla="*/ 48678 w 410"/>
                <a:gd name="T57" fmla="*/ 66614 h 589"/>
                <a:gd name="T58" fmla="*/ 71259 w 410"/>
                <a:gd name="T59" fmla="*/ 66614 h 589"/>
                <a:gd name="T60" fmla="*/ 73604 w 410"/>
                <a:gd name="T61" fmla="*/ 77715 h 589"/>
                <a:gd name="T62" fmla="*/ 76830 w 410"/>
                <a:gd name="T63" fmla="*/ 49554 h 589"/>
                <a:gd name="T64" fmla="*/ 79176 w 410"/>
                <a:gd name="T65" fmla="*/ 37097 h 589"/>
                <a:gd name="T66" fmla="*/ 76830 w 410"/>
                <a:gd name="T67" fmla="*/ 24371 h 589"/>
                <a:gd name="T68" fmla="*/ 83868 w 410"/>
                <a:gd name="T69" fmla="*/ 37097 h 589"/>
                <a:gd name="T70" fmla="*/ 78003 w 410"/>
                <a:gd name="T71" fmla="*/ 50097 h 589"/>
                <a:gd name="T72" fmla="*/ 85041 w 410"/>
                <a:gd name="T73" fmla="*/ 54699 h 589"/>
                <a:gd name="T74" fmla="*/ 89147 w 410"/>
                <a:gd name="T75" fmla="*/ 37097 h 589"/>
                <a:gd name="T76" fmla="*/ 85041 w 410"/>
                <a:gd name="T77" fmla="*/ 19497 h 589"/>
                <a:gd name="T78" fmla="*/ 93838 w 410"/>
                <a:gd name="T79" fmla="*/ 37097 h 589"/>
                <a:gd name="T80" fmla="*/ 86506 w 410"/>
                <a:gd name="T81" fmla="*/ 54970 h 589"/>
                <a:gd name="T82" fmla="*/ 43401 w 410"/>
                <a:gd name="T83" fmla="*/ 49554 h 589"/>
                <a:gd name="T84" fmla="*/ 41054 w 410"/>
                <a:gd name="T85" fmla="*/ 37097 h 589"/>
                <a:gd name="T86" fmla="*/ 43401 w 410"/>
                <a:gd name="T87" fmla="*/ 24371 h 589"/>
                <a:gd name="T88" fmla="*/ 36362 w 410"/>
                <a:gd name="T89" fmla="*/ 37097 h 589"/>
                <a:gd name="T90" fmla="*/ 42228 w 410"/>
                <a:gd name="T91" fmla="*/ 50097 h 589"/>
                <a:gd name="T92" fmla="*/ 35190 w 410"/>
                <a:gd name="T93" fmla="*/ 54699 h 589"/>
                <a:gd name="T94" fmla="*/ 31083 w 410"/>
                <a:gd name="T95" fmla="*/ 37097 h 589"/>
                <a:gd name="T96" fmla="*/ 35190 w 410"/>
                <a:gd name="T97" fmla="*/ 19497 h 589"/>
                <a:gd name="T98" fmla="*/ 26392 w 410"/>
                <a:gd name="T99" fmla="*/ 37097 h 589"/>
                <a:gd name="T100" fmla="*/ 33724 w 410"/>
                <a:gd name="T101" fmla="*/ 54970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589"/>
                <a:gd name="T155" fmla="*/ 410 w 410"/>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304" y="289"/>
                  </a:moveTo>
                  <a:cubicBezTo>
                    <a:pt x="258" y="246"/>
                    <a:pt x="232" y="204"/>
                    <a:pt x="221" y="181"/>
                  </a:cubicBezTo>
                  <a:cubicBezTo>
                    <a:pt x="239" y="174"/>
                    <a:pt x="252" y="157"/>
                    <a:pt x="252" y="137"/>
                  </a:cubicBezTo>
                  <a:cubicBezTo>
                    <a:pt x="252" y="131"/>
                    <a:pt x="251" y="125"/>
                    <a:pt x="248" y="119"/>
                  </a:cubicBezTo>
                  <a:cubicBezTo>
                    <a:pt x="247" y="115"/>
                    <a:pt x="242" y="113"/>
                    <a:pt x="238" y="115"/>
                  </a:cubicBezTo>
                  <a:cubicBezTo>
                    <a:pt x="234" y="116"/>
                    <a:pt x="232" y="121"/>
                    <a:pt x="234" y="125"/>
                  </a:cubicBezTo>
                  <a:cubicBezTo>
                    <a:pt x="235" y="129"/>
                    <a:pt x="236" y="133"/>
                    <a:pt x="236" y="137"/>
                  </a:cubicBezTo>
                  <a:cubicBezTo>
                    <a:pt x="236" y="154"/>
                    <a:pt x="222" y="168"/>
                    <a:pt x="204" y="168"/>
                  </a:cubicBezTo>
                  <a:cubicBezTo>
                    <a:pt x="187" y="168"/>
                    <a:pt x="173" y="154"/>
                    <a:pt x="173" y="137"/>
                  </a:cubicBezTo>
                  <a:cubicBezTo>
                    <a:pt x="173" y="119"/>
                    <a:pt x="187" y="105"/>
                    <a:pt x="204" y="105"/>
                  </a:cubicBezTo>
                  <a:cubicBezTo>
                    <a:pt x="208" y="105"/>
                    <a:pt x="212" y="106"/>
                    <a:pt x="216" y="107"/>
                  </a:cubicBezTo>
                  <a:cubicBezTo>
                    <a:pt x="220" y="109"/>
                    <a:pt x="224" y="107"/>
                    <a:pt x="226" y="103"/>
                  </a:cubicBezTo>
                  <a:cubicBezTo>
                    <a:pt x="228" y="99"/>
                    <a:pt x="226" y="94"/>
                    <a:pt x="221" y="93"/>
                  </a:cubicBezTo>
                  <a:cubicBezTo>
                    <a:pt x="216" y="90"/>
                    <a:pt x="210" y="89"/>
                    <a:pt x="204" y="89"/>
                  </a:cubicBezTo>
                  <a:cubicBezTo>
                    <a:pt x="178" y="89"/>
                    <a:pt x="157" y="111"/>
                    <a:pt x="157" y="137"/>
                  </a:cubicBezTo>
                  <a:cubicBezTo>
                    <a:pt x="157" y="157"/>
                    <a:pt x="171" y="175"/>
                    <a:pt x="189" y="181"/>
                  </a:cubicBezTo>
                  <a:cubicBezTo>
                    <a:pt x="178" y="204"/>
                    <a:pt x="152" y="247"/>
                    <a:pt x="106" y="289"/>
                  </a:cubicBezTo>
                  <a:cubicBezTo>
                    <a:pt x="104" y="291"/>
                    <a:pt x="103" y="295"/>
                    <a:pt x="104" y="298"/>
                  </a:cubicBezTo>
                  <a:cubicBezTo>
                    <a:pt x="105" y="301"/>
                    <a:pt x="108" y="303"/>
                    <a:pt x="112" y="303"/>
                  </a:cubicBezTo>
                  <a:cubicBezTo>
                    <a:pt x="164" y="303"/>
                    <a:pt x="164" y="303"/>
                    <a:pt x="164" y="303"/>
                  </a:cubicBezTo>
                  <a:cubicBezTo>
                    <a:pt x="167" y="303"/>
                    <a:pt x="170" y="301"/>
                    <a:pt x="171" y="298"/>
                  </a:cubicBezTo>
                  <a:cubicBezTo>
                    <a:pt x="172" y="297"/>
                    <a:pt x="180" y="276"/>
                    <a:pt x="205" y="276"/>
                  </a:cubicBezTo>
                  <a:cubicBezTo>
                    <a:pt x="230" y="276"/>
                    <a:pt x="239" y="297"/>
                    <a:pt x="239" y="298"/>
                  </a:cubicBezTo>
                  <a:cubicBezTo>
                    <a:pt x="240" y="301"/>
                    <a:pt x="243" y="303"/>
                    <a:pt x="246" y="303"/>
                  </a:cubicBezTo>
                  <a:cubicBezTo>
                    <a:pt x="299" y="303"/>
                    <a:pt x="299" y="303"/>
                    <a:pt x="299" y="303"/>
                  </a:cubicBezTo>
                  <a:cubicBezTo>
                    <a:pt x="302" y="303"/>
                    <a:pt x="305" y="301"/>
                    <a:pt x="306" y="298"/>
                  </a:cubicBezTo>
                  <a:cubicBezTo>
                    <a:pt x="307" y="295"/>
                    <a:pt x="306" y="291"/>
                    <a:pt x="304" y="289"/>
                  </a:cubicBezTo>
                  <a:moveTo>
                    <a:pt x="204" y="186"/>
                  </a:moveTo>
                  <a:cubicBezTo>
                    <a:pt x="209" y="195"/>
                    <a:pt x="216" y="208"/>
                    <a:pt x="226" y="223"/>
                  </a:cubicBezTo>
                  <a:cubicBezTo>
                    <a:pt x="220" y="222"/>
                    <a:pt x="212" y="221"/>
                    <a:pt x="204" y="221"/>
                  </a:cubicBezTo>
                  <a:cubicBezTo>
                    <a:pt x="196" y="221"/>
                    <a:pt x="189" y="222"/>
                    <a:pt x="182" y="223"/>
                  </a:cubicBezTo>
                  <a:cubicBezTo>
                    <a:pt x="193" y="208"/>
                    <a:pt x="200" y="195"/>
                    <a:pt x="204" y="186"/>
                  </a:cubicBezTo>
                  <a:moveTo>
                    <a:pt x="251" y="287"/>
                  </a:moveTo>
                  <a:cubicBezTo>
                    <a:pt x="246" y="278"/>
                    <a:pt x="232" y="260"/>
                    <a:pt x="204" y="260"/>
                  </a:cubicBezTo>
                  <a:cubicBezTo>
                    <a:pt x="177" y="260"/>
                    <a:pt x="163" y="278"/>
                    <a:pt x="158" y="287"/>
                  </a:cubicBezTo>
                  <a:cubicBezTo>
                    <a:pt x="131" y="287"/>
                    <a:pt x="131" y="287"/>
                    <a:pt x="131" y="287"/>
                  </a:cubicBezTo>
                  <a:cubicBezTo>
                    <a:pt x="145" y="273"/>
                    <a:pt x="156" y="259"/>
                    <a:pt x="166" y="246"/>
                  </a:cubicBezTo>
                  <a:cubicBezTo>
                    <a:pt x="171" y="244"/>
                    <a:pt x="186" y="237"/>
                    <a:pt x="204" y="237"/>
                  </a:cubicBezTo>
                  <a:cubicBezTo>
                    <a:pt x="223" y="237"/>
                    <a:pt x="238" y="244"/>
                    <a:pt x="243" y="246"/>
                  </a:cubicBezTo>
                  <a:cubicBezTo>
                    <a:pt x="253" y="259"/>
                    <a:pt x="264" y="273"/>
                    <a:pt x="278" y="287"/>
                  </a:cubicBezTo>
                  <a:lnTo>
                    <a:pt x="251" y="287"/>
                  </a:lnTo>
                  <a:close/>
                  <a:moveTo>
                    <a:pt x="266" y="185"/>
                  </a:moveTo>
                  <a:cubicBezTo>
                    <a:pt x="265" y="185"/>
                    <a:pt x="263" y="184"/>
                    <a:pt x="262" y="183"/>
                  </a:cubicBezTo>
                  <a:cubicBezTo>
                    <a:pt x="258" y="181"/>
                    <a:pt x="257" y="176"/>
                    <a:pt x="260" y="172"/>
                  </a:cubicBezTo>
                  <a:cubicBezTo>
                    <a:pt x="267" y="162"/>
                    <a:pt x="270" y="149"/>
                    <a:pt x="270" y="137"/>
                  </a:cubicBezTo>
                  <a:cubicBezTo>
                    <a:pt x="270" y="124"/>
                    <a:pt x="267" y="112"/>
                    <a:pt x="260" y="101"/>
                  </a:cubicBezTo>
                  <a:cubicBezTo>
                    <a:pt x="257" y="97"/>
                    <a:pt x="258" y="92"/>
                    <a:pt x="262" y="90"/>
                  </a:cubicBezTo>
                  <a:cubicBezTo>
                    <a:pt x="266" y="88"/>
                    <a:pt x="271" y="89"/>
                    <a:pt x="273" y="92"/>
                  </a:cubicBezTo>
                  <a:cubicBezTo>
                    <a:pt x="282" y="105"/>
                    <a:pt x="286" y="121"/>
                    <a:pt x="286" y="137"/>
                  </a:cubicBezTo>
                  <a:cubicBezTo>
                    <a:pt x="286" y="153"/>
                    <a:pt x="282" y="168"/>
                    <a:pt x="273" y="181"/>
                  </a:cubicBezTo>
                  <a:cubicBezTo>
                    <a:pt x="272" y="183"/>
                    <a:pt x="269" y="185"/>
                    <a:pt x="266" y="185"/>
                  </a:cubicBezTo>
                  <a:moveTo>
                    <a:pt x="295" y="203"/>
                  </a:moveTo>
                  <a:cubicBezTo>
                    <a:pt x="293" y="203"/>
                    <a:pt x="292" y="203"/>
                    <a:pt x="290" y="202"/>
                  </a:cubicBezTo>
                  <a:cubicBezTo>
                    <a:pt x="287" y="199"/>
                    <a:pt x="286" y="194"/>
                    <a:pt x="288" y="191"/>
                  </a:cubicBezTo>
                  <a:cubicBezTo>
                    <a:pt x="299" y="175"/>
                    <a:pt x="304" y="156"/>
                    <a:pt x="304" y="137"/>
                  </a:cubicBezTo>
                  <a:cubicBezTo>
                    <a:pt x="304" y="117"/>
                    <a:pt x="299" y="99"/>
                    <a:pt x="288" y="83"/>
                  </a:cubicBezTo>
                  <a:cubicBezTo>
                    <a:pt x="286" y="79"/>
                    <a:pt x="287" y="74"/>
                    <a:pt x="290" y="72"/>
                  </a:cubicBezTo>
                  <a:cubicBezTo>
                    <a:pt x="294" y="69"/>
                    <a:pt x="299" y="70"/>
                    <a:pt x="301" y="74"/>
                  </a:cubicBezTo>
                  <a:cubicBezTo>
                    <a:pt x="314" y="93"/>
                    <a:pt x="320" y="114"/>
                    <a:pt x="320" y="137"/>
                  </a:cubicBezTo>
                  <a:cubicBezTo>
                    <a:pt x="320" y="159"/>
                    <a:pt x="314" y="181"/>
                    <a:pt x="301" y="199"/>
                  </a:cubicBezTo>
                  <a:cubicBezTo>
                    <a:pt x="300" y="202"/>
                    <a:pt x="297" y="203"/>
                    <a:pt x="295" y="203"/>
                  </a:cubicBezTo>
                  <a:moveTo>
                    <a:pt x="144" y="185"/>
                  </a:moveTo>
                  <a:cubicBezTo>
                    <a:pt x="145" y="185"/>
                    <a:pt x="147" y="184"/>
                    <a:pt x="148" y="183"/>
                  </a:cubicBezTo>
                  <a:cubicBezTo>
                    <a:pt x="152" y="181"/>
                    <a:pt x="153" y="176"/>
                    <a:pt x="150" y="172"/>
                  </a:cubicBezTo>
                  <a:cubicBezTo>
                    <a:pt x="144" y="162"/>
                    <a:pt x="140" y="149"/>
                    <a:pt x="140" y="137"/>
                  </a:cubicBezTo>
                  <a:cubicBezTo>
                    <a:pt x="140" y="124"/>
                    <a:pt x="144" y="112"/>
                    <a:pt x="150" y="101"/>
                  </a:cubicBezTo>
                  <a:cubicBezTo>
                    <a:pt x="153" y="97"/>
                    <a:pt x="152" y="92"/>
                    <a:pt x="148" y="90"/>
                  </a:cubicBezTo>
                  <a:cubicBezTo>
                    <a:pt x="144" y="88"/>
                    <a:pt x="140" y="89"/>
                    <a:pt x="137" y="92"/>
                  </a:cubicBezTo>
                  <a:cubicBezTo>
                    <a:pt x="128" y="105"/>
                    <a:pt x="124" y="121"/>
                    <a:pt x="124" y="137"/>
                  </a:cubicBezTo>
                  <a:cubicBezTo>
                    <a:pt x="124" y="153"/>
                    <a:pt x="128" y="168"/>
                    <a:pt x="137" y="181"/>
                  </a:cubicBezTo>
                  <a:cubicBezTo>
                    <a:pt x="139" y="183"/>
                    <a:pt x="141" y="185"/>
                    <a:pt x="144" y="185"/>
                  </a:cubicBezTo>
                  <a:moveTo>
                    <a:pt x="115" y="203"/>
                  </a:moveTo>
                  <a:cubicBezTo>
                    <a:pt x="117" y="203"/>
                    <a:pt x="119" y="203"/>
                    <a:pt x="120" y="202"/>
                  </a:cubicBezTo>
                  <a:cubicBezTo>
                    <a:pt x="124" y="199"/>
                    <a:pt x="125" y="194"/>
                    <a:pt x="122" y="191"/>
                  </a:cubicBezTo>
                  <a:cubicBezTo>
                    <a:pt x="112" y="175"/>
                    <a:pt x="106" y="156"/>
                    <a:pt x="106" y="137"/>
                  </a:cubicBezTo>
                  <a:cubicBezTo>
                    <a:pt x="106" y="117"/>
                    <a:pt x="112" y="99"/>
                    <a:pt x="122" y="83"/>
                  </a:cubicBezTo>
                  <a:cubicBezTo>
                    <a:pt x="125" y="79"/>
                    <a:pt x="124" y="74"/>
                    <a:pt x="120" y="72"/>
                  </a:cubicBezTo>
                  <a:cubicBezTo>
                    <a:pt x="116" y="69"/>
                    <a:pt x="111" y="70"/>
                    <a:pt x="109" y="74"/>
                  </a:cubicBezTo>
                  <a:cubicBezTo>
                    <a:pt x="97" y="93"/>
                    <a:pt x="90" y="114"/>
                    <a:pt x="90" y="137"/>
                  </a:cubicBezTo>
                  <a:cubicBezTo>
                    <a:pt x="90" y="159"/>
                    <a:pt x="97" y="181"/>
                    <a:pt x="109" y="199"/>
                  </a:cubicBezTo>
                  <a:cubicBezTo>
                    <a:pt x="110" y="202"/>
                    <a:pt x="113" y="203"/>
                    <a:pt x="115" y="203"/>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sp>
        <p:nvSpPr>
          <p:cNvPr id="357" name="Freeform 3"/>
          <p:cNvSpPr>
            <a:spLocks noChangeAspect="1"/>
          </p:cNvSpPr>
          <p:nvPr/>
        </p:nvSpPr>
        <p:spPr bwMode="auto">
          <a:xfrm>
            <a:off x="10636989" y="4881898"/>
            <a:ext cx="808037" cy="51276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FFC000"/>
          </a:solidFill>
          <a:ln>
            <a:noFill/>
          </a:ln>
          <a:extLst/>
        </p:spPr>
        <p:txBody>
          <a:bodyPr/>
          <a:lstStyle/>
          <a:p>
            <a:endParaRPr lang="en-US">
              <a:solidFill>
                <a:srgbClr val="58585A"/>
              </a:solidFill>
            </a:endParaRPr>
          </a:p>
        </p:txBody>
      </p:sp>
      <p:sp>
        <p:nvSpPr>
          <p:cNvPr id="358" name="Freeform 3"/>
          <p:cNvSpPr>
            <a:spLocks noChangeAspect="1"/>
          </p:cNvSpPr>
          <p:nvPr/>
        </p:nvSpPr>
        <p:spPr bwMode="auto">
          <a:xfrm>
            <a:off x="10636989" y="6035805"/>
            <a:ext cx="808037" cy="512763"/>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rgbClr val="00A9D4"/>
          </a:solidFill>
          <a:ln>
            <a:noFill/>
          </a:ln>
          <a:extLst/>
        </p:spPr>
        <p:txBody>
          <a:bodyPr/>
          <a:lstStyle/>
          <a:p>
            <a:endParaRPr lang="en-US">
              <a:solidFill>
                <a:srgbClr val="58585A"/>
              </a:solidFill>
            </a:endParaRPr>
          </a:p>
        </p:txBody>
      </p:sp>
      <p:grpSp>
        <p:nvGrpSpPr>
          <p:cNvPr id="361" name="Group 45"/>
          <p:cNvGrpSpPr>
            <a:grpSpLocks noChangeAspect="1"/>
          </p:cNvGrpSpPr>
          <p:nvPr/>
        </p:nvGrpSpPr>
        <p:grpSpPr bwMode="auto">
          <a:xfrm>
            <a:off x="5519305" y="4581926"/>
            <a:ext cx="428873" cy="582717"/>
            <a:chOff x="1057" y="1587"/>
            <a:chExt cx="363" cy="520"/>
          </a:xfrm>
        </p:grpSpPr>
        <p:sp>
          <p:nvSpPr>
            <p:cNvPr id="362" name="AutoShape 46"/>
            <p:cNvSpPr>
              <a:spLocks noChangeAspect="1" noChangeArrowheads="1"/>
            </p:cNvSpPr>
            <p:nvPr/>
          </p:nvSpPr>
          <p:spPr bwMode="auto">
            <a:xfrm>
              <a:off x="1064" y="1735"/>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63" name="Oval 47"/>
            <p:cNvSpPr>
              <a:spLocks noChangeAspect="1" noChangeArrowheads="1"/>
            </p:cNvSpPr>
            <p:nvPr/>
          </p:nvSpPr>
          <p:spPr bwMode="auto">
            <a:xfrm>
              <a:off x="1062" y="1594"/>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64" name="Text Box 48"/>
            <p:cNvSpPr txBox="1">
              <a:spLocks noChangeAspect="1" noChangeArrowheads="1"/>
            </p:cNvSpPr>
            <p:nvPr/>
          </p:nvSpPr>
          <p:spPr bwMode="auto">
            <a:xfrm>
              <a:off x="1074" y="1870"/>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algn="ctr" eaLnBrk="1" hangingPunct="1">
                <a:lnSpc>
                  <a:spcPct val="80000"/>
                </a:lnSpc>
                <a:spcBef>
                  <a:spcPct val="0"/>
                </a:spcBef>
                <a:buClrTx/>
                <a:buFontTx/>
                <a:buNone/>
              </a:pPr>
              <a:r>
                <a:rPr lang="en-US" altLang="en-US" sz="1000">
                  <a:solidFill>
                    <a:srgbClr val="00A9D4"/>
                  </a:solidFill>
                  <a:latin typeface="+mn-lt"/>
                  <a:ea typeface="Segoe UI" panose="020B0502040204020203" pitchFamily="34" charset="0"/>
                  <a:cs typeface="Segoe UI" panose="020B0502040204020203" pitchFamily="34" charset="0"/>
                </a:rPr>
                <a:t>AUSF/UDM</a:t>
              </a:r>
            </a:p>
          </p:txBody>
        </p:sp>
        <p:sp>
          <p:nvSpPr>
            <p:cNvPr id="365" name="Rectangle 49"/>
            <p:cNvSpPr>
              <a:spLocks noChangeAspect="1" noChangeArrowheads="1"/>
            </p:cNvSpPr>
            <p:nvPr/>
          </p:nvSpPr>
          <p:spPr bwMode="auto">
            <a:xfrm>
              <a:off x="1057" y="1587"/>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charset="0"/>
                <a:buChar char="›"/>
                <a:defRPr sz="2400">
                  <a:solidFill>
                    <a:schemeClr val="tx1"/>
                  </a:solidFill>
                  <a:latin typeface="Arial"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charset="0"/>
                </a:defRPr>
              </a:lvl9pPr>
            </a:lstStyle>
            <a:p>
              <a:pPr eaLnBrk="1" hangingPunct="1">
                <a:spcBef>
                  <a:spcPct val="0"/>
                </a:spcBef>
                <a:buClrTx/>
                <a:buFontTx/>
                <a:buNone/>
              </a:pPr>
              <a:endParaRPr lang="sv-SE" altLang="en-US" sz="5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sp>
          <p:nvSpPr>
            <p:cNvPr id="366" name="Freeform 11"/>
            <p:cNvSpPr>
              <a:spLocks noChangeAspect="1" noEditPoints="1"/>
            </p:cNvSpPr>
            <p:nvPr/>
          </p:nvSpPr>
          <p:spPr bwMode="auto">
            <a:xfrm>
              <a:off x="1057" y="1587"/>
              <a:ext cx="363" cy="520"/>
            </a:xfrm>
            <a:custGeom>
              <a:avLst/>
              <a:gdLst>
                <a:gd name="T0" fmla="*/ 38622 w 410"/>
                <a:gd name="T1" fmla="*/ 20911 h 589"/>
                <a:gd name="T2" fmla="*/ 36269 w 410"/>
                <a:gd name="T3" fmla="*/ 50556 h 589"/>
                <a:gd name="T4" fmla="*/ 1569 w 410"/>
                <a:gd name="T5" fmla="*/ 48439 h 589"/>
                <a:gd name="T6" fmla="*/ 20096 w 410"/>
                <a:gd name="T7" fmla="*/ 1413 h 589"/>
                <a:gd name="T8" fmla="*/ 39405 w 410"/>
                <a:gd name="T9" fmla="*/ 18793 h 589"/>
                <a:gd name="T10" fmla="*/ 40190 w 410"/>
                <a:gd name="T11" fmla="*/ 18087 h 589"/>
                <a:gd name="T12" fmla="*/ 0 w 410"/>
                <a:gd name="T13" fmla="*/ 18087 h 589"/>
                <a:gd name="T14" fmla="*/ 98 w 410"/>
                <a:gd name="T15" fmla="*/ 48439 h 589"/>
                <a:gd name="T16" fmla="*/ 36269 w 410"/>
                <a:gd name="T17" fmla="*/ 51968 h 589"/>
                <a:gd name="T18" fmla="*/ 40190 w 410"/>
                <a:gd name="T19" fmla="*/ 20911 h 589"/>
                <a:gd name="T20" fmla="*/ 14508 w 410"/>
                <a:gd name="T21" fmla="*/ 15265 h 589"/>
                <a:gd name="T22" fmla="*/ 26369 w 410"/>
                <a:gd name="T23" fmla="*/ 14911 h 589"/>
                <a:gd name="T24" fmla="*/ 20781 w 410"/>
                <a:gd name="T25" fmla="*/ 4235 h 589"/>
                <a:gd name="T26" fmla="*/ 19409 w 410"/>
                <a:gd name="T27" fmla="*/ 4235 h 589"/>
                <a:gd name="T28" fmla="*/ 13821 w 410"/>
                <a:gd name="T29" fmla="*/ 14911 h 589"/>
                <a:gd name="T30" fmla="*/ 20096 w 410"/>
                <a:gd name="T31" fmla="*/ 6088 h 589"/>
                <a:gd name="T32" fmla="*/ 15783 w 410"/>
                <a:gd name="T33" fmla="*/ 13852 h 589"/>
                <a:gd name="T34" fmla="*/ 8822 w 410"/>
                <a:gd name="T35" fmla="*/ 18528 h 589"/>
                <a:gd name="T36" fmla="*/ 7450 w 410"/>
                <a:gd name="T37" fmla="*/ 19941 h 589"/>
                <a:gd name="T38" fmla="*/ 7940 w 410"/>
                <a:gd name="T39" fmla="*/ 25057 h 589"/>
                <a:gd name="T40" fmla="*/ 20096 w 410"/>
                <a:gd name="T41" fmla="*/ 26734 h 589"/>
                <a:gd name="T42" fmla="*/ 31368 w 410"/>
                <a:gd name="T43" fmla="*/ 25587 h 589"/>
                <a:gd name="T44" fmla="*/ 32740 w 410"/>
                <a:gd name="T45" fmla="*/ 24174 h 589"/>
                <a:gd name="T46" fmla="*/ 32249 w 410"/>
                <a:gd name="T47" fmla="*/ 19058 h 589"/>
                <a:gd name="T48" fmla="*/ 20096 w 410"/>
                <a:gd name="T49" fmla="*/ 17382 h 589"/>
                <a:gd name="T50" fmla="*/ 8822 w 410"/>
                <a:gd name="T51" fmla="*/ 18528 h 589"/>
                <a:gd name="T52" fmla="*/ 30094 w 410"/>
                <a:gd name="T53" fmla="*/ 24439 h 589"/>
                <a:gd name="T54" fmla="*/ 11861 w 410"/>
                <a:gd name="T55" fmla="*/ 24792 h 589"/>
                <a:gd name="T56" fmla="*/ 9018 w 410"/>
                <a:gd name="T57" fmla="*/ 23999 h 589"/>
                <a:gd name="T58" fmla="*/ 9704 w 410"/>
                <a:gd name="T59" fmla="*/ 21529 h 589"/>
                <a:gd name="T60" fmla="*/ 28624 w 410"/>
                <a:gd name="T61" fmla="*/ 21881 h 589"/>
                <a:gd name="T62" fmla="*/ 31171 w 410"/>
                <a:gd name="T63" fmla="*/ 23999 h 589"/>
                <a:gd name="T64" fmla="*/ 30781 w 410"/>
                <a:gd name="T65" fmla="*/ 19852 h 589"/>
                <a:gd name="T66" fmla="*/ 30094 w 410"/>
                <a:gd name="T67" fmla="*/ 20205 h 589"/>
                <a:gd name="T68" fmla="*/ 11861 w 410"/>
                <a:gd name="T69" fmla="*/ 20559 h 589"/>
                <a:gd name="T70" fmla="*/ 9313 w 410"/>
                <a:gd name="T71" fmla="*/ 19941 h 589"/>
                <a:gd name="T72" fmla="*/ 20096 w 410"/>
                <a:gd name="T73" fmla="*/ 1879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10"/>
                <a:gd name="T112" fmla="*/ 0 h 589"/>
                <a:gd name="T113" fmla="*/ 410 w 410"/>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148" y="173"/>
                  </a:moveTo>
                  <a:cubicBezTo>
                    <a:pt x="262" y="173"/>
                    <a:pt x="262" y="173"/>
                    <a:pt x="262" y="173"/>
                  </a:cubicBezTo>
                  <a:cubicBezTo>
                    <a:pt x="264" y="173"/>
                    <a:pt x="267" y="172"/>
                    <a:pt x="269" y="169"/>
                  </a:cubicBezTo>
                  <a:cubicBezTo>
                    <a:pt x="270" y="167"/>
                    <a:pt x="270" y="164"/>
                    <a:pt x="269" y="162"/>
                  </a:cubicBezTo>
                  <a:cubicBezTo>
                    <a:pt x="212" y="48"/>
                    <a:pt x="212" y="48"/>
                    <a:pt x="212" y="48"/>
                  </a:cubicBezTo>
                  <a:cubicBezTo>
                    <a:pt x="211" y="45"/>
                    <a:pt x="208" y="43"/>
                    <a:pt x="205" y="43"/>
                  </a:cubicBezTo>
                  <a:cubicBezTo>
                    <a:pt x="202" y="43"/>
                    <a:pt x="199" y="45"/>
                    <a:pt x="198" y="48"/>
                  </a:cubicBezTo>
                  <a:cubicBezTo>
                    <a:pt x="141" y="162"/>
                    <a:pt x="141" y="162"/>
                    <a:pt x="141" y="162"/>
                  </a:cubicBezTo>
                  <a:cubicBezTo>
                    <a:pt x="139" y="164"/>
                    <a:pt x="139" y="167"/>
                    <a:pt x="141" y="169"/>
                  </a:cubicBezTo>
                  <a:cubicBezTo>
                    <a:pt x="142" y="172"/>
                    <a:pt x="145" y="173"/>
                    <a:pt x="148" y="173"/>
                  </a:cubicBezTo>
                  <a:moveTo>
                    <a:pt x="205" y="69"/>
                  </a:moveTo>
                  <a:cubicBezTo>
                    <a:pt x="249" y="157"/>
                    <a:pt x="249" y="157"/>
                    <a:pt x="249" y="157"/>
                  </a:cubicBezTo>
                  <a:cubicBezTo>
                    <a:pt x="161" y="157"/>
                    <a:pt x="161" y="157"/>
                    <a:pt x="161" y="157"/>
                  </a:cubicBezTo>
                  <a:lnTo>
                    <a:pt x="205" y="69"/>
                  </a:lnTo>
                  <a:close/>
                  <a:moveTo>
                    <a:pt x="90" y="210"/>
                  </a:moveTo>
                  <a:cubicBezTo>
                    <a:pt x="87" y="212"/>
                    <a:pt x="84" y="213"/>
                    <a:pt x="81" y="216"/>
                  </a:cubicBezTo>
                  <a:cubicBezTo>
                    <a:pt x="79" y="218"/>
                    <a:pt x="76" y="221"/>
                    <a:pt x="76" y="226"/>
                  </a:cubicBezTo>
                  <a:cubicBezTo>
                    <a:pt x="76" y="274"/>
                    <a:pt x="76" y="274"/>
                    <a:pt x="76" y="274"/>
                  </a:cubicBezTo>
                  <a:cubicBezTo>
                    <a:pt x="76" y="279"/>
                    <a:pt x="79" y="282"/>
                    <a:pt x="81" y="284"/>
                  </a:cubicBezTo>
                  <a:cubicBezTo>
                    <a:pt x="86" y="288"/>
                    <a:pt x="92" y="290"/>
                    <a:pt x="99" y="293"/>
                  </a:cubicBezTo>
                  <a:cubicBezTo>
                    <a:pt x="122" y="299"/>
                    <a:pt x="161" y="303"/>
                    <a:pt x="205" y="303"/>
                  </a:cubicBezTo>
                  <a:cubicBezTo>
                    <a:pt x="239" y="303"/>
                    <a:pt x="270" y="300"/>
                    <a:pt x="292" y="297"/>
                  </a:cubicBezTo>
                  <a:cubicBezTo>
                    <a:pt x="304" y="295"/>
                    <a:pt x="313" y="292"/>
                    <a:pt x="320" y="290"/>
                  </a:cubicBezTo>
                  <a:cubicBezTo>
                    <a:pt x="324" y="288"/>
                    <a:pt x="327" y="287"/>
                    <a:pt x="329" y="284"/>
                  </a:cubicBezTo>
                  <a:cubicBezTo>
                    <a:pt x="332" y="282"/>
                    <a:pt x="334" y="279"/>
                    <a:pt x="334" y="274"/>
                  </a:cubicBezTo>
                  <a:cubicBezTo>
                    <a:pt x="334" y="226"/>
                    <a:pt x="334" y="226"/>
                    <a:pt x="334" y="226"/>
                  </a:cubicBezTo>
                  <a:cubicBezTo>
                    <a:pt x="334" y="221"/>
                    <a:pt x="332" y="218"/>
                    <a:pt x="329" y="216"/>
                  </a:cubicBezTo>
                  <a:cubicBezTo>
                    <a:pt x="325" y="212"/>
                    <a:pt x="319" y="210"/>
                    <a:pt x="311" y="207"/>
                  </a:cubicBezTo>
                  <a:cubicBezTo>
                    <a:pt x="288" y="201"/>
                    <a:pt x="250" y="197"/>
                    <a:pt x="205" y="197"/>
                  </a:cubicBezTo>
                  <a:cubicBezTo>
                    <a:pt x="171" y="197"/>
                    <a:pt x="141" y="199"/>
                    <a:pt x="118" y="203"/>
                  </a:cubicBezTo>
                  <a:cubicBezTo>
                    <a:pt x="107" y="205"/>
                    <a:pt x="97" y="208"/>
                    <a:pt x="90" y="210"/>
                  </a:cubicBezTo>
                  <a:moveTo>
                    <a:pt x="318" y="272"/>
                  </a:moveTo>
                  <a:cubicBezTo>
                    <a:pt x="317" y="274"/>
                    <a:pt x="313" y="275"/>
                    <a:pt x="307" y="277"/>
                  </a:cubicBezTo>
                  <a:cubicBezTo>
                    <a:pt x="287" y="283"/>
                    <a:pt x="249" y="287"/>
                    <a:pt x="205" y="287"/>
                  </a:cubicBezTo>
                  <a:cubicBezTo>
                    <a:pt x="172" y="287"/>
                    <a:pt x="142" y="285"/>
                    <a:pt x="121" y="281"/>
                  </a:cubicBezTo>
                  <a:cubicBezTo>
                    <a:pt x="110" y="279"/>
                    <a:pt x="102" y="277"/>
                    <a:pt x="96" y="275"/>
                  </a:cubicBezTo>
                  <a:cubicBezTo>
                    <a:pt x="94" y="274"/>
                    <a:pt x="93" y="273"/>
                    <a:pt x="92" y="272"/>
                  </a:cubicBezTo>
                  <a:cubicBezTo>
                    <a:pt x="92" y="242"/>
                    <a:pt x="92" y="242"/>
                    <a:pt x="92" y="242"/>
                  </a:cubicBezTo>
                  <a:cubicBezTo>
                    <a:pt x="94" y="243"/>
                    <a:pt x="97" y="244"/>
                    <a:pt x="99" y="244"/>
                  </a:cubicBezTo>
                  <a:cubicBezTo>
                    <a:pt x="122" y="251"/>
                    <a:pt x="161" y="255"/>
                    <a:pt x="205" y="255"/>
                  </a:cubicBezTo>
                  <a:cubicBezTo>
                    <a:pt x="239" y="255"/>
                    <a:pt x="270" y="252"/>
                    <a:pt x="292" y="248"/>
                  </a:cubicBezTo>
                  <a:cubicBezTo>
                    <a:pt x="303" y="247"/>
                    <a:pt x="312" y="244"/>
                    <a:pt x="319" y="242"/>
                  </a:cubicBezTo>
                  <a:lnTo>
                    <a:pt x="318" y="272"/>
                  </a:lnTo>
                  <a:close/>
                  <a:moveTo>
                    <a:pt x="290" y="219"/>
                  </a:moveTo>
                  <a:cubicBezTo>
                    <a:pt x="300" y="221"/>
                    <a:pt x="309" y="223"/>
                    <a:pt x="314" y="225"/>
                  </a:cubicBezTo>
                  <a:cubicBezTo>
                    <a:pt x="315" y="225"/>
                    <a:pt x="315" y="226"/>
                    <a:pt x="316" y="226"/>
                  </a:cubicBezTo>
                  <a:cubicBezTo>
                    <a:pt x="313" y="227"/>
                    <a:pt x="311" y="228"/>
                    <a:pt x="307" y="229"/>
                  </a:cubicBezTo>
                  <a:cubicBezTo>
                    <a:pt x="287" y="235"/>
                    <a:pt x="249" y="239"/>
                    <a:pt x="205" y="239"/>
                  </a:cubicBezTo>
                  <a:cubicBezTo>
                    <a:pt x="172" y="239"/>
                    <a:pt x="142" y="236"/>
                    <a:pt x="121" y="233"/>
                  </a:cubicBezTo>
                  <a:cubicBezTo>
                    <a:pt x="110" y="231"/>
                    <a:pt x="102" y="229"/>
                    <a:pt x="96" y="227"/>
                  </a:cubicBezTo>
                  <a:cubicBezTo>
                    <a:pt x="96" y="226"/>
                    <a:pt x="95" y="226"/>
                    <a:pt x="95" y="226"/>
                  </a:cubicBezTo>
                  <a:cubicBezTo>
                    <a:pt x="97" y="225"/>
                    <a:pt x="100" y="224"/>
                    <a:pt x="103" y="223"/>
                  </a:cubicBezTo>
                  <a:cubicBezTo>
                    <a:pt x="123" y="217"/>
                    <a:pt x="162" y="213"/>
                    <a:pt x="205" y="213"/>
                  </a:cubicBezTo>
                  <a:cubicBezTo>
                    <a:pt x="238" y="213"/>
                    <a:pt x="268" y="215"/>
                    <a:pt x="290" y="219"/>
                  </a:cubicBezTo>
                </a:path>
              </a:pathLst>
            </a:custGeom>
            <a:solidFill>
              <a:srgbClr val="00A9D4"/>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sz="1200">
                <a:solidFill>
                  <a:srgbClr val="58585A"/>
                </a:solidFill>
                <a:latin typeface="Segoe UI" panose="020B0502040204020203" pitchFamily="34" charset="0"/>
                <a:ea typeface="Segoe UI" panose="020B0502040204020203" pitchFamily="34" charset="0"/>
                <a:cs typeface="Segoe UI" panose="020B0502040204020203" pitchFamily="34" charset="0"/>
              </a:endParaRPr>
            </a:p>
          </p:txBody>
        </p:sp>
      </p:grpSp>
      <p:cxnSp>
        <p:nvCxnSpPr>
          <p:cNvPr id="367" name="Straight Connector 366"/>
          <p:cNvCxnSpPr>
            <a:cxnSpLocks/>
            <a:stCxn id="364" idx="2"/>
            <a:endCxn id="370" idx="0"/>
          </p:cNvCxnSpPr>
          <p:nvPr/>
        </p:nvCxnSpPr>
        <p:spPr bwMode="auto">
          <a:xfrm flipH="1">
            <a:off x="5729245" y="5151196"/>
            <a:ext cx="3315" cy="84352"/>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grpSp>
        <p:nvGrpSpPr>
          <p:cNvPr id="368" name="Group 557"/>
          <p:cNvGrpSpPr>
            <a:grpSpLocks noChangeAspect="1"/>
          </p:cNvGrpSpPr>
          <p:nvPr/>
        </p:nvGrpSpPr>
        <p:grpSpPr bwMode="auto">
          <a:xfrm>
            <a:off x="5519422" y="5227768"/>
            <a:ext cx="420805" cy="577910"/>
            <a:chOff x="3510" y="1858"/>
            <a:chExt cx="363" cy="520"/>
          </a:xfrm>
        </p:grpSpPr>
        <p:sp>
          <p:nvSpPr>
            <p:cNvPr id="369" name="AutoShape 238"/>
            <p:cNvSpPr>
              <a:spLocks noChangeAspect="1" noChangeArrowheads="1"/>
            </p:cNvSpPr>
            <p:nvPr/>
          </p:nvSpPr>
          <p:spPr bwMode="auto">
            <a:xfrm>
              <a:off x="3517" y="2006"/>
              <a:ext cx="350" cy="366"/>
            </a:xfrm>
            <a:prstGeom prst="roundRect">
              <a:avLst>
                <a:gd name="adj" fmla="val 9356"/>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370" name="Oval 239"/>
            <p:cNvSpPr>
              <a:spLocks noChangeAspect="1" noChangeArrowheads="1"/>
            </p:cNvSpPr>
            <p:nvPr/>
          </p:nvSpPr>
          <p:spPr bwMode="auto">
            <a:xfrm>
              <a:off x="3515" y="1865"/>
              <a:ext cx="352" cy="355"/>
            </a:xfrm>
            <a:prstGeom prst="ellipse">
              <a:avLst/>
            </a:prstGeom>
            <a:solidFill>
              <a:schemeClr val="bg1"/>
            </a:solidFill>
            <a:ln w="12700" algn="ctr">
              <a:solidFill>
                <a:schemeClr val="bg1"/>
              </a:solidFill>
              <a:round/>
              <a:headEnd/>
              <a:tailEnd/>
            </a:ln>
          </p:spPr>
          <p:txBody>
            <a:bodyPr wrap="none" lIns="0" r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371" name="Text Box 240"/>
            <p:cNvSpPr txBox="1">
              <a:spLocks noChangeAspect="1" noChangeArrowheads="1"/>
            </p:cNvSpPr>
            <p:nvPr/>
          </p:nvSpPr>
          <p:spPr bwMode="auto">
            <a:xfrm>
              <a:off x="3527" y="2141"/>
              <a:ext cx="327" cy="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lnSpc>
                  <a:spcPct val="80000"/>
                </a:lnSpc>
                <a:spcBef>
                  <a:spcPct val="0"/>
                </a:spcBef>
                <a:buClrTx/>
                <a:buNone/>
              </a:pPr>
              <a:r>
                <a:rPr lang="en-US" altLang="en-US" sz="1000">
                  <a:solidFill>
                    <a:srgbClr val="8F3F7B"/>
                  </a:solidFill>
                  <a:ea typeface="MS PGothic" pitchFamily="34" charset="-128"/>
                </a:rPr>
                <a:t>AMF</a:t>
              </a:r>
            </a:p>
          </p:txBody>
        </p:sp>
        <p:sp>
          <p:nvSpPr>
            <p:cNvPr id="372" name="Rectangle 241"/>
            <p:cNvSpPr>
              <a:spLocks noChangeAspect="1" noChangeArrowheads="1"/>
            </p:cNvSpPr>
            <p:nvPr/>
          </p:nvSpPr>
          <p:spPr bwMode="auto">
            <a:xfrm>
              <a:off x="3510" y="1858"/>
              <a:ext cx="363" cy="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72000" rIns="72000"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eaLnBrk="1" hangingPunct="1">
                <a:spcBef>
                  <a:spcPct val="0"/>
                </a:spcBef>
                <a:buClrTx/>
                <a:buFontTx/>
                <a:buNone/>
              </a:pPr>
              <a:endParaRPr lang="sv-SE" altLang="en-US" sz="900">
                <a:solidFill>
                  <a:srgbClr val="58585A"/>
                </a:solidFill>
              </a:endParaRPr>
            </a:p>
          </p:txBody>
        </p:sp>
        <p:sp>
          <p:nvSpPr>
            <p:cNvPr id="373" name="Freeform 11"/>
            <p:cNvSpPr>
              <a:spLocks noChangeAspect="1" noEditPoints="1"/>
            </p:cNvSpPr>
            <p:nvPr/>
          </p:nvSpPr>
          <p:spPr bwMode="auto">
            <a:xfrm>
              <a:off x="3510" y="1858"/>
              <a:ext cx="363" cy="519"/>
            </a:xfrm>
            <a:custGeom>
              <a:avLst/>
              <a:gdLst>
                <a:gd name="T0" fmla="*/ 10325 w 410"/>
                <a:gd name="T1" fmla="*/ 4678 h 589"/>
                <a:gd name="T2" fmla="*/ 10120 w 410"/>
                <a:gd name="T3" fmla="*/ 4843 h 589"/>
                <a:gd name="T4" fmla="*/ 10120 w 410"/>
                <a:gd name="T5" fmla="*/ 11215 h 589"/>
                <a:gd name="T6" fmla="*/ 9503 w 410"/>
                <a:gd name="T7" fmla="*/ 11706 h 589"/>
                <a:gd name="T8" fmla="*/ 1053 w 410"/>
                <a:gd name="T9" fmla="*/ 11706 h 589"/>
                <a:gd name="T10" fmla="*/ 410 w 410"/>
                <a:gd name="T11" fmla="*/ 11215 h 589"/>
                <a:gd name="T12" fmla="*/ 410 w 410"/>
                <a:gd name="T13" fmla="*/ 4188 h 589"/>
                <a:gd name="T14" fmla="*/ 5265 w 410"/>
                <a:gd name="T15" fmla="*/ 328 h 589"/>
                <a:gd name="T16" fmla="*/ 10120 w 410"/>
                <a:gd name="T17" fmla="*/ 4188 h 589"/>
                <a:gd name="T18" fmla="*/ 10325 w 410"/>
                <a:gd name="T19" fmla="*/ 4351 h 589"/>
                <a:gd name="T20" fmla="*/ 10531 w 410"/>
                <a:gd name="T21" fmla="*/ 4188 h 589"/>
                <a:gd name="T22" fmla="*/ 10531 w 410"/>
                <a:gd name="T23" fmla="*/ 4188 h 589"/>
                <a:gd name="T24" fmla="*/ 5265 w 410"/>
                <a:gd name="T25" fmla="*/ 0 h 589"/>
                <a:gd name="T26" fmla="*/ 0 w 410"/>
                <a:gd name="T27" fmla="*/ 4188 h 589"/>
                <a:gd name="T28" fmla="*/ 0 w 410"/>
                <a:gd name="T29" fmla="*/ 4188 h 589"/>
                <a:gd name="T30" fmla="*/ 26 w 410"/>
                <a:gd name="T31" fmla="*/ 11215 h 589"/>
                <a:gd name="T32" fmla="*/ 1053 w 410"/>
                <a:gd name="T33" fmla="*/ 12033 h 589"/>
                <a:gd name="T34" fmla="*/ 9503 w 410"/>
                <a:gd name="T35" fmla="*/ 12033 h 589"/>
                <a:gd name="T36" fmla="*/ 10531 w 410"/>
                <a:gd name="T37" fmla="*/ 11215 h 589"/>
                <a:gd name="T38" fmla="*/ 10531 w 410"/>
                <a:gd name="T39" fmla="*/ 4843 h 589"/>
                <a:gd name="T40" fmla="*/ 10325 w 410"/>
                <a:gd name="T41" fmla="*/ 4678 h 589"/>
                <a:gd name="T42" fmla="*/ 5265 w 410"/>
                <a:gd name="T43" fmla="*/ 1083 h 589"/>
                <a:gd name="T44" fmla="*/ 5086 w 410"/>
                <a:gd name="T45" fmla="*/ 1185 h 589"/>
                <a:gd name="T46" fmla="*/ 1952 w 410"/>
                <a:gd name="T47" fmla="*/ 5945 h 589"/>
                <a:gd name="T48" fmla="*/ 1977 w 410"/>
                <a:gd name="T49" fmla="*/ 6108 h 589"/>
                <a:gd name="T50" fmla="*/ 2133 w 410"/>
                <a:gd name="T51" fmla="*/ 6190 h 589"/>
                <a:gd name="T52" fmla="*/ 8400 w 410"/>
                <a:gd name="T53" fmla="*/ 6190 h 589"/>
                <a:gd name="T54" fmla="*/ 8578 w 410"/>
                <a:gd name="T55" fmla="*/ 6108 h 589"/>
                <a:gd name="T56" fmla="*/ 8578 w 410"/>
                <a:gd name="T57" fmla="*/ 5945 h 589"/>
                <a:gd name="T58" fmla="*/ 5446 w 410"/>
                <a:gd name="T59" fmla="*/ 1185 h 589"/>
                <a:gd name="T60" fmla="*/ 5265 w 410"/>
                <a:gd name="T61" fmla="*/ 1083 h 589"/>
                <a:gd name="T62" fmla="*/ 2465 w 410"/>
                <a:gd name="T63" fmla="*/ 5863 h 589"/>
                <a:gd name="T64" fmla="*/ 5265 w 410"/>
                <a:gd name="T65" fmla="*/ 1614 h 589"/>
                <a:gd name="T66" fmla="*/ 8066 w 410"/>
                <a:gd name="T67" fmla="*/ 5863 h 589"/>
                <a:gd name="T68" fmla="*/ 2465 w 410"/>
                <a:gd name="T69" fmla="*/ 5863 h 58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10"/>
                <a:gd name="T106" fmla="*/ 0 h 589"/>
                <a:gd name="T107" fmla="*/ 410 w 410"/>
                <a:gd name="T108" fmla="*/ 589 h 58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10" h="589">
                  <a:moveTo>
                    <a:pt x="402" y="229"/>
                  </a:moveTo>
                  <a:cubicBezTo>
                    <a:pt x="397" y="229"/>
                    <a:pt x="394" y="233"/>
                    <a:pt x="394" y="237"/>
                  </a:cubicBezTo>
                  <a:cubicBezTo>
                    <a:pt x="394" y="549"/>
                    <a:pt x="394" y="549"/>
                    <a:pt x="394" y="549"/>
                  </a:cubicBezTo>
                  <a:cubicBezTo>
                    <a:pt x="394" y="563"/>
                    <a:pt x="383" y="573"/>
                    <a:pt x="370" y="573"/>
                  </a:cubicBezTo>
                  <a:cubicBezTo>
                    <a:pt x="41" y="573"/>
                    <a:pt x="41" y="573"/>
                    <a:pt x="41" y="573"/>
                  </a:cubicBezTo>
                  <a:cubicBezTo>
                    <a:pt x="27" y="573"/>
                    <a:pt x="17" y="563"/>
                    <a:pt x="16" y="549"/>
                  </a:cubicBezTo>
                  <a:cubicBezTo>
                    <a:pt x="16" y="205"/>
                    <a:pt x="16" y="205"/>
                    <a:pt x="16" y="205"/>
                  </a:cubicBezTo>
                  <a:cubicBezTo>
                    <a:pt x="17" y="101"/>
                    <a:pt x="101" y="16"/>
                    <a:pt x="205" y="16"/>
                  </a:cubicBezTo>
                  <a:cubicBezTo>
                    <a:pt x="309" y="16"/>
                    <a:pt x="394" y="101"/>
                    <a:pt x="394" y="205"/>
                  </a:cubicBezTo>
                  <a:cubicBezTo>
                    <a:pt x="394" y="209"/>
                    <a:pt x="397" y="213"/>
                    <a:pt x="402" y="213"/>
                  </a:cubicBezTo>
                  <a:cubicBezTo>
                    <a:pt x="406" y="213"/>
                    <a:pt x="410" y="209"/>
                    <a:pt x="410" y="205"/>
                  </a:cubicBezTo>
                  <a:cubicBezTo>
                    <a:pt x="410" y="205"/>
                    <a:pt x="410" y="205"/>
                    <a:pt x="410" y="205"/>
                  </a:cubicBezTo>
                  <a:cubicBezTo>
                    <a:pt x="410" y="92"/>
                    <a:pt x="318" y="0"/>
                    <a:pt x="205" y="0"/>
                  </a:cubicBezTo>
                  <a:cubicBezTo>
                    <a:pt x="92" y="0"/>
                    <a:pt x="0" y="92"/>
                    <a:pt x="0" y="205"/>
                  </a:cubicBezTo>
                  <a:cubicBezTo>
                    <a:pt x="0" y="205"/>
                    <a:pt x="0" y="205"/>
                    <a:pt x="0" y="205"/>
                  </a:cubicBezTo>
                  <a:cubicBezTo>
                    <a:pt x="1" y="549"/>
                    <a:pt x="1" y="549"/>
                    <a:pt x="1" y="549"/>
                  </a:cubicBezTo>
                  <a:cubicBezTo>
                    <a:pt x="1" y="571"/>
                    <a:pt x="18" y="589"/>
                    <a:pt x="41" y="589"/>
                  </a:cubicBezTo>
                  <a:cubicBezTo>
                    <a:pt x="370" y="589"/>
                    <a:pt x="370" y="589"/>
                    <a:pt x="370" y="589"/>
                  </a:cubicBezTo>
                  <a:cubicBezTo>
                    <a:pt x="392" y="589"/>
                    <a:pt x="410" y="571"/>
                    <a:pt x="410" y="549"/>
                  </a:cubicBezTo>
                  <a:cubicBezTo>
                    <a:pt x="410" y="237"/>
                    <a:pt x="410" y="237"/>
                    <a:pt x="410" y="237"/>
                  </a:cubicBezTo>
                  <a:cubicBezTo>
                    <a:pt x="410" y="233"/>
                    <a:pt x="406" y="229"/>
                    <a:pt x="402" y="229"/>
                  </a:cubicBezTo>
                  <a:moveTo>
                    <a:pt x="205" y="53"/>
                  </a:moveTo>
                  <a:cubicBezTo>
                    <a:pt x="202" y="53"/>
                    <a:pt x="199" y="55"/>
                    <a:pt x="198" y="58"/>
                  </a:cubicBezTo>
                  <a:cubicBezTo>
                    <a:pt x="76" y="291"/>
                    <a:pt x="76" y="291"/>
                    <a:pt x="76" y="291"/>
                  </a:cubicBezTo>
                  <a:cubicBezTo>
                    <a:pt x="75" y="294"/>
                    <a:pt x="75" y="297"/>
                    <a:pt x="77" y="299"/>
                  </a:cubicBezTo>
                  <a:cubicBezTo>
                    <a:pt x="78" y="301"/>
                    <a:pt x="81" y="303"/>
                    <a:pt x="83" y="303"/>
                  </a:cubicBezTo>
                  <a:cubicBezTo>
                    <a:pt x="327" y="303"/>
                    <a:pt x="327" y="303"/>
                    <a:pt x="327" y="303"/>
                  </a:cubicBezTo>
                  <a:cubicBezTo>
                    <a:pt x="330" y="303"/>
                    <a:pt x="332" y="301"/>
                    <a:pt x="334" y="299"/>
                  </a:cubicBezTo>
                  <a:cubicBezTo>
                    <a:pt x="335" y="297"/>
                    <a:pt x="335" y="294"/>
                    <a:pt x="334" y="291"/>
                  </a:cubicBezTo>
                  <a:cubicBezTo>
                    <a:pt x="212" y="58"/>
                    <a:pt x="212" y="58"/>
                    <a:pt x="212" y="58"/>
                  </a:cubicBezTo>
                  <a:cubicBezTo>
                    <a:pt x="211" y="55"/>
                    <a:pt x="208" y="53"/>
                    <a:pt x="205" y="53"/>
                  </a:cubicBezTo>
                  <a:moveTo>
                    <a:pt x="96" y="287"/>
                  </a:moveTo>
                  <a:cubicBezTo>
                    <a:pt x="205" y="79"/>
                    <a:pt x="205" y="79"/>
                    <a:pt x="205" y="79"/>
                  </a:cubicBezTo>
                  <a:cubicBezTo>
                    <a:pt x="314" y="287"/>
                    <a:pt x="314" y="287"/>
                    <a:pt x="314" y="287"/>
                  </a:cubicBezTo>
                  <a:lnTo>
                    <a:pt x="96" y="287"/>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tIns="1080000" anchor="ctr"/>
            <a:lstStyle/>
            <a:p>
              <a:endParaRPr lang="en-US">
                <a:solidFill>
                  <a:srgbClr val="58585A"/>
                </a:solidFill>
              </a:endParaRPr>
            </a:p>
          </p:txBody>
        </p:sp>
      </p:grpSp>
      <p:cxnSp>
        <p:nvCxnSpPr>
          <p:cNvPr id="375" name="Straight Connector 204"/>
          <p:cNvCxnSpPr>
            <a:cxnSpLocks/>
            <a:stCxn id="327" idx="2"/>
            <a:endCxn id="363" idx="0"/>
          </p:cNvCxnSpPr>
          <p:nvPr/>
        </p:nvCxnSpPr>
        <p:spPr bwMode="auto">
          <a:xfrm rot="10800000">
            <a:off x="5733152" y="4589770"/>
            <a:ext cx="2510753" cy="123084"/>
          </a:xfrm>
          <a:prstGeom prst="bentConnector4">
            <a:avLst>
              <a:gd name="adj1" fmla="val 45859"/>
              <a:gd name="adj2" fmla="val 285727"/>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8522509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5G </a:t>
            </a:r>
            <a:r>
              <a:rPr lang="en-US" dirty="0" smtClean="0">
                <a:solidFill>
                  <a:schemeClr val="tx1"/>
                </a:solidFill>
              </a:rPr>
              <a:t>packet core </a:t>
            </a:r>
            <a:r>
              <a:rPr lang="en-US" dirty="0">
                <a:solidFill>
                  <a:schemeClr val="tx1"/>
                </a:solidFill>
              </a:rPr>
              <a:t>functional overview</a:t>
            </a:r>
          </a:p>
        </p:txBody>
      </p:sp>
      <p:sp>
        <p:nvSpPr>
          <p:cNvPr id="4" name="Oval 3">
            <a:extLst>
              <a:ext uri="{FF2B5EF4-FFF2-40B4-BE49-F238E27FC236}">
                <a16:creationId xmlns:a16="http://schemas.microsoft.com/office/drawing/2014/main" id="{03BE88EF-632E-4157-9891-14F8F2288327}"/>
              </a:ext>
            </a:extLst>
          </p:cNvPr>
          <p:cNvSpPr/>
          <p:nvPr/>
        </p:nvSpPr>
        <p:spPr bwMode="auto">
          <a:xfrm>
            <a:off x="5787535" y="4530658"/>
            <a:ext cx="154650" cy="177423"/>
          </a:xfrm>
          <a:prstGeom prst="ellipse">
            <a:avLst/>
          </a:prstGeom>
          <a:no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grpSp>
        <p:nvGrpSpPr>
          <p:cNvPr id="5" name="Group 4">
            <a:extLst>
              <a:ext uri="{FF2B5EF4-FFF2-40B4-BE49-F238E27FC236}">
                <a16:creationId xmlns:a16="http://schemas.microsoft.com/office/drawing/2014/main" id="{B9B50AD2-EFA1-4006-B73B-35C8569E7D93}"/>
              </a:ext>
            </a:extLst>
          </p:cNvPr>
          <p:cNvGrpSpPr>
            <a:grpSpLocks noChangeAspect="1"/>
          </p:cNvGrpSpPr>
          <p:nvPr/>
        </p:nvGrpSpPr>
        <p:grpSpPr bwMode="auto">
          <a:xfrm flipH="1">
            <a:off x="5473981" y="4463471"/>
            <a:ext cx="495122" cy="711259"/>
            <a:chOff x="4542" y="2478"/>
            <a:chExt cx="969" cy="1392"/>
          </a:xfrm>
        </p:grpSpPr>
        <p:grpSp>
          <p:nvGrpSpPr>
            <p:cNvPr id="6" name="Group 5">
              <a:extLst>
                <a:ext uri="{FF2B5EF4-FFF2-40B4-BE49-F238E27FC236}">
                  <a16:creationId xmlns:a16="http://schemas.microsoft.com/office/drawing/2014/main" id="{A2A180DD-AE44-4D5E-90CB-928CE1B37598}"/>
                </a:ext>
              </a:extLst>
            </p:cNvPr>
            <p:cNvGrpSpPr>
              <a:grpSpLocks noChangeAspect="1"/>
            </p:cNvGrpSpPr>
            <p:nvPr/>
          </p:nvGrpSpPr>
          <p:grpSpPr bwMode="auto">
            <a:xfrm>
              <a:off x="4545" y="2478"/>
              <a:ext cx="966" cy="1391"/>
              <a:chOff x="4545" y="2478"/>
              <a:chExt cx="966" cy="1391"/>
            </a:xfrm>
          </p:grpSpPr>
          <p:sp>
            <p:nvSpPr>
              <p:cNvPr id="8" name="Freeform 40">
                <a:extLst>
                  <a:ext uri="{FF2B5EF4-FFF2-40B4-BE49-F238E27FC236}">
                    <a16:creationId xmlns:a16="http://schemas.microsoft.com/office/drawing/2014/main" id="{A8A60561-FFA3-4897-8610-866A562174BB}"/>
                  </a:ext>
                </a:extLst>
              </p:cNvPr>
              <p:cNvSpPr>
                <a:spLocks noChangeAspect="1"/>
              </p:cNvSpPr>
              <p:nvPr/>
            </p:nvSpPr>
            <p:spPr bwMode="auto">
              <a:xfrm>
                <a:off x="4564" y="2497"/>
                <a:ext cx="928" cy="1353"/>
              </a:xfrm>
              <a:custGeom>
                <a:avLst/>
                <a:gdLst>
                  <a:gd name="T0" fmla="*/ 155477304 w 393"/>
                  <a:gd name="T1" fmla="*/ 32833468 h 573"/>
                  <a:gd name="T2" fmla="*/ 155477304 w 393"/>
                  <a:gd name="T3" fmla="*/ 213867255 h 573"/>
                  <a:gd name="T4" fmla="*/ 142780335 w 393"/>
                  <a:gd name="T5" fmla="*/ 226627195 h 573"/>
                  <a:gd name="T6" fmla="*/ 12713416 w 393"/>
                  <a:gd name="T7" fmla="*/ 226627195 h 573"/>
                  <a:gd name="T8" fmla="*/ 0 w 393"/>
                  <a:gd name="T9" fmla="*/ 213867255 h 573"/>
                  <a:gd name="T10" fmla="*/ 0 w 393"/>
                  <a:gd name="T11" fmla="*/ 12709704 h 573"/>
                  <a:gd name="T12" fmla="*/ 12713416 w 393"/>
                  <a:gd name="T13" fmla="*/ 0 h 573"/>
                  <a:gd name="T14" fmla="*/ 142780335 w 393"/>
                  <a:gd name="T15" fmla="*/ 0 h 573"/>
                  <a:gd name="T16" fmla="*/ 155477304 w 393"/>
                  <a:gd name="T17" fmla="*/ 12709704 h 573"/>
                  <a:gd name="T18" fmla="*/ 155477304 w 393"/>
                  <a:gd name="T19" fmla="*/ 20064886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900"/>
              </a:p>
            </p:txBody>
          </p:sp>
          <p:sp>
            <p:nvSpPr>
              <p:cNvPr id="9" name="Freeform 41">
                <a:extLst>
                  <a:ext uri="{FF2B5EF4-FFF2-40B4-BE49-F238E27FC236}">
                    <a16:creationId xmlns:a16="http://schemas.microsoft.com/office/drawing/2014/main" id="{9850BA02-CD94-4B33-BAD1-AE391C7D5010}"/>
                  </a:ext>
                </a:extLst>
              </p:cNvPr>
              <p:cNvSpPr>
                <a:spLocks noChangeAspect="1" noEditPoints="1"/>
              </p:cNvSpPr>
              <p:nvPr/>
            </p:nvSpPr>
            <p:spPr bwMode="auto">
              <a:xfrm>
                <a:off x="4545" y="2478"/>
                <a:ext cx="966" cy="1391"/>
              </a:xfrm>
              <a:custGeom>
                <a:avLst/>
                <a:gdLst>
                  <a:gd name="T0" fmla="*/ 159195943 w 409"/>
                  <a:gd name="T1" fmla="*/ 26522941 h 589"/>
                  <a:gd name="T2" fmla="*/ 162410982 w 409"/>
                  <a:gd name="T3" fmla="*/ 23323976 h 589"/>
                  <a:gd name="T4" fmla="*/ 162410982 w 409"/>
                  <a:gd name="T5" fmla="*/ 15762989 h 589"/>
                  <a:gd name="T6" fmla="*/ 146593937 w 409"/>
                  <a:gd name="T7" fmla="*/ 0 h 589"/>
                  <a:gd name="T8" fmla="*/ 15794570 w 409"/>
                  <a:gd name="T9" fmla="*/ 0 h 589"/>
                  <a:gd name="T10" fmla="*/ 0 w 409"/>
                  <a:gd name="T11" fmla="*/ 15762989 h 589"/>
                  <a:gd name="T12" fmla="*/ 0 w 409"/>
                  <a:gd name="T13" fmla="*/ 217729586 h 589"/>
                  <a:gd name="T14" fmla="*/ 15794570 w 409"/>
                  <a:gd name="T15" fmla="*/ 233510122 h 589"/>
                  <a:gd name="T16" fmla="*/ 146593937 w 409"/>
                  <a:gd name="T17" fmla="*/ 233510122 h 589"/>
                  <a:gd name="T18" fmla="*/ 162410982 w 409"/>
                  <a:gd name="T19" fmla="*/ 217729586 h 589"/>
                  <a:gd name="T20" fmla="*/ 162410982 w 409"/>
                  <a:gd name="T21" fmla="*/ 36118411 h 589"/>
                  <a:gd name="T22" fmla="*/ 159195943 w 409"/>
                  <a:gd name="T23" fmla="*/ 32891532 h 589"/>
                  <a:gd name="T24" fmla="*/ 155993742 w 409"/>
                  <a:gd name="T25" fmla="*/ 36118411 h 589"/>
                  <a:gd name="T26" fmla="*/ 155993742 w 409"/>
                  <a:gd name="T27" fmla="*/ 217729586 h 589"/>
                  <a:gd name="T28" fmla="*/ 146593937 w 409"/>
                  <a:gd name="T29" fmla="*/ 227087625 h 589"/>
                  <a:gd name="T30" fmla="*/ 15794570 w 409"/>
                  <a:gd name="T31" fmla="*/ 227087625 h 589"/>
                  <a:gd name="T32" fmla="*/ 6417240 w 409"/>
                  <a:gd name="T33" fmla="*/ 217729586 h 589"/>
                  <a:gd name="T34" fmla="*/ 6417240 w 409"/>
                  <a:gd name="T35" fmla="*/ 15762989 h 589"/>
                  <a:gd name="T36" fmla="*/ 15794570 w 409"/>
                  <a:gd name="T37" fmla="*/ 6412524 h 589"/>
                  <a:gd name="T38" fmla="*/ 146593937 w 409"/>
                  <a:gd name="T39" fmla="*/ 6412524 h 589"/>
                  <a:gd name="T40" fmla="*/ 155993742 w 409"/>
                  <a:gd name="T41" fmla="*/ 15762989 h 589"/>
                  <a:gd name="T42" fmla="*/ 155993742 w 409"/>
                  <a:gd name="T43" fmla="*/ 23323976 h 589"/>
                  <a:gd name="T44" fmla="*/ 159195943 w 409"/>
                  <a:gd name="T45" fmla="*/ 26522941 h 589"/>
                  <a:gd name="T46" fmla="*/ 81000418 w 409"/>
                  <a:gd name="T47" fmla="*/ 30065416 h 589"/>
                  <a:gd name="T48" fmla="*/ 78132003 w 409"/>
                  <a:gd name="T49" fmla="*/ 31694851 h 589"/>
                  <a:gd name="T50" fmla="*/ 29736862 w 409"/>
                  <a:gd name="T51" fmla="*/ 128427039 h 589"/>
                  <a:gd name="T52" fmla="*/ 30249341 w 409"/>
                  <a:gd name="T53" fmla="*/ 131654123 h 589"/>
                  <a:gd name="T54" fmla="*/ 32966306 w 409"/>
                  <a:gd name="T55" fmla="*/ 132798796 h 589"/>
                  <a:gd name="T56" fmla="*/ 129459080 w 409"/>
                  <a:gd name="T57" fmla="*/ 132798796 h 589"/>
                  <a:gd name="T58" fmla="*/ 132100545 w 409"/>
                  <a:gd name="T59" fmla="*/ 131654123 h 589"/>
                  <a:gd name="T60" fmla="*/ 132100545 w 409"/>
                  <a:gd name="T61" fmla="*/ 128427039 h 589"/>
                  <a:gd name="T62" fmla="*/ 84192906 w 409"/>
                  <a:gd name="T63" fmla="*/ 31694851 h 589"/>
                  <a:gd name="T64" fmla="*/ 81000418 w 409"/>
                  <a:gd name="T65" fmla="*/ 30065416 h 589"/>
                  <a:gd name="T66" fmla="*/ 38146228 w 409"/>
                  <a:gd name="T67" fmla="*/ 126377633 h 589"/>
                  <a:gd name="T68" fmla="*/ 81000418 w 409"/>
                  <a:gd name="T69" fmla="*/ 40453364 h 589"/>
                  <a:gd name="T70" fmla="*/ 124175918 w 409"/>
                  <a:gd name="T71" fmla="*/ 126377633 h 589"/>
                  <a:gd name="T72" fmla="*/ 38146228 w 409"/>
                  <a:gd name="T73" fmla="*/ 12637763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204" y="76"/>
                    </a:moveTo>
                    <a:cubicBezTo>
                      <a:pt x="201" y="76"/>
                      <a:pt x="199" y="78"/>
                      <a:pt x="197" y="80"/>
                    </a:cubicBezTo>
                    <a:cubicBezTo>
                      <a:pt x="75" y="324"/>
                      <a:pt x="75" y="324"/>
                      <a:pt x="75" y="324"/>
                    </a:cubicBezTo>
                    <a:cubicBezTo>
                      <a:pt x="74" y="326"/>
                      <a:pt x="74" y="329"/>
                      <a:pt x="76" y="332"/>
                    </a:cubicBezTo>
                    <a:cubicBezTo>
                      <a:pt x="77" y="334"/>
                      <a:pt x="80" y="335"/>
                      <a:pt x="83" y="335"/>
                    </a:cubicBezTo>
                    <a:cubicBezTo>
                      <a:pt x="326" y="335"/>
                      <a:pt x="326" y="335"/>
                      <a:pt x="326" y="335"/>
                    </a:cubicBezTo>
                    <a:cubicBezTo>
                      <a:pt x="329" y="335"/>
                      <a:pt x="332" y="334"/>
                      <a:pt x="333" y="332"/>
                    </a:cubicBezTo>
                    <a:cubicBezTo>
                      <a:pt x="334" y="329"/>
                      <a:pt x="335" y="326"/>
                      <a:pt x="333" y="324"/>
                    </a:cubicBezTo>
                    <a:cubicBezTo>
                      <a:pt x="212" y="80"/>
                      <a:pt x="212" y="80"/>
                      <a:pt x="212" y="80"/>
                    </a:cubicBezTo>
                    <a:cubicBezTo>
                      <a:pt x="210" y="78"/>
                      <a:pt x="207" y="76"/>
                      <a:pt x="204" y="76"/>
                    </a:cubicBezTo>
                    <a:close/>
                    <a:moveTo>
                      <a:pt x="96" y="319"/>
                    </a:moveTo>
                    <a:cubicBezTo>
                      <a:pt x="204" y="102"/>
                      <a:pt x="204" y="102"/>
                      <a:pt x="204" y="102"/>
                    </a:cubicBezTo>
                    <a:cubicBezTo>
                      <a:pt x="313" y="319"/>
                      <a:pt x="313" y="319"/>
                      <a:pt x="313" y="319"/>
                    </a:cubicBezTo>
                    <a:lnTo>
                      <a:pt x="96" y="31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900"/>
              </a:p>
            </p:txBody>
          </p:sp>
          <p:sp>
            <p:nvSpPr>
              <p:cNvPr id="10" name="Text Box 42">
                <a:extLst>
                  <a:ext uri="{FF2B5EF4-FFF2-40B4-BE49-F238E27FC236}">
                    <a16:creationId xmlns:a16="http://schemas.microsoft.com/office/drawing/2014/main" id="{0868E2F8-1F31-46DB-ADD7-7EF998B5E96E}"/>
                  </a:ext>
                </a:extLst>
              </p:cNvPr>
              <p:cNvSpPr txBox="1">
                <a:spLocks noChangeAspect="1" noChangeArrowheads="1"/>
              </p:cNvSpPr>
              <p:nvPr/>
            </p:nvSpPr>
            <p:spPr bwMode="auto">
              <a:xfrm>
                <a:off x="4605" y="3446"/>
                <a:ext cx="816"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000">
                    <a:solidFill>
                      <a:schemeClr val="tx2"/>
                    </a:solidFill>
                    <a:ea typeface="MS PGothic" panose="020B0600070205080204" pitchFamily="34" charset="-128"/>
                  </a:rPr>
                  <a:t>MME</a:t>
                </a:r>
                <a:endParaRPr lang="sv-SE" altLang="en-US" sz="1000">
                  <a:solidFill>
                    <a:schemeClr val="tx2"/>
                  </a:solidFill>
                  <a:ea typeface="MS PGothic" panose="020B0600070205080204" pitchFamily="34" charset="-128"/>
                </a:endParaRPr>
              </a:p>
            </p:txBody>
          </p:sp>
        </p:grpSp>
        <p:sp>
          <p:nvSpPr>
            <p:cNvPr id="7" name="Rectangle 6">
              <a:extLst>
                <a:ext uri="{FF2B5EF4-FFF2-40B4-BE49-F238E27FC236}">
                  <a16:creationId xmlns:a16="http://schemas.microsoft.com/office/drawing/2014/main" id="{90BC8718-D592-4A5D-BCFD-EC9C6973646B}"/>
                </a:ext>
              </a:extLst>
            </p:cNvPr>
            <p:cNvSpPr>
              <a:spLocks noChangeAspect="1" noChangeArrowheads="1"/>
            </p:cNvSpPr>
            <p:nvPr/>
          </p:nvSpPr>
          <p:spPr bwMode="auto">
            <a:xfrm>
              <a:off x="4542" y="2478"/>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900">
                <a:ea typeface="MS PGothic" panose="020B0600070205080204" pitchFamily="34" charset="-128"/>
              </a:endParaRPr>
            </a:p>
          </p:txBody>
        </p:sp>
      </p:grpSp>
      <p:grpSp>
        <p:nvGrpSpPr>
          <p:cNvPr id="11" name="Group 10">
            <a:extLst>
              <a:ext uri="{FF2B5EF4-FFF2-40B4-BE49-F238E27FC236}">
                <a16:creationId xmlns:a16="http://schemas.microsoft.com/office/drawing/2014/main" id="{FD6CBACA-029F-47CB-985D-8342485AF928}"/>
              </a:ext>
            </a:extLst>
          </p:cNvPr>
          <p:cNvGrpSpPr>
            <a:grpSpLocks noChangeAspect="1"/>
          </p:cNvGrpSpPr>
          <p:nvPr/>
        </p:nvGrpSpPr>
        <p:grpSpPr bwMode="auto">
          <a:xfrm flipH="1">
            <a:off x="6510012" y="4463471"/>
            <a:ext cx="495122" cy="711259"/>
            <a:chOff x="4542" y="2478"/>
            <a:chExt cx="969" cy="1392"/>
          </a:xfrm>
        </p:grpSpPr>
        <p:grpSp>
          <p:nvGrpSpPr>
            <p:cNvPr id="12" name="Group 11">
              <a:extLst>
                <a:ext uri="{FF2B5EF4-FFF2-40B4-BE49-F238E27FC236}">
                  <a16:creationId xmlns:a16="http://schemas.microsoft.com/office/drawing/2014/main" id="{AF642CC9-E3C5-44A1-95AE-8DFE99D2831B}"/>
                </a:ext>
              </a:extLst>
            </p:cNvPr>
            <p:cNvGrpSpPr>
              <a:grpSpLocks noChangeAspect="1"/>
            </p:cNvGrpSpPr>
            <p:nvPr/>
          </p:nvGrpSpPr>
          <p:grpSpPr bwMode="auto">
            <a:xfrm>
              <a:off x="4545" y="2478"/>
              <a:ext cx="966" cy="1391"/>
              <a:chOff x="4545" y="2478"/>
              <a:chExt cx="966" cy="1391"/>
            </a:xfrm>
          </p:grpSpPr>
          <p:sp>
            <p:nvSpPr>
              <p:cNvPr id="14" name="Freeform 40">
                <a:extLst>
                  <a:ext uri="{FF2B5EF4-FFF2-40B4-BE49-F238E27FC236}">
                    <a16:creationId xmlns:a16="http://schemas.microsoft.com/office/drawing/2014/main" id="{25960B14-DAB8-4030-9B49-A1FC33009BB5}"/>
                  </a:ext>
                </a:extLst>
              </p:cNvPr>
              <p:cNvSpPr>
                <a:spLocks noChangeAspect="1"/>
              </p:cNvSpPr>
              <p:nvPr/>
            </p:nvSpPr>
            <p:spPr bwMode="auto">
              <a:xfrm>
                <a:off x="4564" y="2497"/>
                <a:ext cx="928" cy="1353"/>
              </a:xfrm>
              <a:custGeom>
                <a:avLst/>
                <a:gdLst>
                  <a:gd name="T0" fmla="*/ 155477304 w 393"/>
                  <a:gd name="T1" fmla="*/ 32833468 h 573"/>
                  <a:gd name="T2" fmla="*/ 155477304 w 393"/>
                  <a:gd name="T3" fmla="*/ 213867255 h 573"/>
                  <a:gd name="T4" fmla="*/ 142780335 w 393"/>
                  <a:gd name="T5" fmla="*/ 226627195 h 573"/>
                  <a:gd name="T6" fmla="*/ 12713416 w 393"/>
                  <a:gd name="T7" fmla="*/ 226627195 h 573"/>
                  <a:gd name="T8" fmla="*/ 0 w 393"/>
                  <a:gd name="T9" fmla="*/ 213867255 h 573"/>
                  <a:gd name="T10" fmla="*/ 0 w 393"/>
                  <a:gd name="T11" fmla="*/ 12709704 h 573"/>
                  <a:gd name="T12" fmla="*/ 12713416 w 393"/>
                  <a:gd name="T13" fmla="*/ 0 h 573"/>
                  <a:gd name="T14" fmla="*/ 142780335 w 393"/>
                  <a:gd name="T15" fmla="*/ 0 h 573"/>
                  <a:gd name="T16" fmla="*/ 155477304 w 393"/>
                  <a:gd name="T17" fmla="*/ 12709704 h 573"/>
                  <a:gd name="T18" fmla="*/ 155477304 w 393"/>
                  <a:gd name="T19" fmla="*/ 20064886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800"/>
              </a:p>
            </p:txBody>
          </p:sp>
          <p:sp>
            <p:nvSpPr>
              <p:cNvPr id="15" name="Freeform 41">
                <a:extLst>
                  <a:ext uri="{FF2B5EF4-FFF2-40B4-BE49-F238E27FC236}">
                    <a16:creationId xmlns:a16="http://schemas.microsoft.com/office/drawing/2014/main" id="{076EF0EF-05A4-415C-AC78-1D4641A5A570}"/>
                  </a:ext>
                </a:extLst>
              </p:cNvPr>
              <p:cNvSpPr>
                <a:spLocks noChangeAspect="1" noEditPoints="1"/>
              </p:cNvSpPr>
              <p:nvPr/>
            </p:nvSpPr>
            <p:spPr bwMode="auto">
              <a:xfrm>
                <a:off x="4545" y="2478"/>
                <a:ext cx="966" cy="1391"/>
              </a:xfrm>
              <a:custGeom>
                <a:avLst/>
                <a:gdLst>
                  <a:gd name="T0" fmla="*/ 159195943 w 409"/>
                  <a:gd name="T1" fmla="*/ 26522941 h 589"/>
                  <a:gd name="T2" fmla="*/ 162410982 w 409"/>
                  <a:gd name="T3" fmla="*/ 23323976 h 589"/>
                  <a:gd name="T4" fmla="*/ 162410982 w 409"/>
                  <a:gd name="T5" fmla="*/ 15762989 h 589"/>
                  <a:gd name="T6" fmla="*/ 146593937 w 409"/>
                  <a:gd name="T7" fmla="*/ 0 h 589"/>
                  <a:gd name="T8" fmla="*/ 15794570 w 409"/>
                  <a:gd name="T9" fmla="*/ 0 h 589"/>
                  <a:gd name="T10" fmla="*/ 0 w 409"/>
                  <a:gd name="T11" fmla="*/ 15762989 h 589"/>
                  <a:gd name="T12" fmla="*/ 0 w 409"/>
                  <a:gd name="T13" fmla="*/ 217729586 h 589"/>
                  <a:gd name="T14" fmla="*/ 15794570 w 409"/>
                  <a:gd name="T15" fmla="*/ 233510122 h 589"/>
                  <a:gd name="T16" fmla="*/ 146593937 w 409"/>
                  <a:gd name="T17" fmla="*/ 233510122 h 589"/>
                  <a:gd name="T18" fmla="*/ 162410982 w 409"/>
                  <a:gd name="T19" fmla="*/ 217729586 h 589"/>
                  <a:gd name="T20" fmla="*/ 162410982 w 409"/>
                  <a:gd name="T21" fmla="*/ 36118411 h 589"/>
                  <a:gd name="T22" fmla="*/ 159195943 w 409"/>
                  <a:gd name="T23" fmla="*/ 32891532 h 589"/>
                  <a:gd name="T24" fmla="*/ 155993742 w 409"/>
                  <a:gd name="T25" fmla="*/ 36118411 h 589"/>
                  <a:gd name="T26" fmla="*/ 155993742 w 409"/>
                  <a:gd name="T27" fmla="*/ 217729586 h 589"/>
                  <a:gd name="T28" fmla="*/ 146593937 w 409"/>
                  <a:gd name="T29" fmla="*/ 227087625 h 589"/>
                  <a:gd name="T30" fmla="*/ 15794570 w 409"/>
                  <a:gd name="T31" fmla="*/ 227087625 h 589"/>
                  <a:gd name="T32" fmla="*/ 6417240 w 409"/>
                  <a:gd name="T33" fmla="*/ 217729586 h 589"/>
                  <a:gd name="T34" fmla="*/ 6417240 w 409"/>
                  <a:gd name="T35" fmla="*/ 15762989 h 589"/>
                  <a:gd name="T36" fmla="*/ 15794570 w 409"/>
                  <a:gd name="T37" fmla="*/ 6412524 h 589"/>
                  <a:gd name="T38" fmla="*/ 146593937 w 409"/>
                  <a:gd name="T39" fmla="*/ 6412524 h 589"/>
                  <a:gd name="T40" fmla="*/ 155993742 w 409"/>
                  <a:gd name="T41" fmla="*/ 15762989 h 589"/>
                  <a:gd name="T42" fmla="*/ 155993742 w 409"/>
                  <a:gd name="T43" fmla="*/ 23323976 h 589"/>
                  <a:gd name="T44" fmla="*/ 159195943 w 409"/>
                  <a:gd name="T45" fmla="*/ 26522941 h 589"/>
                  <a:gd name="T46" fmla="*/ 81000418 w 409"/>
                  <a:gd name="T47" fmla="*/ 30065416 h 589"/>
                  <a:gd name="T48" fmla="*/ 78132003 w 409"/>
                  <a:gd name="T49" fmla="*/ 31694851 h 589"/>
                  <a:gd name="T50" fmla="*/ 29736862 w 409"/>
                  <a:gd name="T51" fmla="*/ 128427039 h 589"/>
                  <a:gd name="T52" fmla="*/ 30249341 w 409"/>
                  <a:gd name="T53" fmla="*/ 131654123 h 589"/>
                  <a:gd name="T54" fmla="*/ 32966306 w 409"/>
                  <a:gd name="T55" fmla="*/ 132798796 h 589"/>
                  <a:gd name="T56" fmla="*/ 129459080 w 409"/>
                  <a:gd name="T57" fmla="*/ 132798796 h 589"/>
                  <a:gd name="T58" fmla="*/ 132100545 w 409"/>
                  <a:gd name="T59" fmla="*/ 131654123 h 589"/>
                  <a:gd name="T60" fmla="*/ 132100545 w 409"/>
                  <a:gd name="T61" fmla="*/ 128427039 h 589"/>
                  <a:gd name="T62" fmla="*/ 84192906 w 409"/>
                  <a:gd name="T63" fmla="*/ 31694851 h 589"/>
                  <a:gd name="T64" fmla="*/ 81000418 w 409"/>
                  <a:gd name="T65" fmla="*/ 30065416 h 589"/>
                  <a:gd name="T66" fmla="*/ 38146228 w 409"/>
                  <a:gd name="T67" fmla="*/ 126377633 h 589"/>
                  <a:gd name="T68" fmla="*/ 81000418 w 409"/>
                  <a:gd name="T69" fmla="*/ 40453364 h 589"/>
                  <a:gd name="T70" fmla="*/ 124175918 w 409"/>
                  <a:gd name="T71" fmla="*/ 126377633 h 589"/>
                  <a:gd name="T72" fmla="*/ 38146228 w 409"/>
                  <a:gd name="T73" fmla="*/ 12637763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204" y="76"/>
                    </a:moveTo>
                    <a:cubicBezTo>
                      <a:pt x="201" y="76"/>
                      <a:pt x="199" y="78"/>
                      <a:pt x="197" y="80"/>
                    </a:cubicBezTo>
                    <a:cubicBezTo>
                      <a:pt x="75" y="324"/>
                      <a:pt x="75" y="324"/>
                      <a:pt x="75" y="324"/>
                    </a:cubicBezTo>
                    <a:cubicBezTo>
                      <a:pt x="74" y="326"/>
                      <a:pt x="74" y="329"/>
                      <a:pt x="76" y="332"/>
                    </a:cubicBezTo>
                    <a:cubicBezTo>
                      <a:pt x="77" y="334"/>
                      <a:pt x="80" y="335"/>
                      <a:pt x="83" y="335"/>
                    </a:cubicBezTo>
                    <a:cubicBezTo>
                      <a:pt x="326" y="335"/>
                      <a:pt x="326" y="335"/>
                      <a:pt x="326" y="335"/>
                    </a:cubicBezTo>
                    <a:cubicBezTo>
                      <a:pt x="329" y="335"/>
                      <a:pt x="332" y="334"/>
                      <a:pt x="333" y="332"/>
                    </a:cubicBezTo>
                    <a:cubicBezTo>
                      <a:pt x="334" y="329"/>
                      <a:pt x="335" y="326"/>
                      <a:pt x="333" y="324"/>
                    </a:cubicBezTo>
                    <a:cubicBezTo>
                      <a:pt x="212" y="80"/>
                      <a:pt x="212" y="80"/>
                      <a:pt x="212" y="80"/>
                    </a:cubicBezTo>
                    <a:cubicBezTo>
                      <a:pt x="210" y="78"/>
                      <a:pt x="207" y="76"/>
                      <a:pt x="204" y="76"/>
                    </a:cubicBezTo>
                    <a:close/>
                    <a:moveTo>
                      <a:pt x="96" y="319"/>
                    </a:moveTo>
                    <a:cubicBezTo>
                      <a:pt x="204" y="102"/>
                      <a:pt x="204" y="102"/>
                      <a:pt x="204" y="102"/>
                    </a:cubicBezTo>
                    <a:cubicBezTo>
                      <a:pt x="313" y="319"/>
                      <a:pt x="313" y="319"/>
                      <a:pt x="313" y="319"/>
                    </a:cubicBezTo>
                    <a:lnTo>
                      <a:pt x="96" y="31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800"/>
              </a:p>
            </p:txBody>
          </p:sp>
          <p:sp>
            <p:nvSpPr>
              <p:cNvPr id="16" name="Text Box 42">
                <a:extLst>
                  <a:ext uri="{FF2B5EF4-FFF2-40B4-BE49-F238E27FC236}">
                    <a16:creationId xmlns:a16="http://schemas.microsoft.com/office/drawing/2014/main" id="{1377E437-5381-4A50-B8B9-2C823FBED383}"/>
                  </a:ext>
                </a:extLst>
              </p:cNvPr>
              <p:cNvSpPr txBox="1">
                <a:spLocks noChangeAspect="1" noChangeArrowheads="1"/>
              </p:cNvSpPr>
              <p:nvPr/>
            </p:nvSpPr>
            <p:spPr bwMode="auto">
              <a:xfrm>
                <a:off x="4605" y="3447"/>
                <a:ext cx="816"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000">
                    <a:solidFill>
                      <a:schemeClr val="tx2"/>
                    </a:solidFill>
                    <a:ea typeface="MS PGothic" panose="020B0600070205080204" pitchFamily="34" charset="-128"/>
                  </a:rPr>
                  <a:t>EPG-C</a:t>
                </a:r>
                <a:endParaRPr lang="sv-SE" altLang="en-US" sz="1000">
                  <a:solidFill>
                    <a:schemeClr val="tx2"/>
                  </a:solidFill>
                  <a:ea typeface="MS PGothic" panose="020B0600070205080204" pitchFamily="34" charset="-128"/>
                </a:endParaRPr>
              </a:p>
            </p:txBody>
          </p:sp>
        </p:grpSp>
        <p:sp>
          <p:nvSpPr>
            <p:cNvPr id="13" name="Rectangle 12">
              <a:extLst>
                <a:ext uri="{FF2B5EF4-FFF2-40B4-BE49-F238E27FC236}">
                  <a16:creationId xmlns:a16="http://schemas.microsoft.com/office/drawing/2014/main" id="{FA72930A-3B82-4775-8502-E0772F36E948}"/>
                </a:ext>
              </a:extLst>
            </p:cNvPr>
            <p:cNvSpPr>
              <a:spLocks noChangeAspect="1" noChangeArrowheads="1"/>
            </p:cNvSpPr>
            <p:nvPr/>
          </p:nvSpPr>
          <p:spPr bwMode="auto">
            <a:xfrm>
              <a:off x="4542" y="2478"/>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800">
                <a:ea typeface="MS PGothic" panose="020B0600070205080204" pitchFamily="34" charset="-128"/>
              </a:endParaRPr>
            </a:p>
          </p:txBody>
        </p:sp>
      </p:grpSp>
      <p:grpSp>
        <p:nvGrpSpPr>
          <p:cNvPr id="17" name="Group 16">
            <a:extLst>
              <a:ext uri="{FF2B5EF4-FFF2-40B4-BE49-F238E27FC236}">
                <a16:creationId xmlns:a16="http://schemas.microsoft.com/office/drawing/2014/main" id="{269ADC4B-FF57-420C-BA22-5F87A64CD620}"/>
              </a:ext>
            </a:extLst>
          </p:cNvPr>
          <p:cNvGrpSpPr>
            <a:grpSpLocks noChangeAspect="1"/>
          </p:cNvGrpSpPr>
          <p:nvPr/>
        </p:nvGrpSpPr>
        <p:grpSpPr bwMode="auto">
          <a:xfrm>
            <a:off x="6522672" y="5563570"/>
            <a:ext cx="482462" cy="701039"/>
            <a:chOff x="4542" y="2462"/>
            <a:chExt cx="969" cy="1408"/>
          </a:xfrm>
        </p:grpSpPr>
        <p:grpSp>
          <p:nvGrpSpPr>
            <p:cNvPr id="18" name="Group 17">
              <a:extLst>
                <a:ext uri="{FF2B5EF4-FFF2-40B4-BE49-F238E27FC236}">
                  <a16:creationId xmlns:a16="http://schemas.microsoft.com/office/drawing/2014/main" id="{CFFC5701-5FCA-4D5F-9F46-7553AC0C9F21}"/>
                </a:ext>
              </a:extLst>
            </p:cNvPr>
            <p:cNvGrpSpPr>
              <a:grpSpLocks noChangeAspect="1"/>
            </p:cNvGrpSpPr>
            <p:nvPr/>
          </p:nvGrpSpPr>
          <p:grpSpPr bwMode="auto">
            <a:xfrm>
              <a:off x="4545" y="2462"/>
              <a:ext cx="966" cy="1391"/>
              <a:chOff x="4545" y="2432"/>
              <a:chExt cx="966" cy="1391"/>
            </a:xfrm>
          </p:grpSpPr>
          <p:sp>
            <p:nvSpPr>
              <p:cNvPr id="20" name="Freeform 94">
                <a:extLst>
                  <a:ext uri="{FF2B5EF4-FFF2-40B4-BE49-F238E27FC236}">
                    <a16:creationId xmlns:a16="http://schemas.microsoft.com/office/drawing/2014/main" id="{DF7B93E8-7F21-44A4-B983-670314269A0A}"/>
                  </a:ext>
                </a:extLst>
              </p:cNvPr>
              <p:cNvSpPr>
                <a:spLocks noChangeAspect="1"/>
              </p:cNvSpPr>
              <p:nvPr/>
            </p:nvSpPr>
            <p:spPr bwMode="auto">
              <a:xfrm>
                <a:off x="4564" y="2451"/>
                <a:ext cx="928" cy="1353"/>
              </a:xfrm>
              <a:custGeom>
                <a:avLst/>
                <a:gdLst>
                  <a:gd name="T0" fmla="*/ 155477304 w 393"/>
                  <a:gd name="T1" fmla="*/ 32833468 h 573"/>
                  <a:gd name="T2" fmla="*/ 155477304 w 393"/>
                  <a:gd name="T3" fmla="*/ 213867255 h 573"/>
                  <a:gd name="T4" fmla="*/ 142780335 w 393"/>
                  <a:gd name="T5" fmla="*/ 226627195 h 573"/>
                  <a:gd name="T6" fmla="*/ 12713416 w 393"/>
                  <a:gd name="T7" fmla="*/ 226627195 h 573"/>
                  <a:gd name="T8" fmla="*/ 0 w 393"/>
                  <a:gd name="T9" fmla="*/ 213867255 h 573"/>
                  <a:gd name="T10" fmla="*/ 0 w 393"/>
                  <a:gd name="T11" fmla="*/ 12709704 h 573"/>
                  <a:gd name="T12" fmla="*/ 12713416 w 393"/>
                  <a:gd name="T13" fmla="*/ 0 h 573"/>
                  <a:gd name="T14" fmla="*/ 142780335 w 393"/>
                  <a:gd name="T15" fmla="*/ 0 h 573"/>
                  <a:gd name="T16" fmla="*/ 155477304 w 393"/>
                  <a:gd name="T17" fmla="*/ 12709704 h 573"/>
                  <a:gd name="T18" fmla="*/ 155477304 w 393"/>
                  <a:gd name="T19" fmla="*/ 20064886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1000"/>
              </a:p>
            </p:txBody>
          </p:sp>
          <p:sp>
            <p:nvSpPr>
              <p:cNvPr id="21" name="Freeform 95">
                <a:extLst>
                  <a:ext uri="{FF2B5EF4-FFF2-40B4-BE49-F238E27FC236}">
                    <a16:creationId xmlns:a16="http://schemas.microsoft.com/office/drawing/2014/main" id="{FAC22D3F-0989-421F-A998-B61B45260DB5}"/>
                  </a:ext>
                </a:extLst>
              </p:cNvPr>
              <p:cNvSpPr>
                <a:spLocks noChangeAspect="1" noEditPoints="1"/>
              </p:cNvSpPr>
              <p:nvPr/>
            </p:nvSpPr>
            <p:spPr bwMode="auto">
              <a:xfrm>
                <a:off x="4545" y="2432"/>
                <a:ext cx="966" cy="1391"/>
              </a:xfrm>
              <a:custGeom>
                <a:avLst/>
                <a:gdLst>
                  <a:gd name="T0" fmla="*/ 162410982 w 409"/>
                  <a:gd name="T1" fmla="*/ 23323976 h 589"/>
                  <a:gd name="T2" fmla="*/ 146593937 w 409"/>
                  <a:gd name="T3" fmla="*/ 0 h 589"/>
                  <a:gd name="T4" fmla="*/ 0 w 409"/>
                  <a:gd name="T5" fmla="*/ 15762989 h 589"/>
                  <a:gd name="T6" fmla="*/ 15794570 w 409"/>
                  <a:gd name="T7" fmla="*/ 233510122 h 589"/>
                  <a:gd name="T8" fmla="*/ 162410982 w 409"/>
                  <a:gd name="T9" fmla="*/ 217729586 h 589"/>
                  <a:gd name="T10" fmla="*/ 159195943 w 409"/>
                  <a:gd name="T11" fmla="*/ 32891532 h 589"/>
                  <a:gd name="T12" fmla="*/ 155993742 w 409"/>
                  <a:gd name="T13" fmla="*/ 217729586 h 589"/>
                  <a:gd name="T14" fmla="*/ 15794570 w 409"/>
                  <a:gd name="T15" fmla="*/ 227087625 h 589"/>
                  <a:gd name="T16" fmla="*/ 6417240 w 409"/>
                  <a:gd name="T17" fmla="*/ 15762989 h 589"/>
                  <a:gd name="T18" fmla="*/ 146593937 w 409"/>
                  <a:gd name="T19" fmla="*/ 6412524 h 589"/>
                  <a:gd name="T20" fmla="*/ 155993742 w 409"/>
                  <a:gd name="T21" fmla="*/ 23323976 h 589"/>
                  <a:gd name="T22" fmla="*/ 129751375 w 409"/>
                  <a:gd name="T23" fmla="*/ 68169389 h 589"/>
                  <a:gd name="T24" fmla="*/ 129086377 w 409"/>
                  <a:gd name="T25" fmla="*/ 66670106 h 589"/>
                  <a:gd name="T26" fmla="*/ 107912264 w 409"/>
                  <a:gd name="T27" fmla="*/ 50329573 h 589"/>
                  <a:gd name="T28" fmla="*/ 119212057 w 409"/>
                  <a:gd name="T29" fmla="*/ 65826628 h 589"/>
                  <a:gd name="T30" fmla="*/ 58370819 w 409"/>
                  <a:gd name="T31" fmla="*/ 69012932 h 589"/>
                  <a:gd name="T32" fmla="*/ 119212057 w 409"/>
                  <a:gd name="T33" fmla="*/ 72211673 h 589"/>
                  <a:gd name="T34" fmla="*/ 107912264 w 409"/>
                  <a:gd name="T35" fmla="*/ 87644714 h 589"/>
                  <a:gd name="T36" fmla="*/ 112821946 w 409"/>
                  <a:gd name="T37" fmla="*/ 87644714 h 589"/>
                  <a:gd name="T38" fmla="*/ 129086377 w 409"/>
                  <a:gd name="T39" fmla="*/ 71359356 h 589"/>
                  <a:gd name="T40" fmla="*/ 130236755 w 409"/>
                  <a:gd name="T41" fmla="*/ 69012932 h 589"/>
                  <a:gd name="T42" fmla="*/ 28261171 w 409"/>
                  <a:gd name="T43" fmla="*/ 42795983 h 589"/>
                  <a:gd name="T44" fmla="*/ 27748768 w 409"/>
                  <a:gd name="T45" fmla="*/ 43636716 h 589"/>
                  <a:gd name="T46" fmla="*/ 27748768 w 409"/>
                  <a:gd name="T47" fmla="*/ 44009185 h 589"/>
                  <a:gd name="T48" fmla="*/ 27392378 w 409"/>
                  <a:gd name="T49" fmla="*/ 44479535 h 589"/>
                  <a:gd name="T50" fmla="*/ 27392378 w 409"/>
                  <a:gd name="T51" fmla="*/ 45994763 h 589"/>
                  <a:gd name="T52" fmla="*/ 27748768 w 409"/>
                  <a:gd name="T53" fmla="*/ 46837459 h 589"/>
                  <a:gd name="T54" fmla="*/ 28261171 w 409"/>
                  <a:gd name="T55" fmla="*/ 47500517 h 589"/>
                  <a:gd name="T56" fmla="*/ 47244767 w 409"/>
                  <a:gd name="T57" fmla="*/ 64985853 h 589"/>
                  <a:gd name="T58" fmla="*/ 49231696 w 409"/>
                  <a:gd name="T59" fmla="*/ 59417413 h 589"/>
                  <a:gd name="T60" fmla="*/ 96157041 w 409"/>
                  <a:gd name="T61" fmla="*/ 48341189 h 589"/>
                  <a:gd name="T62" fmla="*/ 96157041 w 409"/>
                  <a:gd name="T63" fmla="*/ 41932061 h 589"/>
                  <a:gd name="T64" fmla="*/ 49231696 w 409"/>
                  <a:gd name="T65" fmla="*/ 30906154 h 589"/>
                  <a:gd name="T66" fmla="*/ 44893471 w 409"/>
                  <a:gd name="T67" fmla="*/ 26522941 h 589"/>
                  <a:gd name="T68" fmla="*/ 28261171 w 409"/>
                  <a:gd name="T69" fmla="*/ 42795983 h 589"/>
                  <a:gd name="T70" fmla="*/ 130236755 w 409"/>
                  <a:gd name="T71" fmla="*/ 117354150 h 589"/>
                  <a:gd name="T72" fmla="*/ 129086377 w 409"/>
                  <a:gd name="T73" fmla="*/ 115006815 h 589"/>
                  <a:gd name="T74" fmla="*/ 107912264 w 409"/>
                  <a:gd name="T75" fmla="*/ 98719031 h 589"/>
                  <a:gd name="T76" fmla="*/ 119212057 w 409"/>
                  <a:gd name="T77" fmla="*/ 114163996 h 589"/>
                  <a:gd name="T78" fmla="*/ 58370819 w 409"/>
                  <a:gd name="T79" fmla="*/ 117354150 h 589"/>
                  <a:gd name="T80" fmla="*/ 119212057 w 409"/>
                  <a:gd name="T81" fmla="*/ 120537662 h 589"/>
                  <a:gd name="T82" fmla="*/ 107912264 w 409"/>
                  <a:gd name="T83" fmla="*/ 135989238 h 589"/>
                  <a:gd name="T84" fmla="*/ 112821946 w 409"/>
                  <a:gd name="T85" fmla="*/ 135989238 h 589"/>
                  <a:gd name="T86" fmla="*/ 129086377 w 409"/>
                  <a:gd name="T87" fmla="*/ 119696384 h 589"/>
                  <a:gd name="T88" fmla="*/ 99146218 w 409"/>
                  <a:gd name="T89" fmla="*/ 93486597 h 589"/>
                  <a:gd name="T90" fmla="*/ 38146228 w 409"/>
                  <a:gd name="T91" fmla="*/ 90360009 h 589"/>
                  <a:gd name="T92" fmla="*/ 49231696 w 409"/>
                  <a:gd name="T93" fmla="*/ 74851507 h 589"/>
                  <a:gd name="T94" fmla="*/ 28261171 w 409"/>
                  <a:gd name="T95" fmla="*/ 91137234 h 589"/>
                  <a:gd name="T96" fmla="*/ 27748768 w 409"/>
                  <a:gd name="T97" fmla="*/ 91980052 h 589"/>
                  <a:gd name="T98" fmla="*/ 27392378 w 409"/>
                  <a:gd name="T99" fmla="*/ 92820762 h 589"/>
                  <a:gd name="T100" fmla="*/ 27392378 w 409"/>
                  <a:gd name="T101" fmla="*/ 94322288 h 589"/>
                  <a:gd name="T102" fmla="*/ 27748768 w 409"/>
                  <a:gd name="T103" fmla="*/ 94694750 h 589"/>
                  <a:gd name="T104" fmla="*/ 27748768 w 409"/>
                  <a:gd name="T105" fmla="*/ 95162998 h 589"/>
                  <a:gd name="T106" fmla="*/ 28261171 w 409"/>
                  <a:gd name="T107" fmla="*/ 96042778 h 589"/>
                  <a:gd name="T108" fmla="*/ 47244767 w 409"/>
                  <a:gd name="T109" fmla="*/ 113290999 h 589"/>
                  <a:gd name="T110" fmla="*/ 49231696 w 409"/>
                  <a:gd name="T111" fmla="*/ 107758595 h 589"/>
                  <a:gd name="T112" fmla="*/ 96157041 w 409"/>
                  <a:gd name="T113" fmla="*/ 96680213 h 5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09"/>
                  <a:gd name="T172" fmla="*/ 0 h 589"/>
                  <a:gd name="T173" fmla="*/ 409 w 409"/>
                  <a:gd name="T174" fmla="*/ 589 h 5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327" y="172"/>
                    </a:moveTo>
                    <a:cubicBezTo>
                      <a:pt x="327" y="171"/>
                      <a:pt x="326" y="169"/>
                      <a:pt x="325" y="168"/>
                    </a:cubicBezTo>
                    <a:cubicBezTo>
                      <a:pt x="325" y="168"/>
                      <a:pt x="325" y="168"/>
                      <a:pt x="325" y="168"/>
                    </a:cubicBezTo>
                    <a:cubicBezTo>
                      <a:pt x="284" y="127"/>
                      <a:pt x="284" y="127"/>
                      <a:pt x="284" y="127"/>
                    </a:cubicBezTo>
                    <a:cubicBezTo>
                      <a:pt x="281" y="124"/>
                      <a:pt x="275" y="124"/>
                      <a:pt x="272" y="127"/>
                    </a:cubicBezTo>
                    <a:cubicBezTo>
                      <a:pt x="269" y="130"/>
                      <a:pt x="269" y="135"/>
                      <a:pt x="272" y="138"/>
                    </a:cubicBezTo>
                    <a:cubicBezTo>
                      <a:pt x="300" y="166"/>
                      <a:pt x="300" y="166"/>
                      <a:pt x="300" y="166"/>
                    </a:cubicBezTo>
                    <a:cubicBezTo>
                      <a:pt x="155" y="166"/>
                      <a:pt x="155" y="166"/>
                      <a:pt x="155" y="166"/>
                    </a:cubicBezTo>
                    <a:cubicBezTo>
                      <a:pt x="151" y="166"/>
                      <a:pt x="147" y="170"/>
                      <a:pt x="147" y="174"/>
                    </a:cubicBezTo>
                    <a:cubicBezTo>
                      <a:pt x="147" y="178"/>
                      <a:pt x="151" y="182"/>
                      <a:pt x="155" y="182"/>
                    </a:cubicBezTo>
                    <a:cubicBezTo>
                      <a:pt x="300" y="182"/>
                      <a:pt x="300" y="182"/>
                      <a:pt x="300" y="182"/>
                    </a:cubicBezTo>
                    <a:cubicBezTo>
                      <a:pt x="272" y="210"/>
                      <a:pt x="272" y="210"/>
                      <a:pt x="272" y="210"/>
                    </a:cubicBezTo>
                    <a:cubicBezTo>
                      <a:pt x="269" y="213"/>
                      <a:pt x="269" y="218"/>
                      <a:pt x="272" y="221"/>
                    </a:cubicBezTo>
                    <a:cubicBezTo>
                      <a:pt x="274" y="223"/>
                      <a:pt x="276" y="224"/>
                      <a:pt x="278" y="224"/>
                    </a:cubicBezTo>
                    <a:cubicBezTo>
                      <a:pt x="280" y="224"/>
                      <a:pt x="282" y="223"/>
                      <a:pt x="284" y="221"/>
                    </a:cubicBezTo>
                    <a:cubicBezTo>
                      <a:pt x="284" y="221"/>
                      <a:pt x="284" y="221"/>
                      <a:pt x="284" y="221"/>
                    </a:cubicBezTo>
                    <a:cubicBezTo>
                      <a:pt x="325" y="180"/>
                      <a:pt x="325" y="180"/>
                      <a:pt x="325" y="180"/>
                    </a:cubicBezTo>
                    <a:cubicBezTo>
                      <a:pt x="326" y="179"/>
                      <a:pt x="327" y="177"/>
                      <a:pt x="327" y="176"/>
                    </a:cubicBezTo>
                    <a:cubicBezTo>
                      <a:pt x="328" y="175"/>
                      <a:pt x="328" y="175"/>
                      <a:pt x="328" y="174"/>
                    </a:cubicBezTo>
                    <a:cubicBezTo>
                      <a:pt x="328" y="174"/>
                      <a:pt x="328" y="173"/>
                      <a:pt x="327" y="172"/>
                    </a:cubicBezTo>
                    <a:close/>
                    <a:moveTo>
                      <a:pt x="71" y="108"/>
                    </a:moveTo>
                    <a:cubicBezTo>
                      <a:pt x="71" y="109"/>
                      <a:pt x="71" y="109"/>
                      <a:pt x="71" y="109"/>
                    </a:cubicBezTo>
                    <a:cubicBezTo>
                      <a:pt x="71" y="109"/>
                      <a:pt x="71" y="109"/>
                      <a:pt x="70" y="110"/>
                    </a:cubicBezTo>
                    <a:cubicBezTo>
                      <a:pt x="70" y="110"/>
                      <a:pt x="70" y="110"/>
                      <a:pt x="70" y="110"/>
                    </a:cubicBezTo>
                    <a:cubicBezTo>
                      <a:pt x="70" y="111"/>
                      <a:pt x="70" y="111"/>
                      <a:pt x="70" y="111"/>
                    </a:cubicBezTo>
                    <a:cubicBezTo>
                      <a:pt x="69" y="111"/>
                      <a:pt x="69" y="112"/>
                      <a:pt x="69" y="112"/>
                    </a:cubicBezTo>
                    <a:cubicBezTo>
                      <a:pt x="69" y="112"/>
                      <a:pt x="69" y="112"/>
                      <a:pt x="69" y="112"/>
                    </a:cubicBezTo>
                    <a:cubicBezTo>
                      <a:pt x="69" y="113"/>
                      <a:pt x="69" y="115"/>
                      <a:pt x="69" y="116"/>
                    </a:cubicBezTo>
                    <a:cubicBezTo>
                      <a:pt x="69" y="116"/>
                      <a:pt x="69" y="116"/>
                      <a:pt x="69" y="116"/>
                    </a:cubicBezTo>
                    <a:cubicBezTo>
                      <a:pt x="69" y="117"/>
                      <a:pt x="70" y="117"/>
                      <a:pt x="70" y="117"/>
                    </a:cubicBezTo>
                    <a:cubicBezTo>
                      <a:pt x="70" y="117"/>
                      <a:pt x="70" y="118"/>
                      <a:pt x="70" y="118"/>
                    </a:cubicBezTo>
                    <a:cubicBezTo>
                      <a:pt x="70" y="118"/>
                      <a:pt x="70" y="118"/>
                      <a:pt x="70" y="118"/>
                    </a:cubicBezTo>
                    <a:cubicBezTo>
                      <a:pt x="71" y="119"/>
                      <a:pt x="71" y="119"/>
                      <a:pt x="71" y="120"/>
                    </a:cubicBezTo>
                    <a:cubicBezTo>
                      <a:pt x="113" y="161"/>
                      <a:pt x="113" y="161"/>
                      <a:pt x="113" y="161"/>
                    </a:cubicBezTo>
                    <a:cubicBezTo>
                      <a:pt x="115" y="163"/>
                      <a:pt x="117" y="164"/>
                      <a:pt x="119" y="164"/>
                    </a:cubicBezTo>
                    <a:cubicBezTo>
                      <a:pt x="121" y="164"/>
                      <a:pt x="123" y="163"/>
                      <a:pt x="124" y="161"/>
                    </a:cubicBezTo>
                    <a:cubicBezTo>
                      <a:pt x="127" y="158"/>
                      <a:pt x="127" y="153"/>
                      <a:pt x="124" y="150"/>
                    </a:cubicBezTo>
                    <a:cubicBezTo>
                      <a:pt x="96" y="122"/>
                      <a:pt x="96" y="122"/>
                      <a:pt x="96" y="122"/>
                    </a:cubicBezTo>
                    <a:cubicBezTo>
                      <a:pt x="242" y="122"/>
                      <a:pt x="242" y="122"/>
                      <a:pt x="242" y="122"/>
                    </a:cubicBezTo>
                    <a:cubicBezTo>
                      <a:pt x="246" y="122"/>
                      <a:pt x="250" y="118"/>
                      <a:pt x="250" y="114"/>
                    </a:cubicBezTo>
                    <a:cubicBezTo>
                      <a:pt x="250" y="110"/>
                      <a:pt x="246" y="106"/>
                      <a:pt x="242" y="106"/>
                    </a:cubicBezTo>
                    <a:cubicBezTo>
                      <a:pt x="96" y="106"/>
                      <a:pt x="96" y="106"/>
                      <a:pt x="96" y="106"/>
                    </a:cubicBezTo>
                    <a:cubicBezTo>
                      <a:pt x="124" y="78"/>
                      <a:pt x="124" y="78"/>
                      <a:pt x="124" y="78"/>
                    </a:cubicBezTo>
                    <a:cubicBezTo>
                      <a:pt x="127" y="75"/>
                      <a:pt x="127" y="70"/>
                      <a:pt x="124" y="67"/>
                    </a:cubicBezTo>
                    <a:cubicBezTo>
                      <a:pt x="121" y="64"/>
                      <a:pt x="116" y="64"/>
                      <a:pt x="113" y="67"/>
                    </a:cubicBezTo>
                    <a:cubicBezTo>
                      <a:pt x="113" y="67"/>
                      <a:pt x="113" y="67"/>
                      <a:pt x="113" y="67"/>
                    </a:cubicBezTo>
                    <a:lnTo>
                      <a:pt x="71" y="108"/>
                    </a:lnTo>
                    <a:close/>
                    <a:moveTo>
                      <a:pt x="327" y="298"/>
                    </a:moveTo>
                    <a:cubicBezTo>
                      <a:pt x="328" y="297"/>
                      <a:pt x="328" y="297"/>
                      <a:pt x="328" y="296"/>
                    </a:cubicBezTo>
                    <a:cubicBezTo>
                      <a:pt x="328" y="295"/>
                      <a:pt x="328" y="295"/>
                      <a:pt x="327" y="294"/>
                    </a:cubicBezTo>
                    <a:cubicBezTo>
                      <a:pt x="327" y="293"/>
                      <a:pt x="326" y="291"/>
                      <a:pt x="325" y="290"/>
                    </a:cubicBezTo>
                    <a:cubicBezTo>
                      <a:pt x="284" y="249"/>
                      <a:pt x="284" y="249"/>
                      <a:pt x="284" y="249"/>
                    </a:cubicBezTo>
                    <a:cubicBezTo>
                      <a:pt x="281" y="246"/>
                      <a:pt x="275" y="246"/>
                      <a:pt x="272" y="249"/>
                    </a:cubicBezTo>
                    <a:cubicBezTo>
                      <a:pt x="269" y="252"/>
                      <a:pt x="269" y="257"/>
                      <a:pt x="272" y="260"/>
                    </a:cubicBezTo>
                    <a:cubicBezTo>
                      <a:pt x="300" y="288"/>
                      <a:pt x="300" y="288"/>
                      <a:pt x="300" y="288"/>
                    </a:cubicBezTo>
                    <a:cubicBezTo>
                      <a:pt x="155" y="288"/>
                      <a:pt x="155" y="288"/>
                      <a:pt x="155" y="288"/>
                    </a:cubicBezTo>
                    <a:cubicBezTo>
                      <a:pt x="151" y="288"/>
                      <a:pt x="147" y="292"/>
                      <a:pt x="147" y="296"/>
                    </a:cubicBezTo>
                    <a:cubicBezTo>
                      <a:pt x="147" y="300"/>
                      <a:pt x="151" y="304"/>
                      <a:pt x="155" y="304"/>
                    </a:cubicBezTo>
                    <a:cubicBezTo>
                      <a:pt x="300" y="304"/>
                      <a:pt x="300" y="304"/>
                      <a:pt x="300" y="304"/>
                    </a:cubicBezTo>
                    <a:cubicBezTo>
                      <a:pt x="272" y="332"/>
                      <a:pt x="272" y="332"/>
                      <a:pt x="272" y="332"/>
                    </a:cubicBezTo>
                    <a:cubicBezTo>
                      <a:pt x="269" y="335"/>
                      <a:pt x="269" y="340"/>
                      <a:pt x="272" y="343"/>
                    </a:cubicBezTo>
                    <a:cubicBezTo>
                      <a:pt x="274" y="345"/>
                      <a:pt x="276" y="346"/>
                      <a:pt x="278" y="346"/>
                    </a:cubicBezTo>
                    <a:cubicBezTo>
                      <a:pt x="280" y="346"/>
                      <a:pt x="282" y="345"/>
                      <a:pt x="284" y="343"/>
                    </a:cubicBezTo>
                    <a:cubicBezTo>
                      <a:pt x="284" y="343"/>
                      <a:pt x="284" y="343"/>
                      <a:pt x="284" y="343"/>
                    </a:cubicBezTo>
                    <a:cubicBezTo>
                      <a:pt x="325" y="302"/>
                      <a:pt x="325" y="302"/>
                      <a:pt x="325" y="302"/>
                    </a:cubicBezTo>
                    <a:cubicBezTo>
                      <a:pt x="326" y="301"/>
                      <a:pt x="327" y="299"/>
                      <a:pt x="327" y="298"/>
                    </a:cubicBezTo>
                    <a:close/>
                    <a:moveTo>
                      <a:pt x="250" y="236"/>
                    </a:moveTo>
                    <a:cubicBezTo>
                      <a:pt x="250" y="232"/>
                      <a:pt x="246" y="228"/>
                      <a:pt x="242" y="228"/>
                    </a:cubicBezTo>
                    <a:cubicBezTo>
                      <a:pt x="96" y="228"/>
                      <a:pt x="96" y="228"/>
                      <a:pt x="96" y="228"/>
                    </a:cubicBezTo>
                    <a:cubicBezTo>
                      <a:pt x="124" y="200"/>
                      <a:pt x="124" y="200"/>
                      <a:pt x="124" y="200"/>
                    </a:cubicBezTo>
                    <a:cubicBezTo>
                      <a:pt x="127" y="197"/>
                      <a:pt x="127" y="192"/>
                      <a:pt x="124" y="189"/>
                    </a:cubicBezTo>
                    <a:cubicBezTo>
                      <a:pt x="121" y="186"/>
                      <a:pt x="116" y="186"/>
                      <a:pt x="113" y="189"/>
                    </a:cubicBezTo>
                    <a:cubicBezTo>
                      <a:pt x="71" y="230"/>
                      <a:pt x="71" y="230"/>
                      <a:pt x="71" y="230"/>
                    </a:cubicBezTo>
                    <a:cubicBezTo>
                      <a:pt x="71" y="231"/>
                      <a:pt x="71" y="231"/>
                      <a:pt x="70" y="232"/>
                    </a:cubicBezTo>
                    <a:cubicBezTo>
                      <a:pt x="70" y="232"/>
                      <a:pt x="70" y="232"/>
                      <a:pt x="70" y="232"/>
                    </a:cubicBezTo>
                    <a:cubicBezTo>
                      <a:pt x="70" y="232"/>
                      <a:pt x="70" y="233"/>
                      <a:pt x="70" y="233"/>
                    </a:cubicBezTo>
                    <a:cubicBezTo>
                      <a:pt x="69" y="233"/>
                      <a:pt x="69" y="233"/>
                      <a:pt x="69" y="234"/>
                    </a:cubicBezTo>
                    <a:cubicBezTo>
                      <a:pt x="69" y="234"/>
                      <a:pt x="69" y="234"/>
                      <a:pt x="69" y="234"/>
                    </a:cubicBezTo>
                    <a:cubicBezTo>
                      <a:pt x="69" y="235"/>
                      <a:pt x="69" y="236"/>
                      <a:pt x="69" y="238"/>
                    </a:cubicBezTo>
                    <a:cubicBezTo>
                      <a:pt x="69" y="238"/>
                      <a:pt x="69" y="238"/>
                      <a:pt x="69" y="238"/>
                    </a:cubicBezTo>
                    <a:cubicBezTo>
                      <a:pt x="69" y="239"/>
                      <a:pt x="70" y="239"/>
                      <a:pt x="70" y="239"/>
                    </a:cubicBezTo>
                    <a:cubicBezTo>
                      <a:pt x="70" y="239"/>
                      <a:pt x="70" y="240"/>
                      <a:pt x="70" y="240"/>
                    </a:cubicBezTo>
                    <a:cubicBezTo>
                      <a:pt x="70" y="240"/>
                      <a:pt x="70" y="240"/>
                      <a:pt x="70" y="240"/>
                    </a:cubicBezTo>
                    <a:cubicBezTo>
                      <a:pt x="71" y="241"/>
                      <a:pt x="71" y="241"/>
                      <a:pt x="71" y="242"/>
                    </a:cubicBezTo>
                    <a:cubicBezTo>
                      <a:pt x="71" y="242"/>
                      <a:pt x="71" y="242"/>
                      <a:pt x="71" y="242"/>
                    </a:cubicBezTo>
                    <a:cubicBezTo>
                      <a:pt x="113" y="283"/>
                      <a:pt x="113" y="283"/>
                      <a:pt x="113" y="283"/>
                    </a:cubicBezTo>
                    <a:cubicBezTo>
                      <a:pt x="115" y="285"/>
                      <a:pt x="117" y="286"/>
                      <a:pt x="119" y="286"/>
                    </a:cubicBezTo>
                    <a:cubicBezTo>
                      <a:pt x="121" y="286"/>
                      <a:pt x="123" y="285"/>
                      <a:pt x="124" y="283"/>
                    </a:cubicBezTo>
                    <a:cubicBezTo>
                      <a:pt x="127" y="280"/>
                      <a:pt x="127" y="275"/>
                      <a:pt x="124" y="272"/>
                    </a:cubicBezTo>
                    <a:cubicBezTo>
                      <a:pt x="96" y="244"/>
                      <a:pt x="96" y="244"/>
                      <a:pt x="96" y="244"/>
                    </a:cubicBezTo>
                    <a:cubicBezTo>
                      <a:pt x="242" y="244"/>
                      <a:pt x="242" y="244"/>
                      <a:pt x="242" y="244"/>
                    </a:cubicBezTo>
                    <a:cubicBezTo>
                      <a:pt x="246" y="244"/>
                      <a:pt x="250" y="240"/>
                      <a:pt x="250" y="23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1000"/>
              </a:p>
            </p:txBody>
          </p:sp>
          <p:sp>
            <p:nvSpPr>
              <p:cNvPr id="22" name="Text Box 96">
                <a:extLst>
                  <a:ext uri="{FF2B5EF4-FFF2-40B4-BE49-F238E27FC236}">
                    <a16:creationId xmlns:a16="http://schemas.microsoft.com/office/drawing/2014/main" id="{43B30995-1E38-4234-8174-5E64B9F15CEC}"/>
                  </a:ext>
                </a:extLst>
              </p:cNvPr>
              <p:cNvSpPr txBox="1">
                <a:spLocks noChangeAspect="1" noChangeArrowheads="1"/>
              </p:cNvSpPr>
              <p:nvPr/>
            </p:nvSpPr>
            <p:spPr bwMode="auto">
              <a:xfrm>
                <a:off x="4620" y="3427"/>
                <a:ext cx="816"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000">
                    <a:solidFill>
                      <a:schemeClr val="tx2"/>
                    </a:solidFill>
                    <a:ea typeface="MS PGothic" panose="020B0600070205080204" pitchFamily="34" charset="-128"/>
                  </a:rPr>
                  <a:t>EPG-U</a:t>
                </a:r>
              </a:p>
            </p:txBody>
          </p:sp>
        </p:grpSp>
        <p:sp>
          <p:nvSpPr>
            <p:cNvPr id="19" name="Rectangle 18">
              <a:extLst>
                <a:ext uri="{FF2B5EF4-FFF2-40B4-BE49-F238E27FC236}">
                  <a16:creationId xmlns:a16="http://schemas.microsoft.com/office/drawing/2014/main" id="{8262FCAD-A031-42FD-B987-97FCC5CED0A8}"/>
                </a:ext>
              </a:extLst>
            </p:cNvPr>
            <p:cNvSpPr>
              <a:spLocks noChangeAspect="1" noChangeArrowheads="1"/>
            </p:cNvSpPr>
            <p:nvPr/>
          </p:nvSpPr>
          <p:spPr bwMode="auto">
            <a:xfrm>
              <a:off x="4542" y="2478"/>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1000">
                <a:ea typeface="MS PGothic" panose="020B0600070205080204" pitchFamily="34" charset="-128"/>
              </a:endParaRPr>
            </a:p>
          </p:txBody>
        </p:sp>
      </p:grpSp>
      <p:grpSp>
        <p:nvGrpSpPr>
          <p:cNvPr id="23" name="Group 22">
            <a:extLst>
              <a:ext uri="{FF2B5EF4-FFF2-40B4-BE49-F238E27FC236}">
                <a16:creationId xmlns:a16="http://schemas.microsoft.com/office/drawing/2014/main" id="{F2A73901-413A-4743-9C31-25EC1D7E8A4A}"/>
              </a:ext>
            </a:extLst>
          </p:cNvPr>
          <p:cNvGrpSpPr>
            <a:grpSpLocks noChangeAspect="1"/>
          </p:cNvGrpSpPr>
          <p:nvPr/>
        </p:nvGrpSpPr>
        <p:grpSpPr bwMode="auto">
          <a:xfrm flipH="1">
            <a:off x="5473981" y="3499540"/>
            <a:ext cx="495122" cy="711259"/>
            <a:chOff x="4542" y="2478"/>
            <a:chExt cx="969" cy="1392"/>
          </a:xfrm>
        </p:grpSpPr>
        <p:grpSp>
          <p:nvGrpSpPr>
            <p:cNvPr id="24" name="Group 23">
              <a:extLst>
                <a:ext uri="{FF2B5EF4-FFF2-40B4-BE49-F238E27FC236}">
                  <a16:creationId xmlns:a16="http://schemas.microsoft.com/office/drawing/2014/main" id="{226C1399-1B06-4090-A029-A1C5EA8F12E6}"/>
                </a:ext>
              </a:extLst>
            </p:cNvPr>
            <p:cNvGrpSpPr>
              <a:grpSpLocks noChangeAspect="1"/>
            </p:cNvGrpSpPr>
            <p:nvPr/>
          </p:nvGrpSpPr>
          <p:grpSpPr bwMode="auto">
            <a:xfrm>
              <a:off x="4545" y="2478"/>
              <a:ext cx="966" cy="1391"/>
              <a:chOff x="4545" y="2478"/>
              <a:chExt cx="966" cy="1391"/>
            </a:xfrm>
          </p:grpSpPr>
          <p:sp>
            <p:nvSpPr>
              <p:cNvPr id="26" name="Freeform 40">
                <a:extLst>
                  <a:ext uri="{FF2B5EF4-FFF2-40B4-BE49-F238E27FC236}">
                    <a16:creationId xmlns:a16="http://schemas.microsoft.com/office/drawing/2014/main" id="{463248CE-F170-45A4-A6FF-BA56A043B930}"/>
                  </a:ext>
                </a:extLst>
              </p:cNvPr>
              <p:cNvSpPr>
                <a:spLocks noChangeAspect="1"/>
              </p:cNvSpPr>
              <p:nvPr/>
            </p:nvSpPr>
            <p:spPr bwMode="auto">
              <a:xfrm>
                <a:off x="4564" y="2497"/>
                <a:ext cx="928" cy="1353"/>
              </a:xfrm>
              <a:custGeom>
                <a:avLst/>
                <a:gdLst>
                  <a:gd name="T0" fmla="*/ 155477304 w 393"/>
                  <a:gd name="T1" fmla="*/ 32833468 h 573"/>
                  <a:gd name="T2" fmla="*/ 155477304 w 393"/>
                  <a:gd name="T3" fmla="*/ 213867255 h 573"/>
                  <a:gd name="T4" fmla="*/ 142780335 w 393"/>
                  <a:gd name="T5" fmla="*/ 226627195 h 573"/>
                  <a:gd name="T6" fmla="*/ 12713416 w 393"/>
                  <a:gd name="T7" fmla="*/ 226627195 h 573"/>
                  <a:gd name="T8" fmla="*/ 0 w 393"/>
                  <a:gd name="T9" fmla="*/ 213867255 h 573"/>
                  <a:gd name="T10" fmla="*/ 0 w 393"/>
                  <a:gd name="T11" fmla="*/ 12709704 h 573"/>
                  <a:gd name="T12" fmla="*/ 12713416 w 393"/>
                  <a:gd name="T13" fmla="*/ 0 h 573"/>
                  <a:gd name="T14" fmla="*/ 142780335 w 393"/>
                  <a:gd name="T15" fmla="*/ 0 h 573"/>
                  <a:gd name="T16" fmla="*/ 155477304 w 393"/>
                  <a:gd name="T17" fmla="*/ 12709704 h 573"/>
                  <a:gd name="T18" fmla="*/ 155477304 w 393"/>
                  <a:gd name="T19" fmla="*/ 20064886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900"/>
              </a:p>
            </p:txBody>
          </p:sp>
          <p:sp>
            <p:nvSpPr>
              <p:cNvPr id="27" name="Freeform 41">
                <a:extLst>
                  <a:ext uri="{FF2B5EF4-FFF2-40B4-BE49-F238E27FC236}">
                    <a16:creationId xmlns:a16="http://schemas.microsoft.com/office/drawing/2014/main" id="{BC035932-AFC7-4B4B-A579-65EEBC1D456D}"/>
                  </a:ext>
                </a:extLst>
              </p:cNvPr>
              <p:cNvSpPr>
                <a:spLocks noChangeAspect="1" noEditPoints="1"/>
              </p:cNvSpPr>
              <p:nvPr/>
            </p:nvSpPr>
            <p:spPr bwMode="auto">
              <a:xfrm>
                <a:off x="4545" y="2478"/>
                <a:ext cx="966" cy="1391"/>
              </a:xfrm>
              <a:custGeom>
                <a:avLst/>
                <a:gdLst>
                  <a:gd name="T0" fmla="*/ 159195943 w 409"/>
                  <a:gd name="T1" fmla="*/ 26522941 h 589"/>
                  <a:gd name="T2" fmla="*/ 162410982 w 409"/>
                  <a:gd name="T3" fmla="*/ 23323976 h 589"/>
                  <a:gd name="T4" fmla="*/ 162410982 w 409"/>
                  <a:gd name="T5" fmla="*/ 15762989 h 589"/>
                  <a:gd name="T6" fmla="*/ 146593937 w 409"/>
                  <a:gd name="T7" fmla="*/ 0 h 589"/>
                  <a:gd name="T8" fmla="*/ 15794570 w 409"/>
                  <a:gd name="T9" fmla="*/ 0 h 589"/>
                  <a:gd name="T10" fmla="*/ 0 w 409"/>
                  <a:gd name="T11" fmla="*/ 15762989 h 589"/>
                  <a:gd name="T12" fmla="*/ 0 w 409"/>
                  <a:gd name="T13" fmla="*/ 217729586 h 589"/>
                  <a:gd name="T14" fmla="*/ 15794570 w 409"/>
                  <a:gd name="T15" fmla="*/ 233510122 h 589"/>
                  <a:gd name="T16" fmla="*/ 146593937 w 409"/>
                  <a:gd name="T17" fmla="*/ 233510122 h 589"/>
                  <a:gd name="T18" fmla="*/ 162410982 w 409"/>
                  <a:gd name="T19" fmla="*/ 217729586 h 589"/>
                  <a:gd name="T20" fmla="*/ 162410982 w 409"/>
                  <a:gd name="T21" fmla="*/ 36118411 h 589"/>
                  <a:gd name="T22" fmla="*/ 159195943 w 409"/>
                  <a:gd name="T23" fmla="*/ 32891532 h 589"/>
                  <a:gd name="T24" fmla="*/ 155993742 w 409"/>
                  <a:gd name="T25" fmla="*/ 36118411 h 589"/>
                  <a:gd name="T26" fmla="*/ 155993742 w 409"/>
                  <a:gd name="T27" fmla="*/ 217729586 h 589"/>
                  <a:gd name="T28" fmla="*/ 146593937 w 409"/>
                  <a:gd name="T29" fmla="*/ 227087625 h 589"/>
                  <a:gd name="T30" fmla="*/ 15794570 w 409"/>
                  <a:gd name="T31" fmla="*/ 227087625 h 589"/>
                  <a:gd name="T32" fmla="*/ 6417240 w 409"/>
                  <a:gd name="T33" fmla="*/ 217729586 h 589"/>
                  <a:gd name="T34" fmla="*/ 6417240 w 409"/>
                  <a:gd name="T35" fmla="*/ 15762989 h 589"/>
                  <a:gd name="T36" fmla="*/ 15794570 w 409"/>
                  <a:gd name="T37" fmla="*/ 6412524 h 589"/>
                  <a:gd name="T38" fmla="*/ 146593937 w 409"/>
                  <a:gd name="T39" fmla="*/ 6412524 h 589"/>
                  <a:gd name="T40" fmla="*/ 155993742 w 409"/>
                  <a:gd name="T41" fmla="*/ 15762989 h 589"/>
                  <a:gd name="T42" fmla="*/ 155993742 w 409"/>
                  <a:gd name="T43" fmla="*/ 23323976 h 589"/>
                  <a:gd name="T44" fmla="*/ 159195943 w 409"/>
                  <a:gd name="T45" fmla="*/ 26522941 h 589"/>
                  <a:gd name="T46" fmla="*/ 81000418 w 409"/>
                  <a:gd name="T47" fmla="*/ 30065416 h 589"/>
                  <a:gd name="T48" fmla="*/ 78132003 w 409"/>
                  <a:gd name="T49" fmla="*/ 31694851 h 589"/>
                  <a:gd name="T50" fmla="*/ 29736862 w 409"/>
                  <a:gd name="T51" fmla="*/ 128427039 h 589"/>
                  <a:gd name="T52" fmla="*/ 30249341 w 409"/>
                  <a:gd name="T53" fmla="*/ 131654123 h 589"/>
                  <a:gd name="T54" fmla="*/ 32966306 w 409"/>
                  <a:gd name="T55" fmla="*/ 132798796 h 589"/>
                  <a:gd name="T56" fmla="*/ 129459080 w 409"/>
                  <a:gd name="T57" fmla="*/ 132798796 h 589"/>
                  <a:gd name="T58" fmla="*/ 132100545 w 409"/>
                  <a:gd name="T59" fmla="*/ 131654123 h 589"/>
                  <a:gd name="T60" fmla="*/ 132100545 w 409"/>
                  <a:gd name="T61" fmla="*/ 128427039 h 589"/>
                  <a:gd name="T62" fmla="*/ 84192906 w 409"/>
                  <a:gd name="T63" fmla="*/ 31694851 h 589"/>
                  <a:gd name="T64" fmla="*/ 81000418 w 409"/>
                  <a:gd name="T65" fmla="*/ 30065416 h 589"/>
                  <a:gd name="T66" fmla="*/ 38146228 w 409"/>
                  <a:gd name="T67" fmla="*/ 126377633 h 589"/>
                  <a:gd name="T68" fmla="*/ 81000418 w 409"/>
                  <a:gd name="T69" fmla="*/ 40453364 h 589"/>
                  <a:gd name="T70" fmla="*/ 124175918 w 409"/>
                  <a:gd name="T71" fmla="*/ 126377633 h 589"/>
                  <a:gd name="T72" fmla="*/ 38146228 w 409"/>
                  <a:gd name="T73" fmla="*/ 12637763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204" y="76"/>
                    </a:moveTo>
                    <a:cubicBezTo>
                      <a:pt x="201" y="76"/>
                      <a:pt x="199" y="78"/>
                      <a:pt x="197" y="80"/>
                    </a:cubicBezTo>
                    <a:cubicBezTo>
                      <a:pt x="75" y="324"/>
                      <a:pt x="75" y="324"/>
                      <a:pt x="75" y="324"/>
                    </a:cubicBezTo>
                    <a:cubicBezTo>
                      <a:pt x="74" y="326"/>
                      <a:pt x="74" y="329"/>
                      <a:pt x="76" y="332"/>
                    </a:cubicBezTo>
                    <a:cubicBezTo>
                      <a:pt x="77" y="334"/>
                      <a:pt x="80" y="335"/>
                      <a:pt x="83" y="335"/>
                    </a:cubicBezTo>
                    <a:cubicBezTo>
                      <a:pt x="326" y="335"/>
                      <a:pt x="326" y="335"/>
                      <a:pt x="326" y="335"/>
                    </a:cubicBezTo>
                    <a:cubicBezTo>
                      <a:pt x="329" y="335"/>
                      <a:pt x="332" y="334"/>
                      <a:pt x="333" y="332"/>
                    </a:cubicBezTo>
                    <a:cubicBezTo>
                      <a:pt x="334" y="329"/>
                      <a:pt x="335" y="326"/>
                      <a:pt x="333" y="324"/>
                    </a:cubicBezTo>
                    <a:cubicBezTo>
                      <a:pt x="212" y="80"/>
                      <a:pt x="212" y="80"/>
                      <a:pt x="212" y="80"/>
                    </a:cubicBezTo>
                    <a:cubicBezTo>
                      <a:pt x="210" y="78"/>
                      <a:pt x="207" y="76"/>
                      <a:pt x="204" y="76"/>
                    </a:cubicBezTo>
                    <a:close/>
                    <a:moveTo>
                      <a:pt x="96" y="319"/>
                    </a:moveTo>
                    <a:cubicBezTo>
                      <a:pt x="204" y="102"/>
                      <a:pt x="204" y="102"/>
                      <a:pt x="204" y="102"/>
                    </a:cubicBezTo>
                    <a:cubicBezTo>
                      <a:pt x="313" y="319"/>
                      <a:pt x="313" y="319"/>
                      <a:pt x="313" y="319"/>
                    </a:cubicBezTo>
                    <a:lnTo>
                      <a:pt x="96" y="31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900"/>
              </a:p>
            </p:txBody>
          </p:sp>
          <p:sp>
            <p:nvSpPr>
              <p:cNvPr id="28" name="Text Box 42">
                <a:extLst>
                  <a:ext uri="{FF2B5EF4-FFF2-40B4-BE49-F238E27FC236}">
                    <a16:creationId xmlns:a16="http://schemas.microsoft.com/office/drawing/2014/main" id="{9B01BCB2-EE57-45C0-8479-D619CDF033DB}"/>
                  </a:ext>
                </a:extLst>
              </p:cNvPr>
              <p:cNvSpPr txBox="1">
                <a:spLocks noChangeAspect="1" noChangeArrowheads="1"/>
              </p:cNvSpPr>
              <p:nvPr/>
            </p:nvSpPr>
            <p:spPr bwMode="auto">
              <a:xfrm>
                <a:off x="4605" y="3446"/>
                <a:ext cx="816"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000">
                    <a:solidFill>
                      <a:schemeClr val="tx2"/>
                    </a:solidFill>
                    <a:ea typeface="MS PGothic" panose="020B0600070205080204" pitchFamily="34" charset="-128"/>
                  </a:rPr>
                  <a:t>HSS</a:t>
                </a:r>
                <a:endParaRPr lang="sv-SE" altLang="en-US" sz="1000">
                  <a:solidFill>
                    <a:schemeClr val="tx2"/>
                  </a:solidFill>
                  <a:ea typeface="MS PGothic" panose="020B0600070205080204" pitchFamily="34" charset="-128"/>
                </a:endParaRPr>
              </a:p>
            </p:txBody>
          </p:sp>
        </p:grpSp>
        <p:sp>
          <p:nvSpPr>
            <p:cNvPr id="25" name="Rectangle 24">
              <a:extLst>
                <a:ext uri="{FF2B5EF4-FFF2-40B4-BE49-F238E27FC236}">
                  <a16:creationId xmlns:a16="http://schemas.microsoft.com/office/drawing/2014/main" id="{53EBB10F-95A4-494C-BBBE-9C0B943B726C}"/>
                </a:ext>
              </a:extLst>
            </p:cNvPr>
            <p:cNvSpPr>
              <a:spLocks noChangeAspect="1" noChangeArrowheads="1"/>
            </p:cNvSpPr>
            <p:nvPr/>
          </p:nvSpPr>
          <p:spPr bwMode="auto">
            <a:xfrm>
              <a:off x="4542" y="2478"/>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900">
                <a:ea typeface="MS PGothic" panose="020B0600070205080204" pitchFamily="34" charset="-128"/>
              </a:endParaRPr>
            </a:p>
          </p:txBody>
        </p:sp>
      </p:grpSp>
      <p:grpSp>
        <p:nvGrpSpPr>
          <p:cNvPr id="29" name="Group 28">
            <a:extLst>
              <a:ext uri="{FF2B5EF4-FFF2-40B4-BE49-F238E27FC236}">
                <a16:creationId xmlns:a16="http://schemas.microsoft.com/office/drawing/2014/main" id="{176C1D47-E085-4703-9E57-303C7F3E8F11}"/>
              </a:ext>
            </a:extLst>
          </p:cNvPr>
          <p:cNvGrpSpPr>
            <a:grpSpLocks noChangeAspect="1"/>
          </p:cNvGrpSpPr>
          <p:nvPr/>
        </p:nvGrpSpPr>
        <p:grpSpPr bwMode="auto">
          <a:xfrm flipH="1">
            <a:off x="6510012" y="3499540"/>
            <a:ext cx="495122" cy="711259"/>
            <a:chOff x="4542" y="2478"/>
            <a:chExt cx="969" cy="1392"/>
          </a:xfrm>
        </p:grpSpPr>
        <p:grpSp>
          <p:nvGrpSpPr>
            <p:cNvPr id="30" name="Group 29">
              <a:extLst>
                <a:ext uri="{FF2B5EF4-FFF2-40B4-BE49-F238E27FC236}">
                  <a16:creationId xmlns:a16="http://schemas.microsoft.com/office/drawing/2014/main" id="{23DE3362-0F2A-4D8B-BD8A-D637F0D84915}"/>
                </a:ext>
              </a:extLst>
            </p:cNvPr>
            <p:cNvGrpSpPr>
              <a:grpSpLocks noChangeAspect="1"/>
            </p:cNvGrpSpPr>
            <p:nvPr/>
          </p:nvGrpSpPr>
          <p:grpSpPr bwMode="auto">
            <a:xfrm>
              <a:off x="4545" y="2478"/>
              <a:ext cx="966" cy="1391"/>
              <a:chOff x="4545" y="2478"/>
              <a:chExt cx="966" cy="1391"/>
            </a:xfrm>
          </p:grpSpPr>
          <p:sp>
            <p:nvSpPr>
              <p:cNvPr id="32" name="Freeform 40">
                <a:extLst>
                  <a:ext uri="{FF2B5EF4-FFF2-40B4-BE49-F238E27FC236}">
                    <a16:creationId xmlns:a16="http://schemas.microsoft.com/office/drawing/2014/main" id="{E596C945-29A0-44BC-A82E-DDB2FA0F5514}"/>
                  </a:ext>
                </a:extLst>
              </p:cNvPr>
              <p:cNvSpPr>
                <a:spLocks noChangeAspect="1"/>
              </p:cNvSpPr>
              <p:nvPr/>
            </p:nvSpPr>
            <p:spPr bwMode="auto">
              <a:xfrm>
                <a:off x="4564" y="2497"/>
                <a:ext cx="928" cy="1353"/>
              </a:xfrm>
              <a:custGeom>
                <a:avLst/>
                <a:gdLst>
                  <a:gd name="T0" fmla="*/ 155477304 w 393"/>
                  <a:gd name="T1" fmla="*/ 32833468 h 573"/>
                  <a:gd name="T2" fmla="*/ 155477304 w 393"/>
                  <a:gd name="T3" fmla="*/ 213867255 h 573"/>
                  <a:gd name="T4" fmla="*/ 142780335 w 393"/>
                  <a:gd name="T5" fmla="*/ 226627195 h 573"/>
                  <a:gd name="T6" fmla="*/ 12713416 w 393"/>
                  <a:gd name="T7" fmla="*/ 226627195 h 573"/>
                  <a:gd name="T8" fmla="*/ 0 w 393"/>
                  <a:gd name="T9" fmla="*/ 213867255 h 573"/>
                  <a:gd name="T10" fmla="*/ 0 w 393"/>
                  <a:gd name="T11" fmla="*/ 12709704 h 573"/>
                  <a:gd name="T12" fmla="*/ 12713416 w 393"/>
                  <a:gd name="T13" fmla="*/ 0 h 573"/>
                  <a:gd name="T14" fmla="*/ 142780335 w 393"/>
                  <a:gd name="T15" fmla="*/ 0 h 573"/>
                  <a:gd name="T16" fmla="*/ 155477304 w 393"/>
                  <a:gd name="T17" fmla="*/ 12709704 h 573"/>
                  <a:gd name="T18" fmla="*/ 155477304 w 393"/>
                  <a:gd name="T19" fmla="*/ 20064886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900"/>
              </a:p>
            </p:txBody>
          </p:sp>
          <p:sp>
            <p:nvSpPr>
              <p:cNvPr id="33" name="Freeform 41">
                <a:extLst>
                  <a:ext uri="{FF2B5EF4-FFF2-40B4-BE49-F238E27FC236}">
                    <a16:creationId xmlns:a16="http://schemas.microsoft.com/office/drawing/2014/main" id="{9C0945E4-FE0F-419B-9646-2AAF6C55AE86}"/>
                  </a:ext>
                </a:extLst>
              </p:cNvPr>
              <p:cNvSpPr>
                <a:spLocks noChangeAspect="1" noEditPoints="1"/>
              </p:cNvSpPr>
              <p:nvPr/>
            </p:nvSpPr>
            <p:spPr bwMode="auto">
              <a:xfrm>
                <a:off x="4545" y="2478"/>
                <a:ext cx="966" cy="1391"/>
              </a:xfrm>
              <a:custGeom>
                <a:avLst/>
                <a:gdLst>
                  <a:gd name="T0" fmla="*/ 159195943 w 409"/>
                  <a:gd name="T1" fmla="*/ 26522941 h 589"/>
                  <a:gd name="T2" fmla="*/ 162410982 w 409"/>
                  <a:gd name="T3" fmla="*/ 23323976 h 589"/>
                  <a:gd name="T4" fmla="*/ 162410982 w 409"/>
                  <a:gd name="T5" fmla="*/ 15762989 h 589"/>
                  <a:gd name="T6" fmla="*/ 146593937 w 409"/>
                  <a:gd name="T7" fmla="*/ 0 h 589"/>
                  <a:gd name="T8" fmla="*/ 15794570 w 409"/>
                  <a:gd name="T9" fmla="*/ 0 h 589"/>
                  <a:gd name="T10" fmla="*/ 0 w 409"/>
                  <a:gd name="T11" fmla="*/ 15762989 h 589"/>
                  <a:gd name="T12" fmla="*/ 0 w 409"/>
                  <a:gd name="T13" fmla="*/ 217729586 h 589"/>
                  <a:gd name="T14" fmla="*/ 15794570 w 409"/>
                  <a:gd name="T15" fmla="*/ 233510122 h 589"/>
                  <a:gd name="T16" fmla="*/ 146593937 w 409"/>
                  <a:gd name="T17" fmla="*/ 233510122 h 589"/>
                  <a:gd name="T18" fmla="*/ 162410982 w 409"/>
                  <a:gd name="T19" fmla="*/ 217729586 h 589"/>
                  <a:gd name="T20" fmla="*/ 162410982 w 409"/>
                  <a:gd name="T21" fmla="*/ 36118411 h 589"/>
                  <a:gd name="T22" fmla="*/ 159195943 w 409"/>
                  <a:gd name="T23" fmla="*/ 32891532 h 589"/>
                  <a:gd name="T24" fmla="*/ 155993742 w 409"/>
                  <a:gd name="T25" fmla="*/ 36118411 h 589"/>
                  <a:gd name="T26" fmla="*/ 155993742 w 409"/>
                  <a:gd name="T27" fmla="*/ 217729586 h 589"/>
                  <a:gd name="T28" fmla="*/ 146593937 w 409"/>
                  <a:gd name="T29" fmla="*/ 227087625 h 589"/>
                  <a:gd name="T30" fmla="*/ 15794570 w 409"/>
                  <a:gd name="T31" fmla="*/ 227087625 h 589"/>
                  <a:gd name="T32" fmla="*/ 6417240 w 409"/>
                  <a:gd name="T33" fmla="*/ 217729586 h 589"/>
                  <a:gd name="T34" fmla="*/ 6417240 w 409"/>
                  <a:gd name="T35" fmla="*/ 15762989 h 589"/>
                  <a:gd name="T36" fmla="*/ 15794570 w 409"/>
                  <a:gd name="T37" fmla="*/ 6412524 h 589"/>
                  <a:gd name="T38" fmla="*/ 146593937 w 409"/>
                  <a:gd name="T39" fmla="*/ 6412524 h 589"/>
                  <a:gd name="T40" fmla="*/ 155993742 w 409"/>
                  <a:gd name="T41" fmla="*/ 15762989 h 589"/>
                  <a:gd name="T42" fmla="*/ 155993742 w 409"/>
                  <a:gd name="T43" fmla="*/ 23323976 h 589"/>
                  <a:gd name="T44" fmla="*/ 159195943 w 409"/>
                  <a:gd name="T45" fmla="*/ 26522941 h 589"/>
                  <a:gd name="T46" fmla="*/ 81000418 w 409"/>
                  <a:gd name="T47" fmla="*/ 30065416 h 589"/>
                  <a:gd name="T48" fmla="*/ 78132003 w 409"/>
                  <a:gd name="T49" fmla="*/ 31694851 h 589"/>
                  <a:gd name="T50" fmla="*/ 29736862 w 409"/>
                  <a:gd name="T51" fmla="*/ 128427039 h 589"/>
                  <a:gd name="T52" fmla="*/ 30249341 w 409"/>
                  <a:gd name="T53" fmla="*/ 131654123 h 589"/>
                  <a:gd name="T54" fmla="*/ 32966306 w 409"/>
                  <a:gd name="T55" fmla="*/ 132798796 h 589"/>
                  <a:gd name="T56" fmla="*/ 129459080 w 409"/>
                  <a:gd name="T57" fmla="*/ 132798796 h 589"/>
                  <a:gd name="T58" fmla="*/ 132100545 w 409"/>
                  <a:gd name="T59" fmla="*/ 131654123 h 589"/>
                  <a:gd name="T60" fmla="*/ 132100545 w 409"/>
                  <a:gd name="T61" fmla="*/ 128427039 h 589"/>
                  <a:gd name="T62" fmla="*/ 84192906 w 409"/>
                  <a:gd name="T63" fmla="*/ 31694851 h 589"/>
                  <a:gd name="T64" fmla="*/ 81000418 w 409"/>
                  <a:gd name="T65" fmla="*/ 30065416 h 589"/>
                  <a:gd name="T66" fmla="*/ 38146228 w 409"/>
                  <a:gd name="T67" fmla="*/ 126377633 h 589"/>
                  <a:gd name="T68" fmla="*/ 81000418 w 409"/>
                  <a:gd name="T69" fmla="*/ 40453364 h 589"/>
                  <a:gd name="T70" fmla="*/ 124175918 w 409"/>
                  <a:gd name="T71" fmla="*/ 126377633 h 589"/>
                  <a:gd name="T72" fmla="*/ 38146228 w 409"/>
                  <a:gd name="T73" fmla="*/ 126377633 h 5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09"/>
                  <a:gd name="T112" fmla="*/ 0 h 589"/>
                  <a:gd name="T113" fmla="*/ 409 w 409"/>
                  <a:gd name="T114" fmla="*/ 589 h 5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204" y="76"/>
                    </a:moveTo>
                    <a:cubicBezTo>
                      <a:pt x="201" y="76"/>
                      <a:pt x="199" y="78"/>
                      <a:pt x="197" y="80"/>
                    </a:cubicBezTo>
                    <a:cubicBezTo>
                      <a:pt x="75" y="324"/>
                      <a:pt x="75" y="324"/>
                      <a:pt x="75" y="324"/>
                    </a:cubicBezTo>
                    <a:cubicBezTo>
                      <a:pt x="74" y="326"/>
                      <a:pt x="74" y="329"/>
                      <a:pt x="76" y="332"/>
                    </a:cubicBezTo>
                    <a:cubicBezTo>
                      <a:pt x="77" y="334"/>
                      <a:pt x="80" y="335"/>
                      <a:pt x="83" y="335"/>
                    </a:cubicBezTo>
                    <a:cubicBezTo>
                      <a:pt x="326" y="335"/>
                      <a:pt x="326" y="335"/>
                      <a:pt x="326" y="335"/>
                    </a:cubicBezTo>
                    <a:cubicBezTo>
                      <a:pt x="329" y="335"/>
                      <a:pt x="332" y="334"/>
                      <a:pt x="333" y="332"/>
                    </a:cubicBezTo>
                    <a:cubicBezTo>
                      <a:pt x="334" y="329"/>
                      <a:pt x="335" y="326"/>
                      <a:pt x="333" y="324"/>
                    </a:cubicBezTo>
                    <a:cubicBezTo>
                      <a:pt x="212" y="80"/>
                      <a:pt x="212" y="80"/>
                      <a:pt x="212" y="80"/>
                    </a:cubicBezTo>
                    <a:cubicBezTo>
                      <a:pt x="210" y="78"/>
                      <a:pt x="207" y="76"/>
                      <a:pt x="204" y="76"/>
                    </a:cubicBezTo>
                    <a:close/>
                    <a:moveTo>
                      <a:pt x="96" y="319"/>
                    </a:moveTo>
                    <a:cubicBezTo>
                      <a:pt x="204" y="102"/>
                      <a:pt x="204" y="102"/>
                      <a:pt x="204" y="102"/>
                    </a:cubicBezTo>
                    <a:cubicBezTo>
                      <a:pt x="313" y="319"/>
                      <a:pt x="313" y="319"/>
                      <a:pt x="313" y="319"/>
                    </a:cubicBezTo>
                    <a:lnTo>
                      <a:pt x="96" y="31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900"/>
              </a:p>
            </p:txBody>
          </p:sp>
          <p:sp>
            <p:nvSpPr>
              <p:cNvPr id="34" name="Text Box 42">
                <a:extLst>
                  <a:ext uri="{FF2B5EF4-FFF2-40B4-BE49-F238E27FC236}">
                    <a16:creationId xmlns:a16="http://schemas.microsoft.com/office/drawing/2014/main" id="{BFDB559A-9E41-44BF-991C-3FD9BA45973E}"/>
                  </a:ext>
                </a:extLst>
              </p:cNvPr>
              <p:cNvSpPr txBox="1">
                <a:spLocks noChangeAspect="1" noChangeArrowheads="1"/>
              </p:cNvSpPr>
              <p:nvPr/>
            </p:nvSpPr>
            <p:spPr bwMode="auto">
              <a:xfrm>
                <a:off x="4605" y="3446"/>
                <a:ext cx="816" cy="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000">
                    <a:solidFill>
                      <a:schemeClr val="tx2"/>
                    </a:solidFill>
                    <a:ea typeface="MS PGothic" panose="020B0600070205080204" pitchFamily="34" charset="-128"/>
                  </a:rPr>
                  <a:t>SAPC</a:t>
                </a:r>
                <a:endParaRPr lang="sv-SE" altLang="en-US" sz="1000">
                  <a:solidFill>
                    <a:schemeClr val="tx2"/>
                  </a:solidFill>
                  <a:ea typeface="MS PGothic" panose="020B0600070205080204" pitchFamily="34" charset="-128"/>
                </a:endParaRPr>
              </a:p>
            </p:txBody>
          </p:sp>
        </p:grpSp>
        <p:sp>
          <p:nvSpPr>
            <p:cNvPr id="31" name="Rectangle 30">
              <a:extLst>
                <a:ext uri="{FF2B5EF4-FFF2-40B4-BE49-F238E27FC236}">
                  <a16:creationId xmlns:a16="http://schemas.microsoft.com/office/drawing/2014/main" id="{42A50C43-8EE6-4EEE-AAC1-EBDAD5DD7296}"/>
                </a:ext>
              </a:extLst>
            </p:cNvPr>
            <p:cNvSpPr>
              <a:spLocks noChangeAspect="1" noChangeArrowheads="1"/>
            </p:cNvSpPr>
            <p:nvPr/>
          </p:nvSpPr>
          <p:spPr bwMode="auto">
            <a:xfrm>
              <a:off x="4542" y="2478"/>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900">
                <a:ea typeface="MS PGothic" panose="020B0600070205080204" pitchFamily="34" charset="-128"/>
              </a:endParaRPr>
            </a:p>
          </p:txBody>
        </p:sp>
      </p:grpSp>
      <p:cxnSp>
        <p:nvCxnSpPr>
          <p:cNvPr id="35" name="Connector: Elbow 41">
            <a:extLst>
              <a:ext uri="{FF2B5EF4-FFF2-40B4-BE49-F238E27FC236}">
                <a16:creationId xmlns:a16="http://schemas.microsoft.com/office/drawing/2014/main" id="{83251AF1-5D49-4942-ABF5-0DC951CA77C0}"/>
              </a:ext>
            </a:extLst>
          </p:cNvPr>
          <p:cNvCxnSpPr>
            <a:cxnSpLocks/>
          </p:cNvCxnSpPr>
          <p:nvPr/>
        </p:nvCxnSpPr>
        <p:spPr bwMode="auto">
          <a:xfrm rot="16200000" flipH="1">
            <a:off x="6305847" y="3048578"/>
            <a:ext cx="578037" cy="323882"/>
          </a:xfrm>
          <a:prstGeom prst="bentConnector3">
            <a:avLst>
              <a:gd name="adj1" fmla="val -1030"/>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6" name="Connector: Elbow 46">
            <a:extLst>
              <a:ext uri="{FF2B5EF4-FFF2-40B4-BE49-F238E27FC236}">
                <a16:creationId xmlns:a16="http://schemas.microsoft.com/office/drawing/2014/main" id="{B957928F-00AC-4835-AD27-78688E634E22}"/>
              </a:ext>
            </a:extLst>
          </p:cNvPr>
          <p:cNvCxnSpPr>
            <a:cxnSpLocks/>
            <a:stCxn id="39" idx="1"/>
          </p:cNvCxnSpPr>
          <p:nvPr/>
        </p:nvCxnSpPr>
        <p:spPr bwMode="auto">
          <a:xfrm rot="10800000" flipV="1">
            <a:off x="5711027" y="2931210"/>
            <a:ext cx="310575" cy="568328"/>
          </a:xfrm>
          <a:prstGeom prst="bentConnector2">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7" name="Group 36">
            <a:extLst>
              <a:ext uri="{FF2B5EF4-FFF2-40B4-BE49-F238E27FC236}">
                <a16:creationId xmlns:a16="http://schemas.microsoft.com/office/drawing/2014/main" id="{C05C584C-270C-465A-8C5B-B22261AB0A0C}"/>
              </a:ext>
            </a:extLst>
          </p:cNvPr>
          <p:cNvGrpSpPr>
            <a:grpSpLocks noChangeAspect="1"/>
          </p:cNvGrpSpPr>
          <p:nvPr/>
        </p:nvGrpSpPr>
        <p:grpSpPr bwMode="auto">
          <a:xfrm>
            <a:off x="5978258" y="2580434"/>
            <a:ext cx="531707" cy="711127"/>
            <a:chOff x="4545" y="2458"/>
            <a:chExt cx="1055" cy="1411"/>
          </a:xfrm>
        </p:grpSpPr>
        <p:grpSp>
          <p:nvGrpSpPr>
            <p:cNvPr id="38" name="Group 37">
              <a:extLst>
                <a:ext uri="{FF2B5EF4-FFF2-40B4-BE49-F238E27FC236}">
                  <a16:creationId xmlns:a16="http://schemas.microsoft.com/office/drawing/2014/main" id="{32D3E1A2-AB58-4449-8C93-85BE575E4C29}"/>
                </a:ext>
              </a:extLst>
            </p:cNvPr>
            <p:cNvGrpSpPr>
              <a:grpSpLocks noChangeAspect="1"/>
            </p:cNvGrpSpPr>
            <p:nvPr/>
          </p:nvGrpSpPr>
          <p:grpSpPr bwMode="auto">
            <a:xfrm>
              <a:off x="4545" y="2478"/>
              <a:ext cx="966" cy="1391"/>
              <a:chOff x="4545" y="2478"/>
              <a:chExt cx="966" cy="1391"/>
            </a:xfrm>
          </p:grpSpPr>
          <p:sp>
            <p:nvSpPr>
              <p:cNvPr id="40" name="Freeform 40">
                <a:extLst>
                  <a:ext uri="{FF2B5EF4-FFF2-40B4-BE49-F238E27FC236}">
                    <a16:creationId xmlns:a16="http://schemas.microsoft.com/office/drawing/2014/main" id="{C9F60E52-F87C-4247-A6B8-7D7FE434DE66}"/>
                  </a:ext>
                </a:extLst>
              </p:cNvPr>
              <p:cNvSpPr>
                <a:spLocks noChangeAspect="1"/>
              </p:cNvSpPr>
              <p:nvPr/>
            </p:nvSpPr>
            <p:spPr bwMode="auto">
              <a:xfrm>
                <a:off x="4564" y="2497"/>
                <a:ext cx="928" cy="1353"/>
              </a:xfrm>
              <a:custGeom>
                <a:avLst/>
                <a:gdLst>
                  <a:gd name="T0" fmla="*/ 155477304 w 393"/>
                  <a:gd name="T1" fmla="*/ 32833468 h 573"/>
                  <a:gd name="T2" fmla="*/ 155477304 w 393"/>
                  <a:gd name="T3" fmla="*/ 213867255 h 573"/>
                  <a:gd name="T4" fmla="*/ 142780335 w 393"/>
                  <a:gd name="T5" fmla="*/ 226627195 h 573"/>
                  <a:gd name="T6" fmla="*/ 12713416 w 393"/>
                  <a:gd name="T7" fmla="*/ 226627195 h 573"/>
                  <a:gd name="T8" fmla="*/ 0 w 393"/>
                  <a:gd name="T9" fmla="*/ 213867255 h 573"/>
                  <a:gd name="T10" fmla="*/ 0 w 393"/>
                  <a:gd name="T11" fmla="*/ 12709704 h 573"/>
                  <a:gd name="T12" fmla="*/ 12713416 w 393"/>
                  <a:gd name="T13" fmla="*/ 0 h 573"/>
                  <a:gd name="T14" fmla="*/ 142780335 w 393"/>
                  <a:gd name="T15" fmla="*/ 0 h 573"/>
                  <a:gd name="T16" fmla="*/ 155477304 w 393"/>
                  <a:gd name="T17" fmla="*/ 12709704 h 573"/>
                  <a:gd name="T18" fmla="*/ 155477304 w 393"/>
                  <a:gd name="T19" fmla="*/ 20064886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a:p>
            </p:txBody>
          </p:sp>
          <p:sp>
            <p:nvSpPr>
              <p:cNvPr id="41" name="Freeform 41">
                <a:extLst>
                  <a:ext uri="{FF2B5EF4-FFF2-40B4-BE49-F238E27FC236}">
                    <a16:creationId xmlns:a16="http://schemas.microsoft.com/office/drawing/2014/main" id="{63354864-94AF-4BCB-AC08-FF7C1A689E01}"/>
                  </a:ext>
                </a:extLst>
              </p:cNvPr>
              <p:cNvSpPr>
                <a:spLocks noChangeAspect="1" noEditPoints="1"/>
              </p:cNvSpPr>
              <p:nvPr/>
            </p:nvSpPr>
            <p:spPr bwMode="auto">
              <a:xfrm>
                <a:off x="4545" y="2478"/>
                <a:ext cx="966" cy="1391"/>
              </a:xfrm>
              <a:custGeom>
                <a:avLst/>
                <a:gdLst>
                  <a:gd name="T0" fmla="*/ 162410982 w 409"/>
                  <a:gd name="T1" fmla="*/ 23323976 h 589"/>
                  <a:gd name="T2" fmla="*/ 146593937 w 409"/>
                  <a:gd name="T3" fmla="*/ 0 h 589"/>
                  <a:gd name="T4" fmla="*/ 0 w 409"/>
                  <a:gd name="T5" fmla="*/ 15762989 h 589"/>
                  <a:gd name="T6" fmla="*/ 15794570 w 409"/>
                  <a:gd name="T7" fmla="*/ 233510122 h 589"/>
                  <a:gd name="T8" fmla="*/ 162410982 w 409"/>
                  <a:gd name="T9" fmla="*/ 217729586 h 589"/>
                  <a:gd name="T10" fmla="*/ 159195943 w 409"/>
                  <a:gd name="T11" fmla="*/ 32891532 h 589"/>
                  <a:gd name="T12" fmla="*/ 155993742 w 409"/>
                  <a:gd name="T13" fmla="*/ 217729586 h 589"/>
                  <a:gd name="T14" fmla="*/ 15794570 w 409"/>
                  <a:gd name="T15" fmla="*/ 227087625 h 589"/>
                  <a:gd name="T16" fmla="*/ 6417240 w 409"/>
                  <a:gd name="T17" fmla="*/ 15762989 h 589"/>
                  <a:gd name="T18" fmla="*/ 146593937 w 409"/>
                  <a:gd name="T19" fmla="*/ 6412524 h 589"/>
                  <a:gd name="T20" fmla="*/ 155993742 w 409"/>
                  <a:gd name="T21" fmla="*/ 23323976 h 589"/>
                  <a:gd name="T22" fmla="*/ 31730540 w 409"/>
                  <a:gd name="T23" fmla="*/ 125752023 h 589"/>
                  <a:gd name="T24" fmla="*/ 81000418 w 409"/>
                  <a:gd name="T25" fmla="*/ 132798796 h 589"/>
                  <a:gd name="T26" fmla="*/ 126526779 w 409"/>
                  <a:gd name="T27" fmla="*/ 127586301 h 589"/>
                  <a:gd name="T28" fmla="*/ 132674280 w 409"/>
                  <a:gd name="T29" fmla="*/ 121686810 h 589"/>
                  <a:gd name="T30" fmla="*/ 132674280 w 409"/>
                  <a:gd name="T31" fmla="*/ 41294114 h 589"/>
                  <a:gd name="T32" fmla="*/ 123064026 w 409"/>
                  <a:gd name="T33" fmla="*/ 34041286 h 589"/>
                  <a:gd name="T34" fmla="*/ 46400213 w 409"/>
                  <a:gd name="T35" fmla="*/ 32562561 h 589"/>
                  <a:gd name="T36" fmla="*/ 31730540 w 409"/>
                  <a:gd name="T37" fmla="*/ 37226346 h 589"/>
                  <a:gd name="T38" fmla="*/ 29736862 w 409"/>
                  <a:gd name="T39" fmla="*/ 41650113 h 589"/>
                  <a:gd name="T40" fmla="*/ 31730540 w 409"/>
                  <a:gd name="T41" fmla="*/ 125752023 h 589"/>
                  <a:gd name="T42" fmla="*/ 81000418 w 409"/>
                  <a:gd name="T43" fmla="*/ 36383527 h 589"/>
                  <a:gd name="T44" fmla="*/ 124175918 w 409"/>
                  <a:gd name="T45" fmla="*/ 41294114 h 589"/>
                  <a:gd name="T46" fmla="*/ 121561485 w 409"/>
                  <a:gd name="T47" fmla="*/ 42795983 h 589"/>
                  <a:gd name="T48" fmla="*/ 47550592 w 409"/>
                  <a:gd name="T49" fmla="*/ 44009185 h 589"/>
                  <a:gd name="T50" fmla="*/ 37304535 w 409"/>
                  <a:gd name="T51" fmla="*/ 41650113 h 589"/>
                  <a:gd name="T52" fmla="*/ 36159014 w 409"/>
                  <a:gd name="T53" fmla="*/ 47971530 h 589"/>
                  <a:gd name="T54" fmla="*/ 81000418 w 409"/>
                  <a:gd name="T55" fmla="*/ 52736164 h 589"/>
                  <a:gd name="T56" fmla="*/ 126257036 w 409"/>
                  <a:gd name="T57" fmla="*/ 47971530 h 589"/>
                  <a:gd name="T58" fmla="*/ 121561485 w 409"/>
                  <a:gd name="T59" fmla="*/ 122895544 h 589"/>
                  <a:gd name="T60" fmla="*/ 47550592 w 409"/>
                  <a:gd name="T61" fmla="*/ 124028397 h 589"/>
                  <a:gd name="T62" fmla="*/ 36159014 w 409"/>
                  <a:gd name="T63" fmla="*/ 120845241 h 5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9"/>
                  <a:gd name="T97" fmla="*/ 0 h 589"/>
                  <a:gd name="T98" fmla="*/ 409 w 409"/>
                  <a:gd name="T99" fmla="*/ 589 h 5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80" y="317"/>
                    </a:move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105"/>
                      <a:pt x="334" y="105"/>
                      <a:pt x="334" y="105"/>
                    </a:cubicBezTo>
                    <a:cubicBezTo>
                      <a:pt x="334" y="105"/>
                      <a:pt x="334" y="104"/>
                      <a:pt x="334" y="104"/>
                    </a:cubicBezTo>
                    <a:cubicBezTo>
                      <a:pt x="334" y="100"/>
                      <a:pt x="331" y="96"/>
                      <a:pt x="328" y="94"/>
                    </a:cubicBezTo>
                    <a:cubicBezTo>
                      <a:pt x="324" y="91"/>
                      <a:pt x="318" y="88"/>
                      <a:pt x="310" y="86"/>
                    </a:cubicBezTo>
                    <a:cubicBezTo>
                      <a:pt x="288" y="80"/>
                      <a:pt x="249" y="76"/>
                      <a:pt x="204" y="76"/>
                    </a:cubicBezTo>
                    <a:cubicBezTo>
                      <a:pt x="171" y="76"/>
                      <a:pt x="140" y="78"/>
                      <a:pt x="117" y="82"/>
                    </a:cubicBezTo>
                    <a:cubicBezTo>
                      <a:pt x="106" y="84"/>
                      <a:pt x="97" y="86"/>
                      <a:pt x="90" y="89"/>
                    </a:cubicBezTo>
                    <a:cubicBezTo>
                      <a:pt x="86" y="91"/>
                      <a:pt x="83" y="92"/>
                      <a:pt x="80" y="94"/>
                    </a:cubicBezTo>
                    <a:cubicBezTo>
                      <a:pt x="78" y="96"/>
                      <a:pt x="75" y="100"/>
                      <a:pt x="75" y="105"/>
                    </a:cubicBezTo>
                    <a:cubicBezTo>
                      <a:pt x="75" y="105"/>
                      <a:pt x="75" y="105"/>
                      <a:pt x="75" y="105"/>
                    </a:cubicBezTo>
                    <a:cubicBezTo>
                      <a:pt x="75" y="307"/>
                      <a:pt x="75" y="307"/>
                      <a:pt x="75" y="307"/>
                    </a:cubicBezTo>
                    <a:cubicBezTo>
                      <a:pt x="75" y="311"/>
                      <a:pt x="78" y="315"/>
                      <a:pt x="80" y="317"/>
                    </a:cubicBezTo>
                    <a:close/>
                    <a:moveTo>
                      <a:pt x="103" y="102"/>
                    </a:moveTo>
                    <a:cubicBezTo>
                      <a:pt x="122" y="96"/>
                      <a:pt x="161" y="92"/>
                      <a:pt x="204" y="92"/>
                    </a:cubicBezTo>
                    <a:cubicBezTo>
                      <a:pt x="238" y="92"/>
                      <a:pt x="268" y="94"/>
                      <a:pt x="289" y="98"/>
                    </a:cubicBezTo>
                    <a:cubicBezTo>
                      <a:pt x="299" y="100"/>
                      <a:pt x="308" y="102"/>
                      <a:pt x="313" y="104"/>
                    </a:cubicBezTo>
                    <a:cubicBezTo>
                      <a:pt x="314" y="104"/>
                      <a:pt x="314" y="104"/>
                      <a:pt x="315" y="105"/>
                    </a:cubicBezTo>
                    <a:cubicBezTo>
                      <a:pt x="313" y="106"/>
                      <a:pt x="310" y="107"/>
                      <a:pt x="306" y="108"/>
                    </a:cubicBezTo>
                    <a:cubicBezTo>
                      <a:pt x="286" y="113"/>
                      <a:pt x="248" y="117"/>
                      <a:pt x="204" y="117"/>
                    </a:cubicBezTo>
                    <a:cubicBezTo>
                      <a:pt x="171" y="117"/>
                      <a:pt x="141" y="115"/>
                      <a:pt x="120" y="111"/>
                    </a:cubicBezTo>
                    <a:cubicBezTo>
                      <a:pt x="109" y="110"/>
                      <a:pt x="101" y="107"/>
                      <a:pt x="96" y="105"/>
                    </a:cubicBezTo>
                    <a:cubicBezTo>
                      <a:pt x="95" y="105"/>
                      <a:pt x="95" y="105"/>
                      <a:pt x="94" y="105"/>
                    </a:cubicBezTo>
                    <a:cubicBezTo>
                      <a:pt x="96" y="104"/>
                      <a:pt x="99" y="103"/>
                      <a:pt x="103" y="102"/>
                    </a:cubicBezTo>
                    <a:close/>
                    <a:moveTo>
                      <a:pt x="91" y="121"/>
                    </a:moveTo>
                    <a:cubicBezTo>
                      <a:pt x="93" y="121"/>
                      <a:pt x="96" y="122"/>
                      <a:pt x="98" y="123"/>
                    </a:cubicBezTo>
                    <a:cubicBezTo>
                      <a:pt x="121" y="129"/>
                      <a:pt x="160" y="133"/>
                      <a:pt x="204" y="133"/>
                    </a:cubicBezTo>
                    <a:cubicBezTo>
                      <a:pt x="238" y="133"/>
                      <a:pt x="269" y="131"/>
                      <a:pt x="292" y="127"/>
                    </a:cubicBezTo>
                    <a:cubicBezTo>
                      <a:pt x="302" y="125"/>
                      <a:pt x="311" y="123"/>
                      <a:pt x="318" y="121"/>
                    </a:cubicBezTo>
                    <a:cubicBezTo>
                      <a:pt x="318" y="305"/>
                      <a:pt x="318" y="305"/>
                      <a:pt x="318" y="305"/>
                    </a:cubicBez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lnTo>
                      <a:pt x="91" y="12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a:p>
            </p:txBody>
          </p:sp>
          <p:sp>
            <p:nvSpPr>
              <p:cNvPr id="42" name="Text Box 52">
                <a:extLst>
                  <a:ext uri="{FF2B5EF4-FFF2-40B4-BE49-F238E27FC236}">
                    <a16:creationId xmlns:a16="http://schemas.microsoft.com/office/drawing/2014/main" id="{79BE5253-77C6-4A7A-BD76-5BE1C8215BAD}"/>
                  </a:ext>
                </a:extLst>
              </p:cNvPr>
              <p:cNvSpPr txBox="1">
                <a:spLocks noChangeAspect="1" noChangeArrowheads="1"/>
              </p:cNvSpPr>
              <p:nvPr/>
            </p:nvSpPr>
            <p:spPr bwMode="auto">
              <a:xfrm>
                <a:off x="4620" y="3442"/>
                <a:ext cx="816"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000">
                    <a:solidFill>
                      <a:schemeClr val="tx2"/>
                    </a:solidFill>
                    <a:ea typeface="MS PGothic" panose="020B0600070205080204" pitchFamily="34" charset="-128"/>
                  </a:rPr>
                  <a:t>CUDB</a:t>
                </a:r>
              </a:p>
            </p:txBody>
          </p:sp>
        </p:grpSp>
        <p:sp>
          <p:nvSpPr>
            <p:cNvPr id="39" name="Rectangle 38">
              <a:extLst>
                <a:ext uri="{FF2B5EF4-FFF2-40B4-BE49-F238E27FC236}">
                  <a16:creationId xmlns:a16="http://schemas.microsoft.com/office/drawing/2014/main" id="{9F475191-BF0E-426D-8FA8-104A8B6A3E2D}"/>
                </a:ext>
              </a:extLst>
            </p:cNvPr>
            <p:cNvSpPr>
              <a:spLocks noChangeAspect="1" noChangeArrowheads="1"/>
            </p:cNvSpPr>
            <p:nvPr/>
          </p:nvSpPr>
          <p:spPr bwMode="auto">
            <a:xfrm>
              <a:off x="4631" y="2458"/>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ea typeface="MS PGothic" panose="020B0600070205080204" pitchFamily="34" charset="-128"/>
              </a:endParaRPr>
            </a:p>
          </p:txBody>
        </p:sp>
      </p:grpSp>
      <p:cxnSp>
        <p:nvCxnSpPr>
          <p:cNvPr id="43" name="Straight Connector 42">
            <a:extLst>
              <a:ext uri="{FF2B5EF4-FFF2-40B4-BE49-F238E27FC236}">
                <a16:creationId xmlns:a16="http://schemas.microsoft.com/office/drawing/2014/main" id="{1EC4C63F-ABB6-499A-AA3B-00E1AD25205E}"/>
              </a:ext>
            </a:extLst>
          </p:cNvPr>
          <p:cNvCxnSpPr>
            <a:stCxn id="7" idx="0"/>
          </p:cNvCxnSpPr>
          <p:nvPr/>
        </p:nvCxnSpPr>
        <p:spPr bwMode="auto">
          <a:xfrm flipV="1">
            <a:off x="5721542" y="4200579"/>
            <a:ext cx="6898" cy="262892"/>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4" name="Straight Connector 43">
            <a:extLst>
              <a:ext uri="{FF2B5EF4-FFF2-40B4-BE49-F238E27FC236}">
                <a16:creationId xmlns:a16="http://schemas.microsoft.com/office/drawing/2014/main" id="{1909BAA8-D87F-4A94-906D-7D6FE6D33A93}"/>
              </a:ext>
            </a:extLst>
          </p:cNvPr>
          <p:cNvCxnSpPr>
            <a:stCxn id="13" idx="0"/>
          </p:cNvCxnSpPr>
          <p:nvPr/>
        </p:nvCxnSpPr>
        <p:spPr bwMode="auto">
          <a:xfrm flipV="1">
            <a:off x="6757573" y="4200579"/>
            <a:ext cx="6330" cy="262892"/>
          </a:xfrm>
          <a:prstGeom prst="line">
            <a:avLst/>
          </a:prstGeom>
          <a:solidFill>
            <a:schemeClr val="accent1"/>
          </a:solidFill>
          <a:ln w="12700" cap="flat" cmpd="sng" algn="ctr">
            <a:solidFill>
              <a:schemeClr val="bg1"/>
            </a:solidFill>
            <a:prstDash val="dash"/>
            <a:round/>
            <a:headEnd type="none" w="med" len="med"/>
            <a:tailEnd type="none" w="med" len="med"/>
          </a:ln>
          <a:effectLst/>
        </p:spPr>
      </p:cxnSp>
      <p:cxnSp>
        <p:nvCxnSpPr>
          <p:cNvPr id="45" name="Straight Connector 44">
            <a:extLst>
              <a:ext uri="{FF2B5EF4-FFF2-40B4-BE49-F238E27FC236}">
                <a16:creationId xmlns:a16="http://schemas.microsoft.com/office/drawing/2014/main" id="{9FE05BE2-F7D5-4F55-B5AB-EC1DAA4CF411}"/>
              </a:ext>
            </a:extLst>
          </p:cNvPr>
          <p:cNvCxnSpPr>
            <a:cxnSpLocks/>
            <a:stCxn id="19" idx="0"/>
            <a:endCxn id="13" idx="2"/>
          </p:cNvCxnSpPr>
          <p:nvPr/>
        </p:nvCxnSpPr>
        <p:spPr bwMode="auto">
          <a:xfrm flipH="1" flipV="1">
            <a:off x="6757573" y="5174730"/>
            <a:ext cx="6330" cy="396806"/>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6" name="Straight Connector 45">
            <a:extLst>
              <a:ext uri="{FF2B5EF4-FFF2-40B4-BE49-F238E27FC236}">
                <a16:creationId xmlns:a16="http://schemas.microsoft.com/office/drawing/2014/main" id="{C9CA7A93-4B72-4F23-A8BC-F0EB88B59684}"/>
              </a:ext>
            </a:extLst>
          </p:cNvPr>
          <p:cNvCxnSpPr/>
          <p:nvPr/>
        </p:nvCxnSpPr>
        <p:spPr bwMode="auto">
          <a:xfrm>
            <a:off x="5936913" y="4818844"/>
            <a:ext cx="573099" cy="0"/>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47" name="Group 46">
            <a:extLst>
              <a:ext uri="{FF2B5EF4-FFF2-40B4-BE49-F238E27FC236}">
                <a16:creationId xmlns:a16="http://schemas.microsoft.com/office/drawing/2014/main" id="{D0476E0F-E88C-4132-92C2-341722207623}"/>
              </a:ext>
            </a:extLst>
          </p:cNvPr>
          <p:cNvGrpSpPr>
            <a:grpSpLocks noChangeAspect="1"/>
          </p:cNvGrpSpPr>
          <p:nvPr/>
        </p:nvGrpSpPr>
        <p:grpSpPr bwMode="auto">
          <a:xfrm>
            <a:off x="6561508" y="2059756"/>
            <a:ext cx="494554" cy="701039"/>
            <a:chOff x="4542" y="2478"/>
            <a:chExt cx="982" cy="1392"/>
          </a:xfrm>
        </p:grpSpPr>
        <p:grpSp>
          <p:nvGrpSpPr>
            <p:cNvPr id="48" name="Group 47">
              <a:extLst>
                <a:ext uri="{FF2B5EF4-FFF2-40B4-BE49-F238E27FC236}">
                  <a16:creationId xmlns:a16="http://schemas.microsoft.com/office/drawing/2014/main" id="{16772BEC-EE19-4CBA-9C98-98D7FC1DC9D8}"/>
                </a:ext>
              </a:extLst>
            </p:cNvPr>
            <p:cNvGrpSpPr>
              <a:grpSpLocks noChangeAspect="1"/>
            </p:cNvGrpSpPr>
            <p:nvPr/>
          </p:nvGrpSpPr>
          <p:grpSpPr bwMode="auto">
            <a:xfrm>
              <a:off x="4558" y="2478"/>
              <a:ext cx="966" cy="1391"/>
              <a:chOff x="4558" y="2478"/>
              <a:chExt cx="966" cy="1391"/>
            </a:xfrm>
          </p:grpSpPr>
          <p:sp>
            <p:nvSpPr>
              <p:cNvPr id="50" name="Freeform 40">
                <a:extLst>
                  <a:ext uri="{FF2B5EF4-FFF2-40B4-BE49-F238E27FC236}">
                    <a16:creationId xmlns:a16="http://schemas.microsoft.com/office/drawing/2014/main" id="{5EE6DEA9-DA2D-498B-A5A9-2578B705DFBC}"/>
                  </a:ext>
                </a:extLst>
              </p:cNvPr>
              <p:cNvSpPr>
                <a:spLocks noChangeAspect="1"/>
              </p:cNvSpPr>
              <p:nvPr/>
            </p:nvSpPr>
            <p:spPr bwMode="auto">
              <a:xfrm>
                <a:off x="4564" y="2497"/>
                <a:ext cx="928" cy="1353"/>
              </a:xfrm>
              <a:custGeom>
                <a:avLst/>
                <a:gdLst>
                  <a:gd name="T0" fmla="*/ 155477304 w 393"/>
                  <a:gd name="T1" fmla="*/ 32833468 h 573"/>
                  <a:gd name="T2" fmla="*/ 155477304 w 393"/>
                  <a:gd name="T3" fmla="*/ 213867255 h 573"/>
                  <a:gd name="T4" fmla="*/ 142780335 w 393"/>
                  <a:gd name="T5" fmla="*/ 226627195 h 573"/>
                  <a:gd name="T6" fmla="*/ 12713416 w 393"/>
                  <a:gd name="T7" fmla="*/ 226627195 h 573"/>
                  <a:gd name="T8" fmla="*/ 0 w 393"/>
                  <a:gd name="T9" fmla="*/ 213867255 h 573"/>
                  <a:gd name="T10" fmla="*/ 0 w 393"/>
                  <a:gd name="T11" fmla="*/ 12709704 h 573"/>
                  <a:gd name="T12" fmla="*/ 12713416 w 393"/>
                  <a:gd name="T13" fmla="*/ 0 h 573"/>
                  <a:gd name="T14" fmla="*/ 142780335 w 393"/>
                  <a:gd name="T15" fmla="*/ 0 h 573"/>
                  <a:gd name="T16" fmla="*/ 155477304 w 393"/>
                  <a:gd name="T17" fmla="*/ 12709704 h 573"/>
                  <a:gd name="T18" fmla="*/ 155477304 w 393"/>
                  <a:gd name="T19" fmla="*/ 20064886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1000"/>
              </a:p>
            </p:txBody>
          </p:sp>
          <p:sp>
            <p:nvSpPr>
              <p:cNvPr id="51" name="Text Box 42">
                <a:extLst>
                  <a:ext uri="{FF2B5EF4-FFF2-40B4-BE49-F238E27FC236}">
                    <a16:creationId xmlns:a16="http://schemas.microsoft.com/office/drawing/2014/main" id="{9B9E1E3C-EA87-4A63-B4D0-0769D736D39E}"/>
                  </a:ext>
                </a:extLst>
              </p:cNvPr>
              <p:cNvSpPr txBox="1">
                <a:spLocks noChangeAspect="1" noChangeArrowheads="1"/>
              </p:cNvSpPr>
              <p:nvPr/>
            </p:nvSpPr>
            <p:spPr bwMode="auto">
              <a:xfrm>
                <a:off x="4601" y="3444"/>
                <a:ext cx="816"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000">
                    <a:solidFill>
                      <a:schemeClr val="tx2"/>
                    </a:solidFill>
                    <a:ea typeface="MS PGothic" panose="020B0600070205080204" pitchFamily="34" charset="-128"/>
                  </a:rPr>
                  <a:t>EDA</a:t>
                </a:r>
                <a:endParaRPr lang="sv-SE" altLang="en-US" sz="1000">
                  <a:solidFill>
                    <a:schemeClr val="tx2"/>
                  </a:solidFill>
                  <a:ea typeface="MS PGothic" panose="020B0600070205080204" pitchFamily="34" charset="-128"/>
                </a:endParaRPr>
              </a:p>
            </p:txBody>
          </p:sp>
          <p:sp>
            <p:nvSpPr>
              <p:cNvPr id="52" name="Freeform 62">
                <a:extLst>
                  <a:ext uri="{FF2B5EF4-FFF2-40B4-BE49-F238E27FC236}">
                    <a16:creationId xmlns:a16="http://schemas.microsoft.com/office/drawing/2014/main" id="{A457F362-F697-40C5-9D4D-7649A6D0DA09}"/>
                  </a:ext>
                </a:extLst>
              </p:cNvPr>
              <p:cNvSpPr>
                <a:spLocks noChangeAspect="1" noEditPoints="1"/>
              </p:cNvSpPr>
              <p:nvPr/>
            </p:nvSpPr>
            <p:spPr bwMode="auto">
              <a:xfrm>
                <a:off x="4558" y="2478"/>
                <a:ext cx="966" cy="1391"/>
              </a:xfrm>
              <a:custGeom>
                <a:avLst/>
                <a:gdLst>
                  <a:gd name="T0" fmla="*/ 67402837 w 409"/>
                  <a:gd name="T1" fmla="*/ 11230778 h 589"/>
                  <a:gd name="T2" fmla="*/ 68764070 w 409"/>
                  <a:gd name="T3" fmla="*/ 9876220 h 589"/>
                  <a:gd name="T4" fmla="*/ 68764070 w 409"/>
                  <a:gd name="T5" fmla="*/ 6674623 h 589"/>
                  <a:gd name="T6" fmla="*/ 62067205 w 409"/>
                  <a:gd name="T7" fmla="*/ 0 h 589"/>
                  <a:gd name="T8" fmla="*/ 6687349 w 409"/>
                  <a:gd name="T9" fmla="*/ 0 h 589"/>
                  <a:gd name="T10" fmla="*/ 0 w 409"/>
                  <a:gd name="T11" fmla="*/ 6674623 h 589"/>
                  <a:gd name="T12" fmla="*/ 0 w 409"/>
                  <a:gd name="T13" fmla="*/ 92194627 h 589"/>
                  <a:gd name="T14" fmla="*/ 6687349 w 409"/>
                  <a:gd name="T15" fmla="*/ 98876680 h 589"/>
                  <a:gd name="T16" fmla="*/ 62067205 w 409"/>
                  <a:gd name="T17" fmla="*/ 98876680 h 589"/>
                  <a:gd name="T18" fmla="*/ 68764070 w 409"/>
                  <a:gd name="T19" fmla="*/ 92194627 h 589"/>
                  <a:gd name="T20" fmla="*/ 68764070 w 409"/>
                  <a:gd name="T21" fmla="*/ 15293849 h 589"/>
                  <a:gd name="T22" fmla="*/ 67402837 w 409"/>
                  <a:gd name="T23" fmla="*/ 13927471 h 589"/>
                  <a:gd name="T24" fmla="*/ 66047040 w 409"/>
                  <a:gd name="T25" fmla="*/ 15293849 h 589"/>
                  <a:gd name="T26" fmla="*/ 66047040 w 409"/>
                  <a:gd name="T27" fmla="*/ 92194627 h 589"/>
                  <a:gd name="T28" fmla="*/ 62067205 w 409"/>
                  <a:gd name="T29" fmla="*/ 96157161 h 589"/>
                  <a:gd name="T30" fmla="*/ 6687349 w 409"/>
                  <a:gd name="T31" fmla="*/ 96157161 h 589"/>
                  <a:gd name="T32" fmla="*/ 2717030 w 409"/>
                  <a:gd name="T33" fmla="*/ 92194627 h 589"/>
                  <a:gd name="T34" fmla="*/ 2717030 w 409"/>
                  <a:gd name="T35" fmla="*/ 6674623 h 589"/>
                  <a:gd name="T36" fmla="*/ 6687349 w 409"/>
                  <a:gd name="T37" fmla="*/ 2715296 h 589"/>
                  <a:gd name="T38" fmla="*/ 62067205 w 409"/>
                  <a:gd name="T39" fmla="*/ 2715296 h 589"/>
                  <a:gd name="T40" fmla="*/ 66047040 w 409"/>
                  <a:gd name="T41" fmla="*/ 6674623 h 589"/>
                  <a:gd name="T42" fmla="*/ 66047040 w 409"/>
                  <a:gd name="T43" fmla="*/ 9876220 h 589"/>
                  <a:gd name="T44" fmla="*/ 67402837 w 409"/>
                  <a:gd name="T45" fmla="*/ 11230778 h 589"/>
                  <a:gd name="T46" fmla="*/ 47908026 w 409"/>
                  <a:gd name="T47" fmla="*/ 15650729 h 589"/>
                  <a:gd name="T48" fmla="*/ 45689561 w 409"/>
                  <a:gd name="T49" fmla="*/ 14782119 h 589"/>
                  <a:gd name="T50" fmla="*/ 43543841 w 409"/>
                  <a:gd name="T51" fmla="*/ 15650729 h 589"/>
                  <a:gd name="T52" fmla="*/ 42334310 w 409"/>
                  <a:gd name="T53" fmla="*/ 17636173 h 589"/>
                  <a:gd name="T54" fmla="*/ 35646893 w 409"/>
                  <a:gd name="T55" fmla="*/ 42795983 h 589"/>
                  <a:gd name="T56" fmla="*/ 35440643 w 409"/>
                  <a:gd name="T57" fmla="*/ 43168469 h 589"/>
                  <a:gd name="T58" fmla="*/ 35159840 w 409"/>
                  <a:gd name="T59" fmla="*/ 43279496 h 589"/>
                  <a:gd name="T60" fmla="*/ 34802250 w 409"/>
                  <a:gd name="T61" fmla="*/ 43168469 h 589"/>
                  <a:gd name="T62" fmla="*/ 34652262 w 409"/>
                  <a:gd name="T63" fmla="*/ 42795983 h 589"/>
                  <a:gd name="T64" fmla="*/ 27899944 w 409"/>
                  <a:gd name="T65" fmla="*/ 17636173 h 589"/>
                  <a:gd name="T66" fmla="*/ 26551185 w 409"/>
                  <a:gd name="T67" fmla="*/ 15650729 h 589"/>
                  <a:gd name="T68" fmla="*/ 24341353 w 409"/>
                  <a:gd name="T69" fmla="*/ 14782119 h 589"/>
                  <a:gd name="T70" fmla="*/ 22211814 w 409"/>
                  <a:gd name="T71" fmla="*/ 15650729 h 589"/>
                  <a:gd name="T72" fmla="*/ 21002394 w 409"/>
                  <a:gd name="T73" fmla="*/ 17970126 h 589"/>
                  <a:gd name="T74" fmla="*/ 16302136 w 409"/>
                  <a:gd name="T75" fmla="*/ 44274297 h 589"/>
                  <a:gd name="T76" fmla="*/ 16460068 w 409"/>
                  <a:gd name="T77" fmla="*/ 45470982 h 589"/>
                  <a:gd name="T78" fmla="*/ 17500932 w 409"/>
                  <a:gd name="T79" fmla="*/ 46136036 h 589"/>
                  <a:gd name="T80" fmla="*/ 18651445 w 409"/>
                  <a:gd name="T81" fmla="*/ 45994763 h 589"/>
                  <a:gd name="T82" fmla="*/ 19344752 w 409"/>
                  <a:gd name="T83" fmla="*/ 45002747 h 589"/>
                  <a:gd name="T84" fmla="*/ 23833787 w 409"/>
                  <a:gd name="T85" fmla="*/ 18279100 h 589"/>
                  <a:gd name="T86" fmla="*/ 24049057 w 409"/>
                  <a:gd name="T87" fmla="*/ 17970126 h 589"/>
                  <a:gd name="T88" fmla="*/ 24341353 w 409"/>
                  <a:gd name="T89" fmla="*/ 17755560 h 589"/>
                  <a:gd name="T90" fmla="*/ 24917354 w 409"/>
                  <a:gd name="T91" fmla="*/ 18279100 h 589"/>
                  <a:gd name="T92" fmla="*/ 31616679 w 409"/>
                  <a:gd name="T93" fmla="*/ 43168469 h 589"/>
                  <a:gd name="T94" fmla="*/ 35159840 w 409"/>
                  <a:gd name="T95" fmla="*/ 46136036 h 589"/>
                  <a:gd name="T96" fmla="*/ 38503333 w 409"/>
                  <a:gd name="T97" fmla="*/ 43168469 h 589"/>
                  <a:gd name="T98" fmla="*/ 45202652 w 409"/>
                  <a:gd name="T99" fmla="*/ 18279100 h 589"/>
                  <a:gd name="T100" fmla="*/ 45689561 w 409"/>
                  <a:gd name="T101" fmla="*/ 17755560 h 589"/>
                  <a:gd name="T102" fmla="*/ 46043821 w 409"/>
                  <a:gd name="T103" fmla="*/ 17970126 h 589"/>
                  <a:gd name="T104" fmla="*/ 46249262 w 409"/>
                  <a:gd name="T105" fmla="*/ 18279100 h 589"/>
                  <a:gd name="T106" fmla="*/ 50739469 w 409"/>
                  <a:gd name="T107" fmla="*/ 45002747 h 589"/>
                  <a:gd name="T108" fmla="*/ 51468579 w 409"/>
                  <a:gd name="T109" fmla="*/ 45994763 h 589"/>
                  <a:gd name="T110" fmla="*/ 52790263 w 409"/>
                  <a:gd name="T111" fmla="*/ 46136036 h 589"/>
                  <a:gd name="T112" fmla="*/ 53812839 w 409"/>
                  <a:gd name="T113" fmla="*/ 45470982 h 589"/>
                  <a:gd name="T114" fmla="*/ 53943563 w 409"/>
                  <a:gd name="T115" fmla="*/ 44274297 h 589"/>
                  <a:gd name="T116" fmla="*/ 49231696 w 409"/>
                  <a:gd name="T117" fmla="*/ 17970126 h 589"/>
                  <a:gd name="T118" fmla="*/ 47908026 w 409"/>
                  <a:gd name="T119" fmla="*/ 15650729 h 58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09"/>
                  <a:gd name="T181" fmla="*/ 0 h 589"/>
                  <a:gd name="T182" fmla="*/ 409 w 409"/>
                  <a:gd name="T183" fmla="*/ 589 h 58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285" y="93"/>
                    </a:moveTo>
                    <a:cubicBezTo>
                      <a:pt x="282" y="90"/>
                      <a:pt x="278" y="88"/>
                      <a:pt x="272" y="88"/>
                    </a:cubicBezTo>
                    <a:cubicBezTo>
                      <a:pt x="267" y="88"/>
                      <a:pt x="263" y="90"/>
                      <a:pt x="259" y="93"/>
                    </a:cubicBezTo>
                    <a:cubicBezTo>
                      <a:pt x="256" y="96"/>
                      <a:pt x="253" y="100"/>
                      <a:pt x="252" y="105"/>
                    </a:cubicBezTo>
                    <a:cubicBezTo>
                      <a:pt x="212" y="255"/>
                      <a:pt x="212" y="255"/>
                      <a:pt x="212" y="255"/>
                    </a:cubicBezTo>
                    <a:cubicBezTo>
                      <a:pt x="212" y="256"/>
                      <a:pt x="212" y="256"/>
                      <a:pt x="211" y="257"/>
                    </a:cubicBezTo>
                    <a:cubicBezTo>
                      <a:pt x="210" y="257"/>
                      <a:pt x="210" y="258"/>
                      <a:pt x="209" y="258"/>
                    </a:cubicBezTo>
                    <a:cubicBezTo>
                      <a:pt x="208" y="258"/>
                      <a:pt x="207" y="257"/>
                      <a:pt x="207" y="257"/>
                    </a:cubicBezTo>
                    <a:cubicBezTo>
                      <a:pt x="206" y="256"/>
                      <a:pt x="206" y="256"/>
                      <a:pt x="206" y="255"/>
                    </a:cubicBezTo>
                    <a:cubicBezTo>
                      <a:pt x="166" y="105"/>
                      <a:pt x="166" y="105"/>
                      <a:pt x="166" y="105"/>
                    </a:cubicBezTo>
                    <a:cubicBezTo>
                      <a:pt x="164" y="100"/>
                      <a:pt x="162" y="96"/>
                      <a:pt x="158" y="93"/>
                    </a:cubicBezTo>
                    <a:cubicBezTo>
                      <a:pt x="154" y="90"/>
                      <a:pt x="150" y="88"/>
                      <a:pt x="145" y="88"/>
                    </a:cubicBezTo>
                    <a:cubicBezTo>
                      <a:pt x="140" y="88"/>
                      <a:pt x="135" y="90"/>
                      <a:pt x="132" y="93"/>
                    </a:cubicBezTo>
                    <a:cubicBezTo>
                      <a:pt x="128" y="96"/>
                      <a:pt x="126" y="100"/>
                      <a:pt x="125" y="107"/>
                    </a:cubicBezTo>
                    <a:cubicBezTo>
                      <a:pt x="97" y="264"/>
                      <a:pt x="97" y="264"/>
                      <a:pt x="97" y="264"/>
                    </a:cubicBezTo>
                    <a:cubicBezTo>
                      <a:pt x="97" y="266"/>
                      <a:pt x="97" y="269"/>
                      <a:pt x="98" y="271"/>
                    </a:cubicBezTo>
                    <a:cubicBezTo>
                      <a:pt x="99" y="273"/>
                      <a:pt x="101" y="274"/>
                      <a:pt x="104" y="275"/>
                    </a:cubicBezTo>
                    <a:cubicBezTo>
                      <a:pt x="107" y="276"/>
                      <a:pt x="109" y="276"/>
                      <a:pt x="111" y="274"/>
                    </a:cubicBezTo>
                    <a:cubicBezTo>
                      <a:pt x="113" y="273"/>
                      <a:pt x="115" y="271"/>
                      <a:pt x="115" y="268"/>
                    </a:cubicBezTo>
                    <a:cubicBezTo>
                      <a:pt x="142" y="109"/>
                      <a:pt x="142" y="109"/>
                      <a:pt x="142" y="109"/>
                    </a:cubicBezTo>
                    <a:cubicBezTo>
                      <a:pt x="142" y="108"/>
                      <a:pt x="142" y="108"/>
                      <a:pt x="143" y="107"/>
                    </a:cubicBezTo>
                    <a:cubicBezTo>
                      <a:pt x="143" y="107"/>
                      <a:pt x="144" y="106"/>
                      <a:pt x="145" y="106"/>
                    </a:cubicBezTo>
                    <a:cubicBezTo>
                      <a:pt x="146" y="106"/>
                      <a:pt x="148" y="107"/>
                      <a:pt x="148" y="109"/>
                    </a:cubicBezTo>
                    <a:cubicBezTo>
                      <a:pt x="188" y="257"/>
                      <a:pt x="188" y="257"/>
                      <a:pt x="188" y="257"/>
                    </a:cubicBezTo>
                    <a:cubicBezTo>
                      <a:pt x="192" y="269"/>
                      <a:pt x="198" y="275"/>
                      <a:pt x="209" y="275"/>
                    </a:cubicBezTo>
                    <a:cubicBezTo>
                      <a:pt x="219" y="275"/>
                      <a:pt x="226" y="269"/>
                      <a:pt x="229" y="257"/>
                    </a:cubicBezTo>
                    <a:cubicBezTo>
                      <a:pt x="269" y="109"/>
                      <a:pt x="269" y="109"/>
                      <a:pt x="269" y="109"/>
                    </a:cubicBezTo>
                    <a:cubicBezTo>
                      <a:pt x="270" y="107"/>
                      <a:pt x="271" y="106"/>
                      <a:pt x="272" y="106"/>
                    </a:cubicBezTo>
                    <a:cubicBezTo>
                      <a:pt x="273" y="106"/>
                      <a:pt x="274" y="107"/>
                      <a:pt x="274" y="107"/>
                    </a:cubicBezTo>
                    <a:cubicBezTo>
                      <a:pt x="275" y="108"/>
                      <a:pt x="275" y="108"/>
                      <a:pt x="275" y="109"/>
                    </a:cubicBezTo>
                    <a:cubicBezTo>
                      <a:pt x="302" y="268"/>
                      <a:pt x="302" y="268"/>
                      <a:pt x="302" y="268"/>
                    </a:cubicBezTo>
                    <a:cubicBezTo>
                      <a:pt x="303" y="271"/>
                      <a:pt x="304" y="273"/>
                      <a:pt x="306" y="274"/>
                    </a:cubicBezTo>
                    <a:cubicBezTo>
                      <a:pt x="308" y="276"/>
                      <a:pt x="311" y="276"/>
                      <a:pt x="314" y="275"/>
                    </a:cubicBezTo>
                    <a:cubicBezTo>
                      <a:pt x="317" y="274"/>
                      <a:pt x="319" y="273"/>
                      <a:pt x="320" y="271"/>
                    </a:cubicBezTo>
                    <a:cubicBezTo>
                      <a:pt x="321" y="269"/>
                      <a:pt x="321" y="266"/>
                      <a:pt x="321" y="264"/>
                    </a:cubicBezTo>
                    <a:cubicBezTo>
                      <a:pt x="293" y="107"/>
                      <a:pt x="293" y="107"/>
                      <a:pt x="293" y="107"/>
                    </a:cubicBezTo>
                    <a:cubicBezTo>
                      <a:pt x="291" y="100"/>
                      <a:pt x="289" y="96"/>
                      <a:pt x="285" y="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1000"/>
              </a:p>
            </p:txBody>
          </p:sp>
        </p:grpSp>
        <p:sp>
          <p:nvSpPr>
            <p:cNvPr id="49" name="Rectangle 48">
              <a:extLst>
                <a:ext uri="{FF2B5EF4-FFF2-40B4-BE49-F238E27FC236}">
                  <a16:creationId xmlns:a16="http://schemas.microsoft.com/office/drawing/2014/main" id="{AC3AA69B-96EB-438D-BC65-5977608C2491}"/>
                </a:ext>
              </a:extLst>
            </p:cNvPr>
            <p:cNvSpPr>
              <a:spLocks noChangeAspect="1" noChangeArrowheads="1"/>
            </p:cNvSpPr>
            <p:nvPr/>
          </p:nvSpPr>
          <p:spPr bwMode="auto">
            <a:xfrm>
              <a:off x="4542" y="2478"/>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1000">
                <a:ea typeface="MS PGothic" panose="020B0600070205080204" pitchFamily="34" charset="-128"/>
              </a:endParaRPr>
            </a:p>
          </p:txBody>
        </p:sp>
      </p:grpSp>
      <p:cxnSp>
        <p:nvCxnSpPr>
          <p:cNvPr id="53" name="Connector: Elbow 73">
            <a:extLst>
              <a:ext uri="{FF2B5EF4-FFF2-40B4-BE49-F238E27FC236}">
                <a16:creationId xmlns:a16="http://schemas.microsoft.com/office/drawing/2014/main" id="{8DDC2D68-2F7C-4656-8BD9-3DF9BFA98688}"/>
              </a:ext>
            </a:extLst>
          </p:cNvPr>
          <p:cNvCxnSpPr>
            <a:cxnSpLocks/>
          </p:cNvCxnSpPr>
          <p:nvPr/>
        </p:nvCxnSpPr>
        <p:spPr bwMode="auto">
          <a:xfrm rot="10800000" flipV="1">
            <a:off x="6204556" y="2410022"/>
            <a:ext cx="386667" cy="170411"/>
          </a:xfrm>
          <a:prstGeom prst="bentConnector3">
            <a:avLst>
              <a:gd name="adj1" fmla="val 93228"/>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54" name="Group 53">
            <a:extLst>
              <a:ext uri="{FF2B5EF4-FFF2-40B4-BE49-F238E27FC236}">
                <a16:creationId xmlns:a16="http://schemas.microsoft.com/office/drawing/2014/main" id="{4D854DF9-E060-4A3F-8244-E4327BBFC3AA}"/>
              </a:ext>
            </a:extLst>
          </p:cNvPr>
          <p:cNvGrpSpPr>
            <a:grpSpLocks noChangeAspect="1"/>
          </p:cNvGrpSpPr>
          <p:nvPr/>
        </p:nvGrpSpPr>
        <p:grpSpPr bwMode="auto">
          <a:xfrm>
            <a:off x="3051188" y="4255102"/>
            <a:ext cx="1497152" cy="1127484"/>
            <a:chOff x="2794" y="3073"/>
            <a:chExt cx="1377" cy="1037"/>
          </a:xfrm>
        </p:grpSpPr>
        <p:sp>
          <p:nvSpPr>
            <p:cNvPr id="55" name="Freeform 40">
              <a:extLst>
                <a:ext uri="{FF2B5EF4-FFF2-40B4-BE49-F238E27FC236}">
                  <a16:creationId xmlns:a16="http://schemas.microsoft.com/office/drawing/2014/main" id="{5DB9A7D4-D8D9-4988-A161-50549293B48B}"/>
                </a:ext>
              </a:extLst>
            </p:cNvPr>
            <p:cNvSpPr>
              <a:spLocks noChangeAspect="1"/>
            </p:cNvSpPr>
            <p:nvPr/>
          </p:nvSpPr>
          <p:spPr bwMode="auto">
            <a:xfrm>
              <a:off x="2794" y="3073"/>
              <a:ext cx="1377" cy="1037"/>
            </a:xfrm>
            <a:custGeom>
              <a:avLst/>
              <a:gdLst>
                <a:gd name="T0" fmla="*/ 54825843 w 583"/>
                <a:gd name="T1" fmla="*/ 58469906 h 439"/>
                <a:gd name="T2" fmla="*/ 96545098 w 583"/>
                <a:gd name="T3" fmla="*/ 36227427 h 439"/>
                <a:gd name="T4" fmla="*/ 167169092 w 583"/>
                <a:gd name="T5" fmla="*/ 41771458 h 439"/>
                <a:gd name="T6" fmla="*/ 203351595 w 583"/>
                <a:gd name="T7" fmla="*/ 77995864 h 439"/>
                <a:gd name="T8" fmla="*/ 204970853 w 583"/>
                <a:gd name="T9" fmla="*/ 125263451 h 439"/>
                <a:gd name="T10" fmla="*/ 159551589 w 583"/>
                <a:gd name="T11" fmla="*/ 147505769 h 439"/>
                <a:gd name="T12" fmla="*/ 116683277 w 583"/>
                <a:gd name="T13" fmla="*/ 155149397 h 439"/>
                <a:gd name="T14" fmla="*/ 65930210 w 583"/>
                <a:gd name="T15" fmla="*/ 148389739 h 439"/>
                <a:gd name="T16" fmla="*/ 34088299 w 583"/>
                <a:gd name="T17" fmla="*/ 116570427 h 439"/>
                <a:gd name="T18" fmla="*/ 54825843 w 583"/>
                <a:gd name="T19" fmla="*/ 58469906 h 4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3"/>
                <a:gd name="T31" fmla="*/ 0 h 439"/>
                <a:gd name="T32" fmla="*/ 583 w 583"/>
                <a:gd name="T33" fmla="*/ 439 h 4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3" h="439">
                  <a:moveTo>
                    <a:pt x="138" y="147"/>
                  </a:moveTo>
                  <a:cubicBezTo>
                    <a:pt x="144" y="78"/>
                    <a:pt x="201" y="68"/>
                    <a:pt x="243" y="91"/>
                  </a:cubicBezTo>
                  <a:cubicBezTo>
                    <a:pt x="276" y="24"/>
                    <a:pt x="384" y="0"/>
                    <a:pt x="421" y="105"/>
                  </a:cubicBezTo>
                  <a:cubicBezTo>
                    <a:pt x="492" y="105"/>
                    <a:pt x="512" y="143"/>
                    <a:pt x="512" y="196"/>
                  </a:cubicBezTo>
                  <a:cubicBezTo>
                    <a:pt x="583" y="223"/>
                    <a:pt x="577" y="298"/>
                    <a:pt x="516" y="315"/>
                  </a:cubicBezTo>
                  <a:cubicBezTo>
                    <a:pt x="499" y="389"/>
                    <a:pt x="449" y="392"/>
                    <a:pt x="402" y="371"/>
                  </a:cubicBezTo>
                  <a:cubicBezTo>
                    <a:pt x="359" y="421"/>
                    <a:pt x="314" y="402"/>
                    <a:pt x="294" y="390"/>
                  </a:cubicBezTo>
                  <a:cubicBezTo>
                    <a:pt x="255" y="418"/>
                    <a:pt x="212" y="439"/>
                    <a:pt x="166" y="373"/>
                  </a:cubicBezTo>
                  <a:cubicBezTo>
                    <a:pt x="62" y="389"/>
                    <a:pt x="86" y="293"/>
                    <a:pt x="86" y="293"/>
                  </a:cubicBezTo>
                  <a:cubicBezTo>
                    <a:pt x="86" y="293"/>
                    <a:pt x="0" y="193"/>
                    <a:pt x="138"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1400"/>
            </a:p>
          </p:txBody>
        </p:sp>
        <p:grpSp>
          <p:nvGrpSpPr>
            <p:cNvPr id="56" name="Group 55">
              <a:extLst>
                <a:ext uri="{FF2B5EF4-FFF2-40B4-BE49-F238E27FC236}">
                  <a16:creationId xmlns:a16="http://schemas.microsoft.com/office/drawing/2014/main" id="{2DE47B05-D4F5-4B49-A35C-60EA8BD5D6C6}"/>
                </a:ext>
              </a:extLst>
            </p:cNvPr>
            <p:cNvGrpSpPr>
              <a:grpSpLocks noChangeAspect="1"/>
            </p:cNvGrpSpPr>
            <p:nvPr/>
          </p:nvGrpSpPr>
          <p:grpSpPr bwMode="auto">
            <a:xfrm>
              <a:off x="2914" y="3137"/>
              <a:ext cx="1233" cy="942"/>
              <a:chOff x="2914" y="3137"/>
              <a:chExt cx="1233" cy="942"/>
            </a:xfrm>
          </p:grpSpPr>
          <p:sp>
            <p:nvSpPr>
              <p:cNvPr id="57" name="Freeform 42">
                <a:extLst>
                  <a:ext uri="{FF2B5EF4-FFF2-40B4-BE49-F238E27FC236}">
                    <a16:creationId xmlns:a16="http://schemas.microsoft.com/office/drawing/2014/main" id="{D5DDD3EB-EF6A-4BCB-803A-5F4C51806F45}"/>
                  </a:ext>
                </a:extLst>
              </p:cNvPr>
              <p:cNvSpPr>
                <a:spLocks noChangeAspect="1"/>
              </p:cNvSpPr>
              <p:nvPr/>
            </p:nvSpPr>
            <p:spPr bwMode="auto">
              <a:xfrm>
                <a:off x="2914" y="3137"/>
                <a:ext cx="1233" cy="942"/>
              </a:xfrm>
              <a:custGeom>
                <a:avLst/>
                <a:gdLst>
                  <a:gd name="T0" fmla="*/ 36192592 w 522"/>
                  <a:gd name="T1" fmla="*/ 140885418 h 399"/>
                  <a:gd name="T2" fmla="*/ 10256288 w 522"/>
                  <a:gd name="T3" fmla="*/ 105765612 h 399"/>
                  <a:gd name="T4" fmla="*/ 0 w 522"/>
                  <a:gd name="T5" fmla="*/ 80935004 h 399"/>
                  <a:gd name="T6" fmla="*/ 31759028 w 522"/>
                  <a:gd name="T7" fmla="*/ 43809332 h 399"/>
                  <a:gd name="T8" fmla="*/ 59576510 w 522"/>
                  <a:gd name="T9" fmla="*/ 16220461 h 399"/>
                  <a:gd name="T10" fmla="*/ 110580766 w 522"/>
                  <a:gd name="T11" fmla="*/ 0 h 399"/>
                  <a:gd name="T12" fmla="*/ 149492430 w 522"/>
                  <a:gd name="T13" fmla="*/ 28400457 h 399"/>
                  <a:gd name="T14" fmla="*/ 171010852 w 522"/>
                  <a:gd name="T15" fmla="*/ 33618304 h 399"/>
                  <a:gd name="T16" fmla="*/ 171637679 w 522"/>
                  <a:gd name="T17" fmla="*/ 37939763 h 399"/>
                  <a:gd name="T18" fmla="*/ 167298559 w 522"/>
                  <a:gd name="T19" fmla="*/ 38584412 h 399"/>
                  <a:gd name="T20" fmla="*/ 147936287 w 522"/>
                  <a:gd name="T21" fmla="*/ 34748744 h 399"/>
                  <a:gd name="T22" fmla="*/ 144220746 w 522"/>
                  <a:gd name="T23" fmla="*/ 32412752 h 399"/>
                  <a:gd name="T24" fmla="*/ 79087081 w 522"/>
                  <a:gd name="T25" fmla="*/ 27253580 h 399"/>
                  <a:gd name="T26" fmla="*/ 76740833 w 522"/>
                  <a:gd name="T27" fmla="*/ 28755612 h 399"/>
                  <a:gd name="T28" fmla="*/ 59576510 w 522"/>
                  <a:gd name="T29" fmla="*/ 22585135 h 399"/>
                  <a:gd name="T30" fmla="*/ 38185960 w 522"/>
                  <a:gd name="T31" fmla="*/ 43809332 h 399"/>
                  <a:gd name="T32" fmla="*/ 38185960 w 522"/>
                  <a:gd name="T33" fmla="*/ 50130244 h 399"/>
                  <a:gd name="T34" fmla="*/ 35836035 w 522"/>
                  <a:gd name="T35" fmla="*/ 51340865 h 399"/>
                  <a:gd name="T36" fmla="*/ 15809765 w 522"/>
                  <a:gd name="T37" fmla="*/ 102637961 h 399"/>
                  <a:gd name="T38" fmla="*/ 16679058 w 522"/>
                  <a:gd name="T39" fmla="*/ 106120399 h 399"/>
                  <a:gd name="T40" fmla="*/ 36192592 w 522"/>
                  <a:gd name="T41" fmla="*/ 134584600 h 399"/>
                  <a:gd name="T42" fmla="*/ 44620340 w 522"/>
                  <a:gd name="T43" fmla="*/ 133026081 h 399"/>
                  <a:gd name="T44" fmla="*/ 48962418 w 522"/>
                  <a:gd name="T45" fmla="*/ 134584600 h 399"/>
                  <a:gd name="T46" fmla="*/ 73239054 w 522"/>
                  <a:gd name="T47" fmla="*/ 151073642 h 399"/>
                  <a:gd name="T48" fmla="*/ 96254372 w 522"/>
                  <a:gd name="T49" fmla="*/ 139260476 h 399"/>
                  <a:gd name="T50" fmla="*/ 98616275 w 522"/>
                  <a:gd name="T51" fmla="*/ 140035182 h 399"/>
                  <a:gd name="T52" fmla="*/ 136798069 w 522"/>
                  <a:gd name="T53" fmla="*/ 133379319 h 399"/>
                  <a:gd name="T54" fmla="*/ 139150945 w 522"/>
                  <a:gd name="T55" fmla="*/ 131879365 h 399"/>
                  <a:gd name="T56" fmla="*/ 157041373 w 522"/>
                  <a:gd name="T57" fmla="*/ 137699556 h 399"/>
                  <a:gd name="T58" fmla="*/ 180899137 w 522"/>
                  <a:gd name="T59" fmla="*/ 113984271 h 399"/>
                  <a:gd name="T60" fmla="*/ 183621055 w 522"/>
                  <a:gd name="T61" fmla="*/ 110504639 h 399"/>
                  <a:gd name="T62" fmla="*/ 201142162 w 522"/>
                  <a:gd name="T63" fmla="*/ 90410570 h 399"/>
                  <a:gd name="T64" fmla="*/ 180899137 w 522"/>
                  <a:gd name="T65" fmla="*/ 69035938 h 399"/>
                  <a:gd name="T66" fmla="*/ 180056903 w 522"/>
                  <a:gd name="T67" fmla="*/ 66695375 h 399"/>
                  <a:gd name="T68" fmla="*/ 175714691 w 522"/>
                  <a:gd name="T69" fmla="*/ 46936529 h 399"/>
                  <a:gd name="T70" fmla="*/ 176559480 w 522"/>
                  <a:gd name="T71" fmla="*/ 42259777 h 399"/>
                  <a:gd name="T72" fmla="*/ 186809140 w 522"/>
                  <a:gd name="T73" fmla="*/ 62375165 h 399"/>
                  <a:gd name="T74" fmla="*/ 186809140 w 522"/>
                  <a:gd name="T75" fmla="*/ 64714699 h 399"/>
                  <a:gd name="T76" fmla="*/ 187323641 w 522"/>
                  <a:gd name="T77" fmla="*/ 115964698 h 399"/>
                  <a:gd name="T78" fmla="*/ 157041373 w 522"/>
                  <a:gd name="T79" fmla="*/ 144060159 h 399"/>
                  <a:gd name="T80" fmla="*/ 114414062 w 522"/>
                  <a:gd name="T81" fmla="*/ 151907624 h 399"/>
                  <a:gd name="T82" fmla="*/ 97465112 w 522"/>
                  <a:gd name="T83" fmla="*/ 146755205 h 399"/>
                  <a:gd name="T84" fmla="*/ 44095992 w 522"/>
                  <a:gd name="T85" fmla="*/ 139743608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1400"/>
              </a:p>
            </p:txBody>
          </p:sp>
          <p:sp>
            <p:nvSpPr>
              <p:cNvPr id="58" name="Text Box 43">
                <a:extLst>
                  <a:ext uri="{FF2B5EF4-FFF2-40B4-BE49-F238E27FC236}">
                    <a16:creationId xmlns:a16="http://schemas.microsoft.com/office/drawing/2014/main" id="{078D5A43-4491-4C70-95AC-4D834B197FC6}"/>
                  </a:ext>
                </a:extLst>
              </p:cNvPr>
              <p:cNvSpPr txBox="1">
                <a:spLocks noChangeAspect="1" noChangeArrowheads="1"/>
              </p:cNvSpPr>
              <p:nvPr/>
            </p:nvSpPr>
            <p:spPr bwMode="auto">
              <a:xfrm>
                <a:off x="3174" y="3385"/>
                <a:ext cx="716" cy="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800">
                    <a:solidFill>
                      <a:schemeClr val="tx2"/>
                    </a:solidFill>
                    <a:ea typeface="MS PGothic" panose="020B0600070205080204" pitchFamily="34" charset="-128"/>
                  </a:rPr>
                  <a:t>4G/LTE</a:t>
                </a:r>
                <a:br>
                  <a:rPr lang="en-US" altLang="en-US" sz="1800">
                    <a:solidFill>
                      <a:schemeClr val="tx2"/>
                    </a:solidFill>
                    <a:ea typeface="MS PGothic" panose="020B0600070205080204" pitchFamily="34" charset="-128"/>
                  </a:rPr>
                </a:br>
                <a:r>
                  <a:rPr lang="en-US" altLang="en-US" sz="1800">
                    <a:solidFill>
                      <a:schemeClr val="tx2"/>
                    </a:solidFill>
                    <a:ea typeface="MS PGothic" panose="020B0600070205080204" pitchFamily="34" charset="-128"/>
                  </a:rPr>
                  <a:t>RAN</a:t>
                </a:r>
              </a:p>
            </p:txBody>
          </p:sp>
        </p:grpSp>
      </p:grpSp>
      <p:cxnSp>
        <p:nvCxnSpPr>
          <p:cNvPr id="59" name="Straight Connector 58">
            <a:extLst>
              <a:ext uri="{FF2B5EF4-FFF2-40B4-BE49-F238E27FC236}">
                <a16:creationId xmlns:a16="http://schemas.microsoft.com/office/drawing/2014/main" id="{14148528-3D35-4027-B3D6-876EE2543042}"/>
              </a:ext>
            </a:extLst>
          </p:cNvPr>
          <p:cNvCxnSpPr>
            <a:endCxn id="7" idx="3"/>
          </p:cNvCxnSpPr>
          <p:nvPr/>
        </p:nvCxnSpPr>
        <p:spPr bwMode="auto">
          <a:xfrm>
            <a:off x="4498793" y="4818844"/>
            <a:ext cx="975188" cy="257"/>
          </a:xfrm>
          <a:prstGeom prst="line">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0" name="Connector: Elbow 84">
            <a:extLst>
              <a:ext uri="{FF2B5EF4-FFF2-40B4-BE49-F238E27FC236}">
                <a16:creationId xmlns:a16="http://schemas.microsoft.com/office/drawing/2014/main" id="{EAF60C4B-4BE7-4163-B4C8-DA650A9C1572}"/>
              </a:ext>
            </a:extLst>
          </p:cNvPr>
          <p:cNvCxnSpPr>
            <a:endCxn id="19" idx="1"/>
          </p:cNvCxnSpPr>
          <p:nvPr/>
        </p:nvCxnSpPr>
        <p:spPr bwMode="auto">
          <a:xfrm>
            <a:off x="4498793" y="4958082"/>
            <a:ext cx="2023879" cy="959991"/>
          </a:xfrm>
          <a:prstGeom prst="bentConnector3">
            <a:avLst>
              <a:gd name="adj1" fmla="val 25709"/>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grpSp>
        <p:nvGrpSpPr>
          <p:cNvPr id="61" name="Group 60">
            <a:extLst>
              <a:ext uri="{FF2B5EF4-FFF2-40B4-BE49-F238E27FC236}">
                <a16:creationId xmlns:a16="http://schemas.microsoft.com/office/drawing/2014/main" id="{ABA361B9-14B9-466B-A438-CE8B1FAA31AD}"/>
              </a:ext>
            </a:extLst>
          </p:cNvPr>
          <p:cNvGrpSpPr>
            <a:grpSpLocks noChangeAspect="1"/>
          </p:cNvGrpSpPr>
          <p:nvPr/>
        </p:nvGrpSpPr>
        <p:grpSpPr bwMode="auto">
          <a:xfrm>
            <a:off x="7831709" y="5382586"/>
            <a:ext cx="1197304" cy="901673"/>
            <a:chOff x="2794" y="3073"/>
            <a:chExt cx="1377" cy="1037"/>
          </a:xfrm>
        </p:grpSpPr>
        <p:sp>
          <p:nvSpPr>
            <p:cNvPr id="62" name="Freeform 40">
              <a:extLst>
                <a:ext uri="{FF2B5EF4-FFF2-40B4-BE49-F238E27FC236}">
                  <a16:creationId xmlns:a16="http://schemas.microsoft.com/office/drawing/2014/main" id="{CC160E37-8154-4138-BE44-FC4CA7BE70A4}"/>
                </a:ext>
              </a:extLst>
            </p:cNvPr>
            <p:cNvSpPr>
              <a:spLocks noChangeAspect="1"/>
            </p:cNvSpPr>
            <p:nvPr/>
          </p:nvSpPr>
          <p:spPr bwMode="auto">
            <a:xfrm>
              <a:off x="2794" y="3073"/>
              <a:ext cx="1377" cy="1037"/>
            </a:xfrm>
            <a:custGeom>
              <a:avLst/>
              <a:gdLst>
                <a:gd name="T0" fmla="*/ 54825843 w 583"/>
                <a:gd name="T1" fmla="*/ 58469906 h 439"/>
                <a:gd name="T2" fmla="*/ 96545098 w 583"/>
                <a:gd name="T3" fmla="*/ 36227427 h 439"/>
                <a:gd name="T4" fmla="*/ 167169092 w 583"/>
                <a:gd name="T5" fmla="*/ 41771458 h 439"/>
                <a:gd name="T6" fmla="*/ 203351595 w 583"/>
                <a:gd name="T7" fmla="*/ 77995864 h 439"/>
                <a:gd name="T8" fmla="*/ 204970853 w 583"/>
                <a:gd name="T9" fmla="*/ 125263451 h 439"/>
                <a:gd name="T10" fmla="*/ 159551589 w 583"/>
                <a:gd name="T11" fmla="*/ 147505769 h 439"/>
                <a:gd name="T12" fmla="*/ 116683277 w 583"/>
                <a:gd name="T13" fmla="*/ 155149397 h 439"/>
                <a:gd name="T14" fmla="*/ 65930210 w 583"/>
                <a:gd name="T15" fmla="*/ 148389739 h 439"/>
                <a:gd name="T16" fmla="*/ 34088299 w 583"/>
                <a:gd name="T17" fmla="*/ 116570427 h 439"/>
                <a:gd name="T18" fmla="*/ 54825843 w 583"/>
                <a:gd name="T19" fmla="*/ 58469906 h 4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3"/>
                <a:gd name="T31" fmla="*/ 0 h 439"/>
                <a:gd name="T32" fmla="*/ 583 w 583"/>
                <a:gd name="T33" fmla="*/ 439 h 4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3" h="439">
                  <a:moveTo>
                    <a:pt x="138" y="147"/>
                  </a:moveTo>
                  <a:cubicBezTo>
                    <a:pt x="144" y="78"/>
                    <a:pt x="201" y="68"/>
                    <a:pt x="243" y="91"/>
                  </a:cubicBezTo>
                  <a:cubicBezTo>
                    <a:pt x="276" y="24"/>
                    <a:pt x="384" y="0"/>
                    <a:pt x="421" y="105"/>
                  </a:cubicBezTo>
                  <a:cubicBezTo>
                    <a:pt x="492" y="105"/>
                    <a:pt x="512" y="143"/>
                    <a:pt x="512" y="196"/>
                  </a:cubicBezTo>
                  <a:cubicBezTo>
                    <a:pt x="583" y="223"/>
                    <a:pt x="577" y="298"/>
                    <a:pt x="516" y="315"/>
                  </a:cubicBezTo>
                  <a:cubicBezTo>
                    <a:pt x="499" y="389"/>
                    <a:pt x="449" y="392"/>
                    <a:pt x="402" y="371"/>
                  </a:cubicBezTo>
                  <a:cubicBezTo>
                    <a:pt x="359" y="421"/>
                    <a:pt x="314" y="402"/>
                    <a:pt x="294" y="390"/>
                  </a:cubicBezTo>
                  <a:cubicBezTo>
                    <a:pt x="255" y="418"/>
                    <a:pt x="212" y="439"/>
                    <a:pt x="166" y="373"/>
                  </a:cubicBezTo>
                  <a:cubicBezTo>
                    <a:pt x="62" y="389"/>
                    <a:pt x="86" y="293"/>
                    <a:pt x="86" y="293"/>
                  </a:cubicBezTo>
                  <a:cubicBezTo>
                    <a:pt x="86" y="293"/>
                    <a:pt x="0" y="193"/>
                    <a:pt x="138"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1400"/>
            </a:p>
          </p:txBody>
        </p:sp>
        <p:grpSp>
          <p:nvGrpSpPr>
            <p:cNvPr id="63" name="Group 62">
              <a:extLst>
                <a:ext uri="{FF2B5EF4-FFF2-40B4-BE49-F238E27FC236}">
                  <a16:creationId xmlns:a16="http://schemas.microsoft.com/office/drawing/2014/main" id="{06C6CF29-1379-4F3D-BFEF-4A3CF3CBBED5}"/>
                </a:ext>
              </a:extLst>
            </p:cNvPr>
            <p:cNvGrpSpPr>
              <a:grpSpLocks noChangeAspect="1"/>
            </p:cNvGrpSpPr>
            <p:nvPr/>
          </p:nvGrpSpPr>
          <p:grpSpPr bwMode="auto">
            <a:xfrm>
              <a:off x="2914" y="3137"/>
              <a:ext cx="1233" cy="942"/>
              <a:chOff x="2914" y="3137"/>
              <a:chExt cx="1233" cy="942"/>
            </a:xfrm>
          </p:grpSpPr>
          <p:sp>
            <p:nvSpPr>
              <p:cNvPr id="64" name="Freeform 42">
                <a:extLst>
                  <a:ext uri="{FF2B5EF4-FFF2-40B4-BE49-F238E27FC236}">
                    <a16:creationId xmlns:a16="http://schemas.microsoft.com/office/drawing/2014/main" id="{9DAC9587-ED16-43AA-AECD-198AECEA0210}"/>
                  </a:ext>
                </a:extLst>
              </p:cNvPr>
              <p:cNvSpPr>
                <a:spLocks noChangeAspect="1"/>
              </p:cNvSpPr>
              <p:nvPr/>
            </p:nvSpPr>
            <p:spPr bwMode="auto">
              <a:xfrm>
                <a:off x="2914" y="3137"/>
                <a:ext cx="1233" cy="942"/>
              </a:xfrm>
              <a:custGeom>
                <a:avLst/>
                <a:gdLst>
                  <a:gd name="T0" fmla="*/ 36192592 w 522"/>
                  <a:gd name="T1" fmla="*/ 140885418 h 399"/>
                  <a:gd name="T2" fmla="*/ 10256288 w 522"/>
                  <a:gd name="T3" fmla="*/ 105765612 h 399"/>
                  <a:gd name="T4" fmla="*/ 0 w 522"/>
                  <a:gd name="T5" fmla="*/ 80935004 h 399"/>
                  <a:gd name="T6" fmla="*/ 31759028 w 522"/>
                  <a:gd name="T7" fmla="*/ 43809332 h 399"/>
                  <a:gd name="T8" fmla="*/ 59576510 w 522"/>
                  <a:gd name="T9" fmla="*/ 16220461 h 399"/>
                  <a:gd name="T10" fmla="*/ 110580766 w 522"/>
                  <a:gd name="T11" fmla="*/ 0 h 399"/>
                  <a:gd name="T12" fmla="*/ 149492430 w 522"/>
                  <a:gd name="T13" fmla="*/ 28400457 h 399"/>
                  <a:gd name="T14" fmla="*/ 171010852 w 522"/>
                  <a:gd name="T15" fmla="*/ 33618304 h 399"/>
                  <a:gd name="T16" fmla="*/ 171637679 w 522"/>
                  <a:gd name="T17" fmla="*/ 37939763 h 399"/>
                  <a:gd name="T18" fmla="*/ 167298559 w 522"/>
                  <a:gd name="T19" fmla="*/ 38584412 h 399"/>
                  <a:gd name="T20" fmla="*/ 147936287 w 522"/>
                  <a:gd name="T21" fmla="*/ 34748744 h 399"/>
                  <a:gd name="T22" fmla="*/ 144220746 w 522"/>
                  <a:gd name="T23" fmla="*/ 32412752 h 399"/>
                  <a:gd name="T24" fmla="*/ 79087081 w 522"/>
                  <a:gd name="T25" fmla="*/ 27253580 h 399"/>
                  <a:gd name="T26" fmla="*/ 76740833 w 522"/>
                  <a:gd name="T27" fmla="*/ 28755612 h 399"/>
                  <a:gd name="T28" fmla="*/ 59576510 w 522"/>
                  <a:gd name="T29" fmla="*/ 22585135 h 399"/>
                  <a:gd name="T30" fmla="*/ 38185960 w 522"/>
                  <a:gd name="T31" fmla="*/ 43809332 h 399"/>
                  <a:gd name="T32" fmla="*/ 38185960 w 522"/>
                  <a:gd name="T33" fmla="*/ 50130244 h 399"/>
                  <a:gd name="T34" fmla="*/ 35836035 w 522"/>
                  <a:gd name="T35" fmla="*/ 51340865 h 399"/>
                  <a:gd name="T36" fmla="*/ 15809765 w 522"/>
                  <a:gd name="T37" fmla="*/ 102637961 h 399"/>
                  <a:gd name="T38" fmla="*/ 16679058 w 522"/>
                  <a:gd name="T39" fmla="*/ 106120399 h 399"/>
                  <a:gd name="T40" fmla="*/ 36192592 w 522"/>
                  <a:gd name="T41" fmla="*/ 134584600 h 399"/>
                  <a:gd name="T42" fmla="*/ 44620340 w 522"/>
                  <a:gd name="T43" fmla="*/ 133026081 h 399"/>
                  <a:gd name="T44" fmla="*/ 48962418 w 522"/>
                  <a:gd name="T45" fmla="*/ 134584600 h 399"/>
                  <a:gd name="T46" fmla="*/ 73239054 w 522"/>
                  <a:gd name="T47" fmla="*/ 151073642 h 399"/>
                  <a:gd name="T48" fmla="*/ 96254372 w 522"/>
                  <a:gd name="T49" fmla="*/ 139260476 h 399"/>
                  <a:gd name="T50" fmla="*/ 98616275 w 522"/>
                  <a:gd name="T51" fmla="*/ 140035182 h 399"/>
                  <a:gd name="T52" fmla="*/ 136798069 w 522"/>
                  <a:gd name="T53" fmla="*/ 133379319 h 399"/>
                  <a:gd name="T54" fmla="*/ 139150945 w 522"/>
                  <a:gd name="T55" fmla="*/ 131879365 h 399"/>
                  <a:gd name="T56" fmla="*/ 157041373 w 522"/>
                  <a:gd name="T57" fmla="*/ 137699556 h 399"/>
                  <a:gd name="T58" fmla="*/ 180899137 w 522"/>
                  <a:gd name="T59" fmla="*/ 113984271 h 399"/>
                  <a:gd name="T60" fmla="*/ 183621055 w 522"/>
                  <a:gd name="T61" fmla="*/ 110504639 h 399"/>
                  <a:gd name="T62" fmla="*/ 201142162 w 522"/>
                  <a:gd name="T63" fmla="*/ 90410570 h 399"/>
                  <a:gd name="T64" fmla="*/ 180899137 w 522"/>
                  <a:gd name="T65" fmla="*/ 69035938 h 399"/>
                  <a:gd name="T66" fmla="*/ 180056903 w 522"/>
                  <a:gd name="T67" fmla="*/ 66695375 h 399"/>
                  <a:gd name="T68" fmla="*/ 175714691 w 522"/>
                  <a:gd name="T69" fmla="*/ 46936529 h 399"/>
                  <a:gd name="T70" fmla="*/ 176559480 w 522"/>
                  <a:gd name="T71" fmla="*/ 42259777 h 399"/>
                  <a:gd name="T72" fmla="*/ 186809140 w 522"/>
                  <a:gd name="T73" fmla="*/ 62375165 h 399"/>
                  <a:gd name="T74" fmla="*/ 186809140 w 522"/>
                  <a:gd name="T75" fmla="*/ 64714699 h 399"/>
                  <a:gd name="T76" fmla="*/ 187323641 w 522"/>
                  <a:gd name="T77" fmla="*/ 115964698 h 399"/>
                  <a:gd name="T78" fmla="*/ 157041373 w 522"/>
                  <a:gd name="T79" fmla="*/ 144060159 h 399"/>
                  <a:gd name="T80" fmla="*/ 114414062 w 522"/>
                  <a:gd name="T81" fmla="*/ 151907624 h 399"/>
                  <a:gd name="T82" fmla="*/ 97465112 w 522"/>
                  <a:gd name="T83" fmla="*/ 146755205 h 399"/>
                  <a:gd name="T84" fmla="*/ 44095992 w 522"/>
                  <a:gd name="T85" fmla="*/ 139743608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1400"/>
              </a:p>
            </p:txBody>
          </p:sp>
          <p:sp>
            <p:nvSpPr>
              <p:cNvPr id="65" name="Text Box 43">
                <a:extLst>
                  <a:ext uri="{FF2B5EF4-FFF2-40B4-BE49-F238E27FC236}">
                    <a16:creationId xmlns:a16="http://schemas.microsoft.com/office/drawing/2014/main" id="{1CB79E6E-9D8D-4F3D-8EE7-5E16EC651653}"/>
                  </a:ext>
                </a:extLst>
              </p:cNvPr>
              <p:cNvSpPr txBox="1">
                <a:spLocks noChangeAspect="1" noChangeArrowheads="1"/>
              </p:cNvSpPr>
              <p:nvPr/>
            </p:nvSpPr>
            <p:spPr bwMode="auto">
              <a:xfrm>
                <a:off x="3028" y="3437"/>
                <a:ext cx="986"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400">
                    <a:solidFill>
                      <a:schemeClr val="tx2"/>
                    </a:solidFill>
                    <a:ea typeface="MS PGothic" panose="020B0600070205080204" pitchFamily="34" charset="-128"/>
                  </a:rPr>
                  <a:t>Services &amp;</a:t>
                </a:r>
                <a:br>
                  <a:rPr lang="en-US" altLang="en-US" sz="1400">
                    <a:solidFill>
                      <a:schemeClr val="tx2"/>
                    </a:solidFill>
                    <a:ea typeface="MS PGothic" panose="020B0600070205080204" pitchFamily="34" charset="-128"/>
                  </a:rPr>
                </a:br>
                <a:r>
                  <a:rPr lang="en-US" altLang="en-US" sz="1400">
                    <a:solidFill>
                      <a:schemeClr val="tx2"/>
                    </a:solidFill>
                    <a:ea typeface="MS PGothic" panose="020B0600070205080204" pitchFamily="34" charset="-128"/>
                  </a:rPr>
                  <a:t>Internet</a:t>
                </a:r>
              </a:p>
            </p:txBody>
          </p:sp>
        </p:grpSp>
      </p:grpSp>
      <p:cxnSp>
        <p:nvCxnSpPr>
          <p:cNvPr id="66" name="Straight Connector 65">
            <a:extLst>
              <a:ext uri="{FF2B5EF4-FFF2-40B4-BE49-F238E27FC236}">
                <a16:creationId xmlns:a16="http://schemas.microsoft.com/office/drawing/2014/main" id="{31FBBEF9-6A03-4BAF-8296-4A6FA0BB55DF}"/>
              </a:ext>
            </a:extLst>
          </p:cNvPr>
          <p:cNvCxnSpPr>
            <a:stCxn id="19" idx="3"/>
          </p:cNvCxnSpPr>
          <p:nvPr/>
        </p:nvCxnSpPr>
        <p:spPr bwMode="auto">
          <a:xfrm flipV="1">
            <a:off x="7005134" y="5909857"/>
            <a:ext cx="930915" cy="8216"/>
          </a:xfrm>
          <a:prstGeom prst="line">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grpSp>
        <p:nvGrpSpPr>
          <p:cNvPr id="67" name="Group 66">
            <a:extLst>
              <a:ext uri="{FF2B5EF4-FFF2-40B4-BE49-F238E27FC236}">
                <a16:creationId xmlns:a16="http://schemas.microsoft.com/office/drawing/2014/main" id="{651DCDD2-6C09-4D32-81A8-C7A2CD3CF894}"/>
              </a:ext>
            </a:extLst>
          </p:cNvPr>
          <p:cNvGrpSpPr>
            <a:grpSpLocks noChangeAspect="1"/>
          </p:cNvGrpSpPr>
          <p:nvPr/>
        </p:nvGrpSpPr>
        <p:grpSpPr bwMode="auto">
          <a:xfrm>
            <a:off x="3188607" y="5100352"/>
            <a:ext cx="1039731" cy="783007"/>
            <a:chOff x="2794" y="3073"/>
            <a:chExt cx="1377" cy="1037"/>
          </a:xfrm>
        </p:grpSpPr>
        <p:sp>
          <p:nvSpPr>
            <p:cNvPr id="68" name="Freeform 40">
              <a:extLst>
                <a:ext uri="{FF2B5EF4-FFF2-40B4-BE49-F238E27FC236}">
                  <a16:creationId xmlns:a16="http://schemas.microsoft.com/office/drawing/2014/main" id="{45BC8C0B-EF48-42E5-8770-6D78EC016CD9}"/>
                </a:ext>
              </a:extLst>
            </p:cNvPr>
            <p:cNvSpPr>
              <a:spLocks noChangeAspect="1"/>
            </p:cNvSpPr>
            <p:nvPr/>
          </p:nvSpPr>
          <p:spPr bwMode="auto">
            <a:xfrm>
              <a:off x="2794" y="3073"/>
              <a:ext cx="1377" cy="1037"/>
            </a:xfrm>
            <a:custGeom>
              <a:avLst/>
              <a:gdLst>
                <a:gd name="T0" fmla="*/ 54825843 w 583"/>
                <a:gd name="T1" fmla="*/ 58469906 h 439"/>
                <a:gd name="T2" fmla="*/ 96545098 w 583"/>
                <a:gd name="T3" fmla="*/ 36227427 h 439"/>
                <a:gd name="T4" fmla="*/ 167169092 w 583"/>
                <a:gd name="T5" fmla="*/ 41771458 h 439"/>
                <a:gd name="T6" fmla="*/ 203351595 w 583"/>
                <a:gd name="T7" fmla="*/ 77995864 h 439"/>
                <a:gd name="T8" fmla="*/ 204970853 w 583"/>
                <a:gd name="T9" fmla="*/ 125263451 h 439"/>
                <a:gd name="T10" fmla="*/ 159551589 w 583"/>
                <a:gd name="T11" fmla="*/ 147505769 h 439"/>
                <a:gd name="T12" fmla="*/ 116683277 w 583"/>
                <a:gd name="T13" fmla="*/ 155149397 h 439"/>
                <a:gd name="T14" fmla="*/ 65930210 w 583"/>
                <a:gd name="T15" fmla="*/ 148389739 h 439"/>
                <a:gd name="T16" fmla="*/ 34088299 w 583"/>
                <a:gd name="T17" fmla="*/ 116570427 h 439"/>
                <a:gd name="T18" fmla="*/ 54825843 w 583"/>
                <a:gd name="T19" fmla="*/ 58469906 h 4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83"/>
                <a:gd name="T31" fmla="*/ 0 h 439"/>
                <a:gd name="T32" fmla="*/ 583 w 583"/>
                <a:gd name="T33" fmla="*/ 439 h 4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83" h="439">
                  <a:moveTo>
                    <a:pt x="138" y="147"/>
                  </a:moveTo>
                  <a:cubicBezTo>
                    <a:pt x="144" y="78"/>
                    <a:pt x="201" y="68"/>
                    <a:pt x="243" y="91"/>
                  </a:cubicBezTo>
                  <a:cubicBezTo>
                    <a:pt x="276" y="24"/>
                    <a:pt x="384" y="0"/>
                    <a:pt x="421" y="105"/>
                  </a:cubicBezTo>
                  <a:cubicBezTo>
                    <a:pt x="492" y="105"/>
                    <a:pt x="512" y="143"/>
                    <a:pt x="512" y="196"/>
                  </a:cubicBezTo>
                  <a:cubicBezTo>
                    <a:pt x="583" y="223"/>
                    <a:pt x="577" y="298"/>
                    <a:pt x="516" y="315"/>
                  </a:cubicBezTo>
                  <a:cubicBezTo>
                    <a:pt x="499" y="389"/>
                    <a:pt x="449" y="392"/>
                    <a:pt x="402" y="371"/>
                  </a:cubicBezTo>
                  <a:cubicBezTo>
                    <a:pt x="359" y="421"/>
                    <a:pt x="314" y="402"/>
                    <a:pt x="294" y="390"/>
                  </a:cubicBezTo>
                  <a:cubicBezTo>
                    <a:pt x="255" y="418"/>
                    <a:pt x="212" y="439"/>
                    <a:pt x="166" y="373"/>
                  </a:cubicBezTo>
                  <a:cubicBezTo>
                    <a:pt x="62" y="389"/>
                    <a:pt x="86" y="293"/>
                    <a:pt x="86" y="293"/>
                  </a:cubicBezTo>
                  <a:cubicBezTo>
                    <a:pt x="86" y="293"/>
                    <a:pt x="0" y="193"/>
                    <a:pt x="138" y="1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1400"/>
            </a:p>
          </p:txBody>
        </p:sp>
        <p:grpSp>
          <p:nvGrpSpPr>
            <p:cNvPr id="69" name="Group 68">
              <a:extLst>
                <a:ext uri="{FF2B5EF4-FFF2-40B4-BE49-F238E27FC236}">
                  <a16:creationId xmlns:a16="http://schemas.microsoft.com/office/drawing/2014/main" id="{1B92ECCD-B9AE-4B81-A3EB-D1B7726E66A6}"/>
                </a:ext>
              </a:extLst>
            </p:cNvPr>
            <p:cNvGrpSpPr>
              <a:grpSpLocks noChangeAspect="1"/>
            </p:cNvGrpSpPr>
            <p:nvPr/>
          </p:nvGrpSpPr>
          <p:grpSpPr bwMode="auto">
            <a:xfrm>
              <a:off x="2914" y="3137"/>
              <a:ext cx="1233" cy="942"/>
              <a:chOff x="2914" y="3137"/>
              <a:chExt cx="1233" cy="942"/>
            </a:xfrm>
          </p:grpSpPr>
          <p:sp>
            <p:nvSpPr>
              <p:cNvPr id="70" name="Freeform 42">
                <a:extLst>
                  <a:ext uri="{FF2B5EF4-FFF2-40B4-BE49-F238E27FC236}">
                    <a16:creationId xmlns:a16="http://schemas.microsoft.com/office/drawing/2014/main" id="{DDC57A28-7934-4B9C-9AFD-4B6ADE51D847}"/>
                  </a:ext>
                </a:extLst>
              </p:cNvPr>
              <p:cNvSpPr>
                <a:spLocks noChangeAspect="1"/>
              </p:cNvSpPr>
              <p:nvPr/>
            </p:nvSpPr>
            <p:spPr bwMode="auto">
              <a:xfrm>
                <a:off x="2914" y="3137"/>
                <a:ext cx="1233" cy="942"/>
              </a:xfrm>
              <a:custGeom>
                <a:avLst/>
                <a:gdLst>
                  <a:gd name="T0" fmla="*/ 36192592 w 522"/>
                  <a:gd name="T1" fmla="*/ 140885418 h 399"/>
                  <a:gd name="T2" fmla="*/ 10256288 w 522"/>
                  <a:gd name="T3" fmla="*/ 105765612 h 399"/>
                  <a:gd name="T4" fmla="*/ 0 w 522"/>
                  <a:gd name="T5" fmla="*/ 80935004 h 399"/>
                  <a:gd name="T6" fmla="*/ 31759028 w 522"/>
                  <a:gd name="T7" fmla="*/ 43809332 h 399"/>
                  <a:gd name="T8" fmla="*/ 59576510 w 522"/>
                  <a:gd name="T9" fmla="*/ 16220461 h 399"/>
                  <a:gd name="T10" fmla="*/ 110580766 w 522"/>
                  <a:gd name="T11" fmla="*/ 0 h 399"/>
                  <a:gd name="T12" fmla="*/ 149492430 w 522"/>
                  <a:gd name="T13" fmla="*/ 28400457 h 399"/>
                  <a:gd name="T14" fmla="*/ 171010852 w 522"/>
                  <a:gd name="T15" fmla="*/ 33618304 h 399"/>
                  <a:gd name="T16" fmla="*/ 171637679 w 522"/>
                  <a:gd name="T17" fmla="*/ 37939763 h 399"/>
                  <a:gd name="T18" fmla="*/ 167298559 w 522"/>
                  <a:gd name="T19" fmla="*/ 38584412 h 399"/>
                  <a:gd name="T20" fmla="*/ 147936287 w 522"/>
                  <a:gd name="T21" fmla="*/ 34748744 h 399"/>
                  <a:gd name="T22" fmla="*/ 144220746 w 522"/>
                  <a:gd name="T23" fmla="*/ 32412752 h 399"/>
                  <a:gd name="T24" fmla="*/ 79087081 w 522"/>
                  <a:gd name="T25" fmla="*/ 27253580 h 399"/>
                  <a:gd name="T26" fmla="*/ 76740833 w 522"/>
                  <a:gd name="T27" fmla="*/ 28755612 h 399"/>
                  <a:gd name="T28" fmla="*/ 59576510 w 522"/>
                  <a:gd name="T29" fmla="*/ 22585135 h 399"/>
                  <a:gd name="T30" fmla="*/ 38185960 w 522"/>
                  <a:gd name="T31" fmla="*/ 43809332 h 399"/>
                  <a:gd name="T32" fmla="*/ 38185960 w 522"/>
                  <a:gd name="T33" fmla="*/ 50130244 h 399"/>
                  <a:gd name="T34" fmla="*/ 35836035 w 522"/>
                  <a:gd name="T35" fmla="*/ 51340865 h 399"/>
                  <a:gd name="T36" fmla="*/ 15809765 w 522"/>
                  <a:gd name="T37" fmla="*/ 102637961 h 399"/>
                  <a:gd name="T38" fmla="*/ 16679058 w 522"/>
                  <a:gd name="T39" fmla="*/ 106120399 h 399"/>
                  <a:gd name="T40" fmla="*/ 36192592 w 522"/>
                  <a:gd name="T41" fmla="*/ 134584600 h 399"/>
                  <a:gd name="T42" fmla="*/ 44620340 w 522"/>
                  <a:gd name="T43" fmla="*/ 133026081 h 399"/>
                  <a:gd name="T44" fmla="*/ 48962418 w 522"/>
                  <a:gd name="T45" fmla="*/ 134584600 h 399"/>
                  <a:gd name="T46" fmla="*/ 73239054 w 522"/>
                  <a:gd name="T47" fmla="*/ 151073642 h 399"/>
                  <a:gd name="T48" fmla="*/ 96254372 w 522"/>
                  <a:gd name="T49" fmla="*/ 139260476 h 399"/>
                  <a:gd name="T50" fmla="*/ 98616275 w 522"/>
                  <a:gd name="T51" fmla="*/ 140035182 h 399"/>
                  <a:gd name="T52" fmla="*/ 136798069 w 522"/>
                  <a:gd name="T53" fmla="*/ 133379319 h 399"/>
                  <a:gd name="T54" fmla="*/ 139150945 w 522"/>
                  <a:gd name="T55" fmla="*/ 131879365 h 399"/>
                  <a:gd name="T56" fmla="*/ 157041373 w 522"/>
                  <a:gd name="T57" fmla="*/ 137699556 h 399"/>
                  <a:gd name="T58" fmla="*/ 180899137 w 522"/>
                  <a:gd name="T59" fmla="*/ 113984271 h 399"/>
                  <a:gd name="T60" fmla="*/ 183621055 w 522"/>
                  <a:gd name="T61" fmla="*/ 110504639 h 399"/>
                  <a:gd name="T62" fmla="*/ 201142162 w 522"/>
                  <a:gd name="T63" fmla="*/ 90410570 h 399"/>
                  <a:gd name="T64" fmla="*/ 180899137 w 522"/>
                  <a:gd name="T65" fmla="*/ 69035938 h 399"/>
                  <a:gd name="T66" fmla="*/ 180056903 w 522"/>
                  <a:gd name="T67" fmla="*/ 66695375 h 399"/>
                  <a:gd name="T68" fmla="*/ 175714691 w 522"/>
                  <a:gd name="T69" fmla="*/ 46936529 h 399"/>
                  <a:gd name="T70" fmla="*/ 176559480 w 522"/>
                  <a:gd name="T71" fmla="*/ 42259777 h 399"/>
                  <a:gd name="T72" fmla="*/ 186809140 w 522"/>
                  <a:gd name="T73" fmla="*/ 62375165 h 399"/>
                  <a:gd name="T74" fmla="*/ 186809140 w 522"/>
                  <a:gd name="T75" fmla="*/ 64714699 h 399"/>
                  <a:gd name="T76" fmla="*/ 187323641 w 522"/>
                  <a:gd name="T77" fmla="*/ 115964698 h 399"/>
                  <a:gd name="T78" fmla="*/ 157041373 w 522"/>
                  <a:gd name="T79" fmla="*/ 144060159 h 399"/>
                  <a:gd name="T80" fmla="*/ 114414062 w 522"/>
                  <a:gd name="T81" fmla="*/ 151907624 h 399"/>
                  <a:gd name="T82" fmla="*/ 97465112 w 522"/>
                  <a:gd name="T83" fmla="*/ 146755205 h 399"/>
                  <a:gd name="T84" fmla="*/ 44095992 w 522"/>
                  <a:gd name="T85" fmla="*/ 139743608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4"/>
                    </a:moveTo>
                    <a:cubicBezTo>
                      <a:pt x="105" y="356"/>
                      <a:pt x="98" y="357"/>
                      <a:pt x="91" y="357"/>
                    </a:cubicBezTo>
                    <a:cubicBezTo>
                      <a:pt x="91" y="357"/>
                      <a:pt x="91" y="357"/>
                      <a:pt x="91" y="357"/>
                    </a:cubicBezTo>
                    <a:cubicBezTo>
                      <a:pt x="53" y="357"/>
                      <a:pt x="23" y="326"/>
                      <a:pt x="23" y="288"/>
                    </a:cubicBezTo>
                    <a:cubicBezTo>
                      <a:pt x="23" y="288"/>
                      <a:pt x="23" y="288"/>
                      <a:pt x="23" y="288"/>
                    </a:cubicBezTo>
                    <a:cubicBezTo>
                      <a:pt x="23" y="281"/>
                      <a:pt x="24" y="275"/>
                      <a:pt x="26" y="268"/>
                    </a:cubicBezTo>
                    <a:cubicBezTo>
                      <a:pt x="26" y="268"/>
                      <a:pt x="26" y="268"/>
                      <a:pt x="26" y="268"/>
                    </a:cubicBezTo>
                    <a:cubicBezTo>
                      <a:pt x="10" y="252"/>
                      <a:pt x="0" y="230"/>
                      <a:pt x="0" y="205"/>
                    </a:cubicBezTo>
                    <a:cubicBezTo>
                      <a:pt x="0" y="205"/>
                      <a:pt x="0" y="205"/>
                      <a:pt x="0" y="205"/>
                    </a:cubicBezTo>
                    <a:cubicBezTo>
                      <a:pt x="0" y="159"/>
                      <a:pt x="35" y="120"/>
                      <a:pt x="81" y="115"/>
                    </a:cubicBezTo>
                    <a:cubicBezTo>
                      <a:pt x="81" y="115"/>
                      <a:pt x="81" y="115"/>
                      <a:pt x="81" y="115"/>
                    </a:cubicBezTo>
                    <a:cubicBezTo>
                      <a:pt x="80" y="114"/>
                      <a:pt x="80" y="112"/>
                      <a:pt x="80" y="111"/>
                    </a:cubicBezTo>
                    <a:cubicBezTo>
                      <a:pt x="80" y="111"/>
                      <a:pt x="80" y="111"/>
                      <a:pt x="80" y="111"/>
                    </a:cubicBezTo>
                    <a:cubicBezTo>
                      <a:pt x="80" y="72"/>
                      <a:pt x="111" y="41"/>
                      <a:pt x="150" y="41"/>
                    </a:cubicBezTo>
                    <a:cubicBezTo>
                      <a:pt x="150" y="41"/>
                      <a:pt x="150" y="41"/>
                      <a:pt x="150" y="41"/>
                    </a:cubicBezTo>
                    <a:cubicBezTo>
                      <a:pt x="164" y="41"/>
                      <a:pt x="177" y="46"/>
                      <a:pt x="188" y="53"/>
                    </a:cubicBezTo>
                    <a:cubicBezTo>
                      <a:pt x="188" y="53"/>
                      <a:pt x="188" y="53"/>
                      <a:pt x="188" y="53"/>
                    </a:cubicBezTo>
                    <a:cubicBezTo>
                      <a:pt x="206" y="21"/>
                      <a:pt x="240" y="0"/>
                      <a:pt x="278" y="0"/>
                    </a:cubicBezTo>
                    <a:cubicBezTo>
                      <a:pt x="278" y="0"/>
                      <a:pt x="278" y="0"/>
                      <a:pt x="278" y="0"/>
                    </a:cubicBezTo>
                    <a:cubicBezTo>
                      <a:pt x="324" y="0"/>
                      <a:pt x="363" y="30"/>
                      <a:pt x="376" y="72"/>
                    </a:cubicBezTo>
                    <a:cubicBezTo>
                      <a:pt x="376" y="72"/>
                      <a:pt x="376" y="72"/>
                      <a:pt x="376" y="72"/>
                    </a:cubicBezTo>
                    <a:cubicBezTo>
                      <a:pt x="379" y="72"/>
                      <a:pt x="381" y="71"/>
                      <a:pt x="383" y="71"/>
                    </a:cubicBezTo>
                    <a:cubicBezTo>
                      <a:pt x="383" y="71"/>
                      <a:pt x="383" y="71"/>
                      <a:pt x="383" y="71"/>
                    </a:cubicBezTo>
                    <a:cubicBezTo>
                      <a:pt x="400" y="71"/>
                      <a:pt x="416" y="76"/>
                      <a:pt x="430" y="85"/>
                    </a:cubicBezTo>
                    <a:cubicBezTo>
                      <a:pt x="430" y="85"/>
                      <a:pt x="430" y="85"/>
                      <a:pt x="430" y="85"/>
                    </a:cubicBezTo>
                    <a:cubicBezTo>
                      <a:pt x="430" y="85"/>
                      <a:pt x="430" y="85"/>
                      <a:pt x="430" y="85"/>
                    </a:cubicBezTo>
                    <a:cubicBezTo>
                      <a:pt x="433" y="87"/>
                      <a:pt x="434" y="92"/>
                      <a:pt x="432" y="96"/>
                    </a:cubicBezTo>
                    <a:cubicBezTo>
                      <a:pt x="432" y="96"/>
                      <a:pt x="432" y="96"/>
                      <a:pt x="432" y="96"/>
                    </a:cubicBezTo>
                    <a:cubicBezTo>
                      <a:pt x="430" y="100"/>
                      <a:pt x="425" y="101"/>
                      <a:pt x="421" y="98"/>
                    </a:cubicBezTo>
                    <a:cubicBezTo>
                      <a:pt x="421" y="98"/>
                      <a:pt x="421" y="98"/>
                      <a:pt x="421" y="98"/>
                    </a:cubicBezTo>
                    <a:cubicBezTo>
                      <a:pt x="410" y="91"/>
                      <a:pt x="397" y="87"/>
                      <a:pt x="383" y="87"/>
                    </a:cubicBezTo>
                    <a:cubicBezTo>
                      <a:pt x="383" y="87"/>
                      <a:pt x="383" y="87"/>
                      <a:pt x="383" y="87"/>
                    </a:cubicBezTo>
                    <a:cubicBezTo>
                      <a:pt x="379" y="87"/>
                      <a:pt x="376" y="88"/>
                      <a:pt x="372" y="88"/>
                    </a:cubicBezTo>
                    <a:cubicBezTo>
                      <a:pt x="372" y="88"/>
                      <a:pt x="372" y="88"/>
                      <a:pt x="372" y="88"/>
                    </a:cubicBezTo>
                    <a:cubicBezTo>
                      <a:pt x="368" y="89"/>
                      <a:pt x="364" y="86"/>
                      <a:pt x="363" y="82"/>
                    </a:cubicBezTo>
                    <a:cubicBezTo>
                      <a:pt x="363" y="82"/>
                      <a:pt x="363" y="82"/>
                      <a:pt x="363" y="82"/>
                    </a:cubicBezTo>
                    <a:cubicBezTo>
                      <a:pt x="354" y="44"/>
                      <a:pt x="319" y="16"/>
                      <a:pt x="278" y="16"/>
                    </a:cubicBezTo>
                    <a:cubicBezTo>
                      <a:pt x="278" y="16"/>
                      <a:pt x="278" y="16"/>
                      <a:pt x="278" y="16"/>
                    </a:cubicBezTo>
                    <a:cubicBezTo>
                      <a:pt x="242" y="16"/>
                      <a:pt x="212" y="38"/>
                      <a:pt x="199" y="69"/>
                    </a:cubicBezTo>
                    <a:cubicBezTo>
                      <a:pt x="199" y="69"/>
                      <a:pt x="199" y="69"/>
                      <a:pt x="199" y="69"/>
                    </a:cubicBezTo>
                    <a:cubicBezTo>
                      <a:pt x="198" y="71"/>
                      <a:pt x="195" y="73"/>
                      <a:pt x="193" y="73"/>
                    </a:cubicBezTo>
                    <a:cubicBezTo>
                      <a:pt x="193" y="73"/>
                      <a:pt x="193" y="73"/>
                      <a:pt x="193" y="73"/>
                    </a:cubicBezTo>
                    <a:cubicBezTo>
                      <a:pt x="190" y="74"/>
                      <a:pt x="188" y="73"/>
                      <a:pt x="186" y="72"/>
                    </a:cubicBezTo>
                    <a:cubicBezTo>
                      <a:pt x="186" y="72"/>
                      <a:pt x="186" y="72"/>
                      <a:pt x="186" y="72"/>
                    </a:cubicBezTo>
                    <a:cubicBezTo>
                      <a:pt x="176" y="63"/>
                      <a:pt x="164" y="57"/>
                      <a:pt x="150" y="57"/>
                    </a:cubicBezTo>
                    <a:cubicBezTo>
                      <a:pt x="150" y="57"/>
                      <a:pt x="150" y="57"/>
                      <a:pt x="150" y="57"/>
                    </a:cubicBezTo>
                    <a:cubicBezTo>
                      <a:pt x="120" y="57"/>
                      <a:pt x="96" y="81"/>
                      <a:pt x="96" y="111"/>
                    </a:cubicBezTo>
                    <a:cubicBezTo>
                      <a:pt x="96" y="111"/>
                      <a:pt x="96" y="111"/>
                      <a:pt x="96" y="111"/>
                    </a:cubicBezTo>
                    <a:cubicBezTo>
                      <a:pt x="96" y="114"/>
                      <a:pt x="97" y="118"/>
                      <a:pt x="97" y="121"/>
                    </a:cubicBezTo>
                    <a:cubicBezTo>
                      <a:pt x="97" y="121"/>
                      <a:pt x="97" y="121"/>
                      <a:pt x="97" y="121"/>
                    </a:cubicBezTo>
                    <a:cubicBezTo>
                      <a:pt x="98" y="123"/>
                      <a:pt x="97" y="126"/>
                      <a:pt x="96" y="127"/>
                    </a:cubicBezTo>
                    <a:cubicBezTo>
                      <a:pt x="96" y="127"/>
                      <a:pt x="96" y="127"/>
                      <a:pt x="96" y="127"/>
                    </a:cubicBezTo>
                    <a:cubicBezTo>
                      <a:pt x="94" y="129"/>
                      <a:pt x="92" y="130"/>
                      <a:pt x="90" y="130"/>
                    </a:cubicBezTo>
                    <a:cubicBezTo>
                      <a:pt x="90" y="130"/>
                      <a:pt x="90" y="130"/>
                      <a:pt x="90" y="130"/>
                    </a:cubicBezTo>
                    <a:cubicBezTo>
                      <a:pt x="49" y="131"/>
                      <a:pt x="16" y="164"/>
                      <a:pt x="16" y="205"/>
                    </a:cubicBezTo>
                    <a:cubicBezTo>
                      <a:pt x="16" y="205"/>
                      <a:pt x="16" y="205"/>
                      <a:pt x="16" y="205"/>
                    </a:cubicBezTo>
                    <a:cubicBezTo>
                      <a:pt x="16" y="227"/>
                      <a:pt x="25" y="247"/>
                      <a:pt x="40" y="260"/>
                    </a:cubicBezTo>
                    <a:cubicBezTo>
                      <a:pt x="40" y="260"/>
                      <a:pt x="40" y="260"/>
                      <a:pt x="40" y="260"/>
                    </a:cubicBezTo>
                    <a:cubicBezTo>
                      <a:pt x="43" y="263"/>
                      <a:pt x="43" y="266"/>
                      <a:pt x="42" y="269"/>
                    </a:cubicBezTo>
                    <a:cubicBezTo>
                      <a:pt x="42" y="269"/>
                      <a:pt x="42" y="269"/>
                      <a:pt x="42" y="269"/>
                    </a:cubicBezTo>
                    <a:cubicBezTo>
                      <a:pt x="40" y="275"/>
                      <a:pt x="39" y="282"/>
                      <a:pt x="39" y="288"/>
                    </a:cubicBezTo>
                    <a:cubicBezTo>
                      <a:pt x="39" y="288"/>
                      <a:pt x="39" y="288"/>
                      <a:pt x="39" y="288"/>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6" y="336"/>
                      <a:pt x="118" y="337"/>
                    </a:cubicBezTo>
                    <a:cubicBezTo>
                      <a:pt x="118" y="337"/>
                      <a:pt x="118" y="337"/>
                      <a:pt x="118" y="337"/>
                    </a:cubicBezTo>
                    <a:cubicBezTo>
                      <a:pt x="120" y="338"/>
                      <a:pt x="122" y="339"/>
                      <a:pt x="123" y="341"/>
                    </a:cubicBezTo>
                    <a:cubicBezTo>
                      <a:pt x="123" y="341"/>
                      <a:pt x="123" y="341"/>
                      <a:pt x="123" y="341"/>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3"/>
                    </a:cubicBezTo>
                    <a:cubicBezTo>
                      <a:pt x="242" y="353"/>
                      <a:pt x="242" y="353"/>
                      <a:pt x="242" y="353"/>
                    </a:cubicBezTo>
                    <a:cubicBezTo>
                      <a:pt x="244" y="353"/>
                      <a:pt x="246" y="354"/>
                      <a:pt x="248" y="355"/>
                    </a:cubicBezTo>
                    <a:cubicBezTo>
                      <a:pt x="248" y="355"/>
                      <a:pt x="248" y="355"/>
                      <a:pt x="248" y="355"/>
                    </a:cubicBezTo>
                    <a:cubicBezTo>
                      <a:pt x="259" y="364"/>
                      <a:pt x="273" y="369"/>
                      <a:pt x="288" y="369"/>
                    </a:cubicBezTo>
                    <a:cubicBezTo>
                      <a:pt x="288" y="369"/>
                      <a:pt x="288" y="369"/>
                      <a:pt x="288" y="369"/>
                    </a:cubicBezTo>
                    <a:cubicBezTo>
                      <a:pt x="312" y="369"/>
                      <a:pt x="333" y="356"/>
                      <a:pt x="344" y="338"/>
                    </a:cubicBezTo>
                    <a:cubicBezTo>
                      <a:pt x="344" y="338"/>
                      <a:pt x="344" y="338"/>
                      <a:pt x="344" y="338"/>
                    </a:cubicBezTo>
                    <a:cubicBezTo>
                      <a:pt x="345" y="336"/>
                      <a:pt x="347" y="334"/>
                      <a:pt x="350" y="334"/>
                    </a:cubicBezTo>
                    <a:cubicBezTo>
                      <a:pt x="350" y="334"/>
                      <a:pt x="350" y="334"/>
                      <a:pt x="350" y="334"/>
                    </a:cubicBezTo>
                    <a:cubicBezTo>
                      <a:pt x="352" y="334"/>
                      <a:pt x="354" y="334"/>
                      <a:pt x="356" y="336"/>
                    </a:cubicBezTo>
                    <a:cubicBezTo>
                      <a:pt x="356" y="336"/>
                      <a:pt x="356" y="336"/>
                      <a:pt x="356" y="336"/>
                    </a:cubicBezTo>
                    <a:cubicBezTo>
                      <a:pt x="367" y="344"/>
                      <a:pt x="380" y="349"/>
                      <a:pt x="395" y="349"/>
                    </a:cubicBezTo>
                    <a:cubicBezTo>
                      <a:pt x="395" y="349"/>
                      <a:pt x="395" y="349"/>
                      <a:pt x="395" y="349"/>
                    </a:cubicBezTo>
                    <a:cubicBezTo>
                      <a:pt x="428" y="349"/>
                      <a:pt x="455" y="322"/>
                      <a:pt x="455" y="289"/>
                    </a:cubicBezTo>
                    <a:cubicBezTo>
                      <a:pt x="455" y="289"/>
                      <a:pt x="455" y="289"/>
                      <a:pt x="455" y="289"/>
                    </a:cubicBezTo>
                    <a:cubicBezTo>
                      <a:pt x="455" y="289"/>
                      <a:pt x="455" y="288"/>
                      <a:pt x="455" y="288"/>
                    </a:cubicBezTo>
                    <a:cubicBezTo>
                      <a:pt x="455" y="288"/>
                      <a:pt x="455" y="288"/>
                      <a:pt x="455" y="288"/>
                    </a:cubicBezTo>
                    <a:cubicBezTo>
                      <a:pt x="455" y="284"/>
                      <a:pt x="458" y="280"/>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3"/>
                      <a:pt x="453" y="171"/>
                      <a:pt x="453" y="169"/>
                    </a:cubicBezTo>
                    <a:cubicBezTo>
                      <a:pt x="453" y="169"/>
                      <a:pt x="453" y="169"/>
                      <a:pt x="453" y="169"/>
                    </a:cubicBezTo>
                    <a:cubicBezTo>
                      <a:pt x="454" y="165"/>
                      <a:pt x="454" y="162"/>
                      <a:pt x="454" y="158"/>
                    </a:cubicBezTo>
                    <a:cubicBezTo>
                      <a:pt x="454" y="158"/>
                      <a:pt x="454" y="158"/>
                      <a:pt x="454" y="158"/>
                    </a:cubicBezTo>
                    <a:cubicBezTo>
                      <a:pt x="454" y="143"/>
                      <a:pt x="449" y="130"/>
                      <a:pt x="442" y="119"/>
                    </a:cubicBezTo>
                    <a:cubicBezTo>
                      <a:pt x="442" y="119"/>
                      <a:pt x="442" y="119"/>
                      <a:pt x="442" y="119"/>
                    </a:cubicBezTo>
                    <a:cubicBezTo>
                      <a:pt x="439" y="115"/>
                      <a:pt x="440" y="110"/>
                      <a:pt x="444" y="107"/>
                    </a:cubicBezTo>
                    <a:cubicBezTo>
                      <a:pt x="444" y="107"/>
                      <a:pt x="444" y="107"/>
                      <a:pt x="444" y="107"/>
                    </a:cubicBezTo>
                    <a:cubicBezTo>
                      <a:pt x="448" y="105"/>
                      <a:pt x="453" y="106"/>
                      <a:pt x="455" y="110"/>
                    </a:cubicBezTo>
                    <a:cubicBezTo>
                      <a:pt x="455" y="110"/>
                      <a:pt x="455" y="110"/>
                      <a:pt x="455" y="110"/>
                    </a:cubicBezTo>
                    <a:cubicBezTo>
                      <a:pt x="464" y="123"/>
                      <a:pt x="470" y="140"/>
                      <a:pt x="470" y="158"/>
                    </a:cubicBezTo>
                    <a:cubicBezTo>
                      <a:pt x="470" y="158"/>
                      <a:pt x="470" y="158"/>
                      <a:pt x="470" y="158"/>
                    </a:cubicBezTo>
                    <a:cubicBezTo>
                      <a:pt x="470" y="160"/>
                      <a:pt x="470" y="162"/>
                      <a:pt x="470" y="164"/>
                    </a:cubicBezTo>
                    <a:cubicBezTo>
                      <a:pt x="470" y="164"/>
                      <a:pt x="470" y="164"/>
                      <a:pt x="470" y="164"/>
                    </a:cubicBezTo>
                    <a:cubicBezTo>
                      <a:pt x="500" y="170"/>
                      <a:pt x="522" y="197"/>
                      <a:pt x="522" y="229"/>
                    </a:cubicBezTo>
                    <a:cubicBezTo>
                      <a:pt x="522" y="229"/>
                      <a:pt x="522" y="229"/>
                      <a:pt x="522" y="229"/>
                    </a:cubicBezTo>
                    <a:cubicBezTo>
                      <a:pt x="522" y="261"/>
                      <a:pt x="500" y="287"/>
                      <a:pt x="471" y="294"/>
                    </a:cubicBezTo>
                    <a:cubicBezTo>
                      <a:pt x="471" y="294"/>
                      <a:pt x="471" y="294"/>
                      <a:pt x="471" y="294"/>
                    </a:cubicBezTo>
                    <a:cubicBezTo>
                      <a:pt x="468" y="334"/>
                      <a:pt x="435" y="365"/>
                      <a:pt x="395" y="365"/>
                    </a:cubicBezTo>
                    <a:cubicBezTo>
                      <a:pt x="395" y="365"/>
                      <a:pt x="395" y="365"/>
                      <a:pt x="395" y="365"/>
                    </a:cubicBezTo>
                    <a:cubicBezTo>
                      <a:pt x="379" y="365"/>
                      <a:pt x="365" y="361"/>
                      <a:pt x="353" y="353"/>
                    </a:cubicBezTo>
                    <a:cubicBezTo>
                      <a:pt x="353" y="353"/>
                      <a:pt x="353" y="353"/>
                      <a:pt x="353" y="353"/>
                    </a:cubicBezTo>
                    <a:cubicBezTo>
                      <a:pt x="338" y="372"/>
                      <a:pt x="315" y="385"/>
                      <a:pt x="288" y="385"/>
                    </a:cubicBezTo>
                    <a:cubicBezTo>
                      <a:pt x="288" y="385"/>
                      <a:pt x="288" y="385"/>
                      <a:pt x="288" y="385"/>
                    </a:cubicBezTo>
                    <a:cubicBezTo>
                      <a:pt x="272" y="385"/>
                      <a:pt x="257" y="380"/>
                      <a:pt x="245" y="372"/>
                    </a:cubicBezTo>
                    <a:cubicBezTo>
                      <a:pt x="245" y="372"/>
                      <a:pt x="245" y="372"/>
                      <a:pt x="245" y="372"/>
                    </a:cubicBezTo>
                    <a:cubicBezTo>
                      <a:pt x="230" y="389"/>
                      <a:pt x="208" y="399"/>
                      <a:pt x="184" y="399"/>
                    </a:cubicBezTo>
                    <a:cubicBezTo>
                      <a:pt x="184" y="399"/>
                      <a:pt x="184" y="399"/>
                      <a:pt x="184" y="399"/>
                    </a:cubicBezTo>
                    <a:cubicBezTo>
                      <a:pt x="152" y="399"/>
                      <a:pt x="125" y="381"/>
                      <a:pt x="111" y="354"/>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sz="1400"/>
              </a:p>
            </p:txBody>
          </p:sp>
          <p:sp>
            <p:nvSpPr>
              <p:cNvPr id="71" name="Text Box 43">
                <a:extLst>
                  <a:ext uri="{FF2B5EF4-FFF2-40B4-BE49-F238E27FC236}">
                    <a16:creationId xmlns:a16="http://schemas.microsoft.com/office/drawing/2014/main" id="{4296F772-58E4-4D44-B5EB-FE204629914A}"/>
                  </a:ext>
                </a:extLst>
              </p:cNvPr>
              <p:cNvSpPr txBox="1">
                <a:spLocks noChangeAspect="1" noChangeArrowheads="1"/>
              </p:cNvSpPr>
              <p:nvPr/>
            </p:nvSpPr>
            <p:spPr bwMode="auto">
              <a:xfrm>
                <a:off x="3168" y="3342"/>
                <a:ext cx="726" cy="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rIns="0" anchor="ctr">
                <a:spAutoFit/>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1400">
                    <a:solidFill>
                      <a:schemeClr val="tx2"/>
                    </a:solidFill>
                    <a:ea typeface="MS PGothic" panose="020B0600070205080204" pitchFamily="34" charset="-128"/>
                  </a:rPr>
                  <a:t>5G/NR</a:t>
                </a:r>
                <a:br>
                  <a:rPr lang="en-US" altLang="en-US" sz="1400">
                    <a:solidFill>
                      <a:schemeClr val="tx2"/>
                    </a:solidFill>
                    <a:ea typeface="MS PGothic" panose="020B0600070205080204" pitchFamily="34" charset="-128"/>
                  </a:rPr>
                </a:br>
                <a:r>
                  <a:rPr lang="en-US" altLang="en-US" sz="1400">
                    <a:solidFill>
                      <a:schemeClr val="tx2"/>
                    </a:solidFill>
                    <a:ea typeface="MS PGothic" panose="020B0600070205080204" pitchFamily="34" charset="-128"/>
                  </a:rPr>
                  <a:t>RAN</a:t>
                </a:r>
              </a:p>
            </p:txBody>
          </p:sp>
        </p:grpSp>
      </p:grpSp>
      <p:cxnSp>
        <p:nvCxnSpPr>
          <p:cNvPr id="72" name="Connector: Elbow 15">
            <a:extLst>
              <a:ext uri="{FF2B5EF4-FFF2-40B4-BE49-F238E27FC236}">
                <a16:creationId xmlns:a16="http://schemas.microsoft.com/office/drawing/2014/main" id="{2F2F3F77-D1C7-42AD-9BE1-EF50D0BBA250}"/>
              </a:ext>
            </a:extLst>
          </p:cNvPr>
          <p:cNvCxnSpPr/>
          <p:nvPr/>
        </p:nvCxnSpPr>
        <p:spPr bwMode="auto">
          <a:xfrm>
            <a:off x="4210216" y="5563570"/>
            <a:ext cx="2313950" cy="495408"/>
          </a:xfrm>
          <a:prstGeom prst="bentConnector3">
            <a:avLst>
              <a:gd name="adj1" fmla="val 27905"/>
            </a:avLst>
          </a:prstGeom>
          <a:ln>
            <a:headEnd type="none" w="med" len="med"/>
            <a:tailEnd type="none" w="med" len="med"/>
          </a:ln>
        </p:spPr>
        <p:style>
          <a:lnRef idx="2">
            <a:schemeClr val="accent6"/>
          </a:lnRef>
          <a:fillRef idx="0">
            <a:schemeClr val="accent6"/>
          </a:fillRef>
          <a:effectRef idx="1">
            <a:schemeClr val="accent6"/>
          </a:effectRef>
          <a:fontRef idx="minor">
            <a:schemeClr val="tx1"/>
          </a:fontRef>
        </p:style>
      </p:cxnSp>
      <p:sp>
        <p:nvSpPr>
          <p:cNvPr id="73" name="TextBox 72">
            <a:extLst>
              <a:ext uri="{FF2B5EF4-FFF2-40B4-BE49-F238E27FC236}">
                <a16:creationId xmlns:a16="http://schemas.microsoft.com/office/drawing/2014/main" id="{CDC540EE-0DB1-4060-8233-52EFBBA657CF}"/>
              </a:ext>
            </a:extLst>
          </p:cNvPr>
          <p:cNvSpPr txBox="1"/>
          <p:nvPr/>
        </p:nvSpPr>
        <p:spPr>
          <a:xfrm>
            <a:off x="1190341" y="3008633"/>
            <a:ext cx="1819644" cy="1177069"/>
          </a:xfrm>
          <a:custGeom>
            <a:avLst/>
            <a:gdLst>
              <a:gd name="connsiteX0" fmla="*/ 0 w 1806581"/>
              <a:gd name="connsiteY0" fmla="*/ 0 h 1046440"/>
              <a:gd name="connsiteX1" fmla="*/ 1806581 w 1806581"/>
              <a:gd name="connsiteY1" fmla="*/ 0 h 1046440"/>
              <a:gd name="connsiteX2" fmla="*/ 1806581 w 1806581"/>
              <a:gd name="connsiteY2" fmla="*/ 1046440 h 1046440"/>
              <a:gd name="connsiteX3" fmla="*/ 0 w 1806581"/>
              <a:gd name="connsiteY3" fmla="*/ 1046440 h 1046440"/>
              <a:gd name="connsiteX4" fmla="*/ 0 w 1806581"/>
              <a:gd name="connsiteY4" fmla="*/ 0 h 1046440"/>
              <a:gd name="connsiteX0" fmla="*/ 0 w 1806581"/>
              <a:gd name="connsiteY0" fmla="*/ 0 h 1177068"/>
              <a:gd name="connsiteX1" fmla="*/ 1806581 w 1806581"/>
              <a:gd name="connsiteY1" fmla="*/ 0 h 1177068"/>
              <a:gd name="connsiteX2" fmla="*/ 1806581 w 1806581"/>
              <a:gd name="connsiteY2" fmla="*/ 1177068 h 1177068"/>
              <a:gd name="connsiteX3" fmla="*/ 0 w 1806581"/>
              <a:gd name="connsiteY3" fmla="*/ 1046440 h 1177068"/>
              <a:gd name="connsiteX4" fmla="*/ 0 w 1806581"/>
              <a:gd name="connsiteY4" fmla="*/ 0 h 1177068"/>
              <a:gd name="connsiteX0" fmla="*/ 0 w 1806581"/>
              <a:gd name="connsiteY0" fmla="*/ 0 h 1177069"/>
              <a:gd name="connsiteX1" fmla="*/ 1806581 w 1806581"/>
              <a:gd name="connsiteY1" fmla="*/ 0 h 1177069"/>
              <a:gd name="connsiteX2" fmla="*/ 1806581 w 1806581"/>
              <a:gd name="connsiteY2" fmla="*/ 1177068 h 1177069"/>
              <a:gd name="connsiteX3" fmla="*/ 0 w 1806581"/>
              <a:gd name="connsiteY3" fmla="*/ 1177069 h 1177069"/>
              <a:gd name="connsiteX4" fmla="*/ 0 w 1806581"/>
              <a:gd name="connsiteY4" fmla="*/ 0 h 1177069"/>
              <a:gd name="connsiteX0" fmla="*/ 13063 w 1819644"/>
              <a:gd name="connsiteY0" fmla="*/ 0 h 1177068"/>
              <a:gd name="connsiteX1" fmla="*/ 1819644 w 1819644"/>
              <a:gd name="connsiteY1" fmla="*/ 0 h 1177068"/>
              <a:gd name="connsiteX2" fmla="*/ 1819644 w 1819644"/>
              <a:gd name="connsiteY2" fmla="*/ 1177068 h 1177068"/>
              <a:gd name="connsiteX3" fmla="*/ 0 w 1819644"/>
              <a:gd name="connsiteY3" fmla="*/ 1164006 h 1177068"/>
              <a:gd name="connsiteX4" fmla="*/ 13063 w 1819644"/>
              <a:gd name="connsiteY4" fmla="*/ 0 h 1177068"/>
              <a:gd name="connsiteX0" fmla="*/ 13063 w 1819644"/>
              <a:gd name="connsiteY0" fmla="*/ 0 h 1177069"/>
              <a:gd name="connsiteX1" fmla="*/ 1819644 w 1819644"/>
              <a:gd name="connsiteY1" fmla="*/ 0 h 1177069"/>
              <a:gd name="connsiteX2" fmla="*/ 1819644 w 1819644"/>
              <a:gd name="connsiteY2" fmla="*/ 1177068 h 1177069"/>
              <a:gd name="connsiteX3" fmla="*/ 0 w 1819644"/>
              <a:gd name="connsiteY3" fmla="*/ 1177069 h 1177069"/>
              <a:gd name="connsiteX4" fmla="*/ 13063 w 1819644"/>
              <a:gd name="connsiteY4" fmla="*/ 0 h 11770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9644" h="1177069">
                <a:moveTo>
                  <a:pt x="13063" y="0"/>
                </a:moveTo>
                <a:lnTo>
                  <a:pt x="1819644" y="0"/>
                </a:lnTo>
                <a:lnTo>
                  <a:pt x="1819644" y="1177068"/>
                </a:lnTo>
                <a:lnTo>
                  <a:pt x="0" y="1177069"/>
                </a:lnTo>
                <a:lnTo>
                  <a:pt x="13063" y="0"/>
                </a:lnTo>
                <a:close/>
              </a:path>
            </a:pathLst>
          </a:custGeom>
          <a:solidFill>
            <a:schemeClr val="accent4"/>
          </a:solidFill>
          <a:ln>
            <a:solidFill>
              <a:schemeClr val="accent2"/>
            </a:solidFill>
          </a:ln>
        </p:spPr>
        <p:txBody>
          <a:bodyPr wrap="square" rtlCol="0">
            <a:spAutoFit/>
          </a:bodyPr>
          <a:lstStyle>
            <a:defPPr>
              <a:defRPr lang="en-GB"/>
            </a:defPPr>
            <a:lvl1pPr>
              <a:spcBef>
                <a:spcPts val="0"/>
              </a:spcBef>
              <a:defRPr sz="1200">
                <a:solidFill>
                  <a:schemeClr val="tx2"/>
                </a:solidFill>
              </a:defRPr>
            </a:lvl1pPr>
          </a:lstStyle>
          <a:p>
            <a:pPr algn="l"/>
            <a:r>
              <a:rPr lang="en-US" dirty="0"/>
              <a:t>Support for</a:t>
            </a:r>
            <a:endParaRPr lang="en-US" sz="1000" dirty="0"/>
          </a:p>
          <a:p>
            <a:pPr marL="90488" indent="-90488" algn="l">
              <a:buFont typeface="Arial" panose="020B0604020202020204" pitchFamily="34" charset="0"/>
              <a:buChar char="•"/>
            </a:pPr>
            <a:r>
              <a:rPr lang="en-US" sz="1000" dirty="0"/>
              <a:t>5G/NR access control</a:t>
            </a:r>
          </a:p>
          <a:p>
            <a:pPr marL="90488" indent="-90488" algn="l">
              <a:buFont typeface="Arial" panose="020B0604020202020204" pitchFamily="34" charset="0"/>
              <a:buChar char="•"/>
            </a:pPr>
            <a:r>
              <a:rPr lang="en-US" sz="1000" dirty="0" err="1"/>
              <a:t>QoS</a:t>
            </a:r>
            <a:r>
              <a:rPr lang="en-US" sz="1000" dirty="0"/>
              <a:t> data rates control</a:t>
            </a:r>
          </a:p>
          <a:p>
            <a:pPr marL="90488" indent="-90488" algn="l">
              <a:buFont typeface="Arial" panose="020B0604020202020204" pitchFamily="34" charset="0"/>
              <a:buChar char="•"/>
            </a:pPr>
            <a:r>
              <a:rPr lang="en-US" sz="1000" dirty="0"/>
              <a:t>5G/NR usage reporting</a:t>
            </a:r>
          </a:p>
          <a:p>
            <a:pPr marL="90488" indent="-90488" algn="l">
              <a:buFont typeface="Arial" panose="020B0604020202020204" pitchFamily="34" charset="0"/>
              <a:buChar char="•"/>
            </a:pPr>
            <a:r>
              <a:rPr lang="en-US" sz="1000" dirty="0"/>
              <a:t>Dual-Connectivity LTE/NR</a:t>
            </a:r>
          </a:p>
          <a:p>
            <a:pPr marL="90488" indent="-90488" algn="l">
              <a:buFont typeface="Arial" panose="020B0604020202020204" pitchFamily="34" charset="0"/>
              <a:buChar char="•"/>
            </a:pPr>
            <a:r>
              <a:rPr lang="en-US" sz="1000" dirty="0"/>
              <a:t>LTE/NR NW Slicing</a:t>
            </a:r>
          </a:p>
        </p:txBody>
      </p:sp>
      <p:sp>
        <p:nvSpPr>
          <p:cNvPr id="74" name="TextBox 73">
            <a:extLst>
              <a:ext uri="{FF2B5EF4-FFF2-40B4-BE49-F238E27FC236}">
                <a16:creationId xmlns:a16="http://schemas.microsoft.com/office/drawing/2014/main" id="{115E9105-BE94-43A7-88CB-5EA964157C93}"/>
              </a:ext>
            </a:extLst>
          </p:cNvPr>
          <p:cNvSpPr txBox="1"/>
          <p:nvPr/>
        </p:nvSpPr>
        <p:spPr>
          <a:xfrm>
            <a:off x="3071191" y="2178224"/>
            <a:ext cx="1806581" cy="600164"/>
          </a:xfrm>
          <a:prstGeom prst="rect">
            <a:avLst/>
          </a:prstGeom>
          <a:solidFill>
            <a:schemeClr val="accent4"/>
          </a:solidFill>
          <a:ln>
            <a:solidFill>
              <a:schemeClr val="accent2"/>
            </a:solidFill>
          </a:ln>
        </p:spPr>
        <p:txBody>
          <a:bodyPr wrap="square" rtlCol="0">
            <a:spAutoFit/>
          </a:bodyPr>
          <a:lstStyle>
            <a:defPPr>
              <a:defRPr lang="en-GB"/>
            </a:defPPr>
            <a:lvl1pPr>
              <a:spcBef>
                <a:spcPts val="0"/>
              </a:spcBef>
              <a:defRPr sz="1050">
                <a:solidFill>
                  <a:schemeClr val="tx2"/>
                </a:solidFill>
              </a:defRPr>
            </a:lvl1pPr>
          </a:lstStyle>
          <a:p>
            <a:pPr algn="l"/>
            <a:r>
              <a:rPr lang="en-US" sz="1200" dirty="0"/>
              <a:t>Support for</a:t>
            </a:r>
          </a:p>
          <a:p>
            <a:pPr marL="90488" indent="-90488" algn="l">
              <a:buFont typeface="Arial" panose="020B0604020202020204" pitchFamily="34" charset="0"/>
              <a:buChar char="•"/>
            </a:pPr>
            <a:r>
              <a:rPr lang="en-US" sz="1000" dirty="0"/>
              <a:t>5G user data rates</a:t>
            </a:r>
          </a:p>
          <a:p>
            <a:pPr marL="90488" indent="-90488" algn="l">
              <a:buFont typeface="Arial" panose="020B0604020202020204" pitchFamily="34" charset="0"/>
              <a:buChar char="•"/>
            </a:pPr>
            <a:r>
              <a:rPr lang="en-US" sz="1000" dirty="0"/>
              <a:t>5G subscriber profiles</a:t>
            </a:r>
          </a:p>
        </p:txBody>
      </p:sp>
      <p:cxnSp>
        <p:nvCxnSpPr>
          <p:cNvPr id="75" name="Straight Connector 74">
            <a:extLst>
              <a:ext uri="{FF2B5EF4-FFF2-40B4-BE49-F238E27FC236}">
                <a16:creationId xmlns:a16="http://schemas.microsoft.com/office/drawing/2014/main" id="{33C0CFBC-C595-43EE-931A-14FE5438EDBC}"/>
              </a:ext>
            </a:extLst>
          </p:cNvPr>
          <p:cNvCxnSpPr>
            <a:cxnSpLocks/>
          </p:cNvCxnSpPr>
          <p:nvPr/>
        </p:nvCxnSpPr>
        <p:spPr bwMode="auto">
          <a:xfrm>
            <a:off x="4957081" y="2219185"/>
            <a:ext cx="1567085" cy="7912"/>
          </a:xfrm>
          <a:prstGeom prst="line">
            <a:avLst/>
          </a:prstGeom>
          <a:solidFill>
            <a:schemeClr val="accent1"/>
          </a:solidFill>
          <a:ln w="12700" cap="flat" cmpd="sng" algn="ctr">
            <a:solidFill>
              <a:schemeClr val="accent6"/>
            </a:solidFill>
            <a:prstDash val="solid"/>
            <a:round/>
            <a:headEnd type="none" w="med" len="med"/>
            <a:tailEnd type="none" w="med" len="med"/>
          </a:ln>
          <a:effectLst>
            <a:glow rad="63500">
              <a:schemeClr val="bg1">
                <a:alpha val="33000"/>
              </a:schemeClr>
            </a:glow>
          </a:effectLst>
        </p:spPr>
      </p:cxnSp>
      <p:cxnSp>
        <p:nvCxnSpPr>
          <p:cNvPr id="76" name="Straight Connector 75">
            <a:extLst>
              <a:ext uri="{FF2B5EF4-FFF2-40B4-BE49-F238E27FC236}">
                <a16:creationId xmlns:a16="http://schemas.microsoft.com/office/drawing/2014/main" id="{011A3573-028A-4D88-A187-51ABC769866D}"/>
              </a:ext>
            </a:extLst>
          </p:cNvPr>
          <p:cNvCxnSpPr>
            <a:cxnSpLocks/>
            <a:stCxn id="74" idx="3"/>
          </p:cNvCxnSpPr>
          <p:nvPr/>
        </p:nvCxnSpPr>
        <p:spPr bwMode="auto">
          <a:xfrm>
            <a:off x="4877772" y="2478306"/>
            <a:ext cx="975034" cy="282489"/>
          </a:xfrm>
          <a:prstGeom prst="line">
            <a:avLst/>
          </a:prstGeom>
          <a:solidFill>
            <a:schemeClr val="accent1"/>
          </a:solidFill>
          <a:ln w="12700" cap="flat" cmpd="sng" algn="ctr">
            <a:solidFill>
              <a:schemeClr val="accent6"/>
            </a:solidFill>
            <a:prstDash val="solid"/>
            <a:round/>
            <a:headEnd type="none" w="med" len="med"/>
            <a:tailEnd type="none" w="med" len="med"/>
          </a:ln>
          <a:effectLst>
            <a:glow rad="63500">
              <a:schemeClr val="bg1">
                <a:alpha val="33000"/>
              </a:schemeClr>
            </a:glow>
          </a:effectLst>
        </p:spPr>
      </p:cxnSp>
      <p:cxnSp>
        <p:nvCxnSpPr>
          <p:cNvPr id="77" name="Straight Connector 76">
            <a:extLst>
              <a:ext uri="{FF2B5EF4-FFF2-40B4-BE49-F238E27FC236}">
                <a16:creationId xmlns:a16="http://schemas.microsoft.com/office/drawing/2014/main" id="{A7E5ABF7-AA12-4AEF-B30A-AE759D2EBE8A}"/>
              </a:ext>
            </a:extLst>
          </p:cNvPr>
          <p:cNvCxnSpPr>
            <a:cxnSpLocks/>
          </p:cNvCxnSpPr>
          <p:nvPr/>
        </p:nvCxnSpPr>
        <p:spPr bwMode="auto">
          <a:xfrm>
            <a:off x="4842179" y="2760795"/>
            <a:ext cx="596450" cy="689604"/>
          </a:xfrm>
          <a:prstGeom prst="line">
            <a:avLst/>
          </a:prstGeom>
          <a:solidFill>
            <a:schemeClr val="accent1"/>
          </a:solidFill>
          <a:ln w="12700" cap="flat" cmpd="sng" algn="ctr">
            <a:solidFill>
              <a:schemeClr val="accent6"/>
            </a:solidFill>
            <a:prstDash val="solid"/>
            <a:round/>
            <a:headEnd type="none" w="med" len="med"/>
            <a:tailEnd type="none" w="med" len="med"/>
          </a:ln>
          <a:effectLst>
            <a:glow rad="63500">
              <a:schemeClr val="bg1">
                <a:alpha val="33000"/>
              </a:schemeClr>
            </a:glow>
          </a:effectLst>
        </p:spPr>
      </p:cxnSp>
      <p:cxnSp>
        <p:nvCxnSpPr>
          <p:cNvPr id="78" name="Straight Connector 77">
            <a:extLst>
              <a:ext uri="{FF2B5EF4-FFF2-40B4-BE49-F238E27FC236}">
                <a16:creationId xmlns:a16="http://schemas.microsoft.com/office/drawing/2014/main" id="{EDEF91DB-EB17-454E-8FF5-65470552CF05}"/>
              </a:ext>
            </a:extLst>
          </p:cNvPr>
          <p:cNvCxnSpPr>
            <a:cxnSpLocks/>
          </p:cNvCxnSpPr>
          <p:nvPr/>
        </p:nvCxnSpPr>
        <p:spPr bwMode="auto">
          <a:xfrm>
            <a:off x="2986328" y="3519983"/>
            <a:ext cx="2442427" cy="974824"/>
          </a:xfrm>
          <a:prstGeom prst="line">
            <a:avLst/>
          </a:prstGeom>
          <a:solidFill>
            <a:schemeClr val="accent1"/>
          </a:solidFill>
          <a:ln w="12700" cap="flat" cmpd="sng" algn="ctr">
            <a:solidFill>
              <a:schemeClr val="accent6"/>
            </a:solidFill>
            <a:prstDash val="solid"/>
            <a:round/>
            <a:headEnd type="none" w="med" len="med"/>
            <a:tailEnd type="none" w="med" len="med"/>
          </a:ln>
          <a:effectLst>
            <a:glow rad="63500">
              <a:schemeClr val="bg1">
                <a:alpha val="33000"/>
              </a:schemeClr>
            </a:glow>
          </a:effectLst>
        </p:spPr>
      </p:cxnSp>
      <p:sp>
        <p:nvSpPr>
          <p:cNvPr id="79" name="TextBox 78">
            <a:extLst>
              <a:ext uri="{FF2B5EF4-FFF2-40B4-BE49-F238E27FC236}">
                <a16:creationId xmlns:a16="http://schemas.microsoft.com/office/drawing/2014/main" id="{B7EB6844-415D-4019-AD35-D6B18B1E25EB}"/>
              </a:ext>
            </a:extLst>
          </p:cNvPr>
          <p:cNvSpPr txBox="1"/>
          <p:nvPr/>
        </p:nvSpPr>
        <p:spPr>
          <a:xfrm>
            <a:off x="3271226" y="6181959"/>
            <a:ext cx="2716608" cy="584775"/>
          </a:xfrm>
          <a:prstGeom prst="rect">
            <a:avLst/>
          </a:prstGeom>
          <a:solidFill>
            <a:schemeClr val="accent4"/>
          </a:solidFill>
          <a:ln>
            <a:solidFill>
              <a:schemeClr val="accent2"/>
            </a:solidFill>
          </a:ln>
        </p:spPr>
        <p:txBody>
          <a:bodyPr wrap="square" rtlCol="0">
            <a:spAutoFit/>
          </a:bodyPr>
          <a:lstStyle>
            <a:defPPr>
              <a:defRPr lang="en-GB"/>
            </a:defPPr>
            <a:lvl1pPr>
              <a:spcBef>
                <a:spcPts val="0"/>
              </a:spcBef>
              <a:defRPr sz="1200">
                <a:solidFill>
                  <a:schemeClr val="tx2"/>
                </a:solidFill>
              </a:defRPr>
            </a:lvl1pPr>
          </a:lstStyle>
          <a:p>
            <a:pPr algn="l"/>
            <a:r>
              <a:rPr lang="en-US"/>
              <a:t>Support for </a:t>
            </a:r>
          </a:p>
          <a:p>
            <a:pPr marL="90488" indent="-90488" algn="l">
              <a:buFont typeface="Arial" panose="020B0604020202020204" pitchFamily="34" charset="0"/>
              <a:buChar char="•"/>
            </a:pPr>
            <a:r>
              <a:rPr lang="en-US" sz="1000"/>
              <a:t>5G user data rates</a:t>
            </a:r>
          </a:p>
          <a:p>
            <a:pPr marL="90488" indent="-90488" algn="l">
              <a:buFont typeface="Arial" panose="020B0604020202020204" pitchFamily="34" charset="0"/>
              <a:buChar char="•"/>
            </a:pPr>
            <a:r>
              <a:rPr lang="en-US" sz="1000"/>
              <a:t>DPI and Traffic Filtering</a:t>
            </a:r>
          </a:p>
        </p:txBody>
      </p:sp>
      <p:cxnSp>
        <p:nvCxnSpPr>
          <p:cNvPr id="80" name="Straight Connector 79">
            <a:extLst>
              <a:ext uri="{FF2B5EF4-FFF2-40B4-BE49-F238E27FC236}">
                <a16:creationId xmlns:a16="http://schemas.microsoft.com/office/drawing/2014/main" id="{FBC55D77-E37F-44C9-9E42-C442A476A347}"/>
              </a:ext>
            </a:extLst>
          </p:cNvPr>
          <p:cNvCxnSpPr>
            <a:cxnSpLocks/>
          </p:cNvCxnSpPr>
          <p:nvPr/>
        </p:nvCxnSpPr>
        <p:spPr bwMode="auto">
          <a:xfrm flipV="1">
            <a:off x="6021602" y="6181959"/>
            <a:ext cx="439255" cy="221017"/>
          </a:xfrm>
          <a:prstGeom prst="line">
            <a:avLst/>
          </a:prstGeom>
          <a:solidFill>
            <a:schemeClr val="accent1"/>
          </a:solidFill>
          <a:ln w="12700" cap="flat" cmpd="sng" algn="ctr">
            <a:solidFill>
              <a:schemeClr val="accent6"/>
            </a:solidFill>
            <a:prstDash val="solid"/>
            <a:round/>
            <a:headEnd type="none" w="med" len="med"/>
            <a:tailEnd type="none" w="med" len="med"/>
          </a:ln>
          <a:effectLst>
            <a:glow rad="63500">
              <a:schemeClr val="bg1">
                <a:alpha val="33000"/>
              </a:schemeClr>
            </a:glow>
          </a:effectLst>
        </p:spPr>
      </p:cxnSp>
      <p:sp>
        <p:nvSpPr>
          <p:cNvPr id="81" name="TextBox 80">
            <a:extLst>
              <a:ext uri="{FF2B5EF4-FFF2-40B4-BE49-F238E27FC236}">
                <a16:creationId xmlns:a16="http://schemas.microsoft.com/office/drawing/2014/main" id="{60070AB6-C24A-4580-8A26-620D70FD6644}"/>
              </a:ext>
            </a:extLst>
          </p:cNvPr>
          <p:cNvSpPr txBox="1"/>
          <p:nvPr/>
        </p:nvSpPr>
        <p:spPr>
          <a:xfrm>
            <a:off x="8446897" y="1964442"/>
            <a:ext cx="2401196" cy="923330"/>
          </a:xfrm>
          <a:prstGeom prst="rect">
            <a:avLst/>
          </a:prstGeom>
          <a:solidFill>
            <a:schemeClr val="accent4"/>
          </a:solidFill>
          <a:ln>
            <a:solidFill>
              <a:schemeClr val="accent2"/>
            </a:solidFill>
          </a:ln>
        </p:spPr>
        <p:txBody>
          <a:bodyPr wrap="square" rtlCol="0">
            <a:spAutoFit/>
          </a:bodyPr>
          <a:lstStyle>
            <a:defPPr>
              <a:defRPr lang="en-GB"/>
            </a:defPPr>
            <a:lvl1pPr>
              <a:spcBef>
                <a:spcPts val="0"/>
              </a:spcBef>
              <a:defRPr sz="1050">
                <a:solidFill>
                  <a:schemeClr val="tx2"/>
                </a:solidFill>
              </a:defRPr>
            </a:lvl1pPr>
          </a:lstStyle>
          <a:p>
            <a:pPr algn="l"/>
            <a:r>
              <a:rPr lang="en-US" sz="1200" dirty="0"/>
              <a:t>Support for</a:t>
            </a:r>
          </a:p>
          <a:p>
            <a:pPr marL="90488" indent="-90488" algn="l">
              <a:buFont typeface="Arial" panose="020B0604020202020204" pitchFamily="34" charset="0"/>
              <a:buChar char="•"/>
            </a:pPr>
            <a:r>
              <a:rPr lang="en-US" sz="1000" dirty="0"/>
              <a:t>5G User and Policy Profile provisioning in CUDB and SAPC</a:t>
            </a:r>
          </a:p>
          <a:p>
            <a:pPr marL="90488" indent="-90488" algn="l">
              <a:buFont typeface="Arial" panose="020B0604020202020204" pitchFamily="34" charset="0"/>
              <a:buChar char="•"/>
            </a:pPr>
            <a:r>
              <a:rPr lang="en-US" sz="1000" dirty="0"/>
              <a:t>NW Slicing Profile provisioning in Slicing Routing DB </a:t>
            </a:r>
          </a:p>
        </p:txBody>
      </p:sp>
      <p:cxnSp>
        <p:nvCxnSpPr>
          <p:cNvPr id="82" name="Straight Connector 81">
            <a:extLst>
              <a:ext uri="{FF2B5EF4-FFF2-40B4-BE49-F238E27FC236}">
                <a16:creationId xmlns:a16="http://schemas.microsoft.com/office/drawing/2014/main" id="{06A8DF59-07AA-48AA-9462-D54F499E39FE}"/>
              </a:ext>
            </a:extLst>
          </p:cNvPr>
          <p:cNvCxnSpPr>
            <a:cxnSpLocks/>
            <a:stCxn id="81" idx="1"/>
          </p:cNvCxnSpPr>
          <p:nvPr/>
        </p:nvCxnSpPr>
        <p:spPr bwMode="auto">
          <a:xfrm flipH="1" flipV="1">
            <a:off x="7086858" y="2392687"/>
            <a:ext cx="1360039" cy="33420"/>
          </a:xfrm>
          <a:prstGeom prst="line">
            <a:avLst/>
          </a:prstGeom>
          <a:solidFill>
            <a:schemeClr val="accent1"/>
          </a:solidFill>
          <a:ln w="12700" cap="flat" cmpd="sng" algn="ctr">
            <a:solidFill>
              <a:schemeClr val="accent6"/>
            </a:solidFill>
            <a:prstDash val="solid"/>
            <a:round/>
            <a:headEnd type="none" w="med" len="med"/>
            <a:tailEnd type="none" w="med" len="med"/>
          </a:ln>
          <a:effectLst>
            <a:glow rad="63500">
              <a:schemeClr val="bg1">
                <a:alpha val="33000"/>
              </a:schemeClr>
            </a:glow>
          </a:effectLst>
        </p:spPr>
      </p:cxnSp>
      <p:sp>
        <p:nvSpPr>
          <p:cNvPr id="83" name="TextBox 82">
            <a:extLst>
              <a:ext uri="{FF2B5EF4-FFF2-40B4-BE49-F238E27FC236}">
                <a16:creationId xmlns:a16="http://schemas.microsoft.com/office/drawing/2014/main" id="{A0103105-6D9A-4832-99B5-3B3801019C6E}"/>
              </a:ext>
            </a:extLst>
          </p:cNvPr>
          <p:cNvSpPr txBox="1"/>
          <p:nvPr/>
        </p:nvSpPr>
        <p:spPr>
          <a:xfrm>
            <a:off x="9133353" y="4708081"/>
            <a:ext cx="1998779" cy="892552"/>
          </a:xfrm>
          <a:prstGeom prst="rect">
            <a:avLst/>
          </a:prstGeom>
          <a:solidFill>
            <a:schemeClr val="accent4"/>
          </a:solidFill>
          <a:ln>
            <a:solidFill>
              <a:schemeClr val="accent2"/>
            </a:solidFill>
          </a:ln>
        </p:spPr>
        <p:txBody>
          <a:bodyPr wrap="square" rtlCol="0">
            <a:spAutoFit/>
          </a:bodyPr>
          <a:lstStyle>
            <a:defPPr>
              <a:defRPr lang="en-GB"/>
            </a:defPPr>
            <a:lvl1pPr>
              <a:spcBef>
                <a:spcPts val="0"/>
              </a:spcBef>
              <a:defRPr sz="1050">
                <a:solidFill>
                  <a:schemeClr val="tx2"/>
                </a:solidFill>
              </a:defRPr>
            </a:lvl1pPr>
          </a:lstStyle>
          <a:p>
            <a:pPr algn="l"/>
            <a:r>
              <a:rPr lang="en-US" sz="1200" dirty="0"/>
              <a:t>Support for </a:t>
            </a:r>
          </a:p>
          <a:p>
            <a:pPr marL="90488" indent="-90488" algn="l">
              <a:buFont typeface="Arial" panose="020B0604020202020204" pitchFamily="34" charset="0"/>
              <a:buChar char="•"/>
            </a:pPr>
            <a:r>
              <a:rPr lang="en-US" sz="1000" dirty="0" err="1"/>
              <a:t>QoS</a:t>
            </a:r>
            <a:r>
              <a:rPr lang="en-US" sz="1000" dirty="0"/>
              <a:t> data rates control</a:t>
            </a:r>
          </a:p>
          <a:p>
            <a:pPr marL="90488" indent="-90488" algn="l">
              <a:buFont typeface="Arial" panose="020B0604020202020204" pitchFamily="34" charset="0"/>
              <a:buChar char="•"/>
            </a:pPr>
            <a:r>
              <a:rPr lang="en-US" sz="1000" dirty="0"/>
              <a:t>5G/NR usage reporting</a:t>
            </a:r>
          </a:p>
          <a:p>
            <a:pPr marL="90488" indent="-90488" algn="l">
              <a:buFont typeface="Arial" panose="020B0604020202020204" pitchFamily="34" charset="0"/>
              <a:buChar char="•"/>
            </a:pPr>
            <a:r>
              <a:rPr lang="en-US" sz="1000" dirty="0"/>
              <a:t>CUPS Distribution &amp; Control</a:t>
            </a:r>
          </a:p>
          <a:p>
            <a:pPr marL="90488" indent="-90488" algn="l">
              <a:buFont typeface="Arial" panose="020B0604020202020204" pitchFamily="34" charset="0"/>
              <a:buChar char="•"/>
            </a:pPr>
            <a:r>
              <a:rPr lang="en-US" sz="1000" dirty="0"/>
              <a:t>UP Traffic Rules</a:t>
            </a:r>
          </a:p>
        </p:txBody>
      </p:sp>
      <p:sp>
        <p:nvSpPr>
          <p:cNvPr id="84" name="TextBox 83">
            <a:extLst>
              <a:ext uri="{FF2B5EF4-FFF2-40B4-BE49-F238E27FC236}">
                <a16:creationId xmlns:a16="http://schemas.microsoft.com/office/drawing/2014/main" id="{E25A9EFD-8803-4C32-9ED8-EAC6CBBB6D86}"/>
              </a:ext>
            </a:extLst>
          </p:cNvPr>
          <p:cNvSpPr txBox="1"/>
          <p:nvPr/>
        </p:nvSpPr>
        <p:spPr>
          <a:xfrm>
            <a:off x="239338" y="4862333"/>
            <a:ext cx="2276790" cy="1281571"/>
          </a:xfrm>
          <a:custGeom>
            <a:avLst/>
            <a:gdLst>
              <a:gd name="connsiteX0" fmla="*/ 0 w 2276790"/>
              <a:gd name="connsiteY0" fmla="*/ 0 h 1046440"/>
              <a:gd name="connsiteX1" fmla="*/ 2276790 w 2276790"/>
              <a:gd name="connsiteY1" fmla="*/ 0 h 1046440"/>
              <a:gd name="connsiteX2" fmla="*/ 2276790 w 2276790"/>
              <a:gd name="connsiteY2" fmla="*/ 1046440 h 1046440"/>
              <a:gd name="connsiteX3" fmla="*/ 0 w 2276790"/>
              <a:gd name="connsiteY3" fmla="*/ 1046440 h 1046440"/>
              <a:gd name="connsiteX4" fmla="*/ 0 w 2276790"/>
              <a:gd name="connsiteY4" fmla="*/ 0 h 1046440"/>
              <a:gd name="connsiteX0" fmla="*/ 0 w 2276790"/>
              <a:gd name="connsiteY0" fmla="*/ 0 h 1281571"/>
              <a:gd name="connsiteX1" fmla="*/ 2276790 w 2276790"/>
              <a:gd name="connsiteY1" fmla="*/ 0 h 1281571"/>
              <a:gd name="connsiteX2" fmla="*/ 2276790 w 2276790"/>
              <a:gd name="connsiteY2" fmla="*/ 1281571 h 1281571"/>
              <a:gd name="connsiteX3" fmla="*/ 0 w 2276790"/>
              <a:gd name="connsiteY3" fmla="*/ 1046440 h 1281571"/>
              <a:gd name="connsiteX4" fmla="*/ 0 w 2276790"/>
              <a:gd name="connsiteY4" fmla="*/ 0 h 1281571"/>
              <a:gd name="connsiteX0" fmla="*/ 0 w 2276790"/>
              <a:gd name="connsiteY0" fmla="*/ 0 h 1281571"/>
              <a:gd name="connsiteX1" fmla="*/ 2276790 w 2276790"/>
              <a:gd name="connsiteY1" fmla="*/ 0 h 1281571"/>
              <a:gd name="connsiteX2" fmla="*/ 2276790 w 2276790"/>
              <a:gd name="connsiteY2" fmla="*/ 1281571 h 1281571"/>
              <a:gd name="connsiteX3" fmla="*/ 26126 w 2276790"/>
              <a:gd name="connsiteY3" fmla="*/ 1268509 h 1281571"/>
              <a:gd name="connsiteX4" fmla="*/ 0 w 2276790"/>
              <a:gd name="connsiteY4" fmla="*/ 0 h 1281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76790" h="1281571">
                <a:moveTo>
                  <a:pt x="0" y="0"/>
                </a:moveTo>
                <a:lnTo>
                  <a:pt x="2276790" y="0"/>
                </a:lnTo>
                <a:lnTo>
                  <a:pt x="2276790" y="1281571"/>
                </a:lnTo>
                <a:lnTo>
                  <a:pt x="26126" y="1268509"/>
                </a:lnTo>
                <a:lnTo>
                  <a:pt x="0" y="0"/>
                </a:lnTo>
                <a:close/>
              </a:path>
            </a:pathLst>
          </a:custGeom>
          <a:solidFill>
            <a:schemeClr val="accent4"/>
          </a:solidFill>
          <a:ln>
            <a:solidFill>
              <a:schemeClr val="accent2"/>
            </a:solidFill>
          </a:ln>
        </p:spPr>
        <p:txBody>
          <a:bodyPr wrap="square" rtlCol="0">
            <a:spAutoFit/>
          </a:bodyPr>
          <a:lstStyle/>
          <a:p>
            <a:pPr algn="l">
              <a:spcBef>
                <a:spcPts val="0"/>
              </a:spcBef>
            </a:pPr>
            <a:r>
              <a:rPr lang="en-US" sz="1200" dirty="0">
                <a:solidFill>
                  <a:schemeClr val="tx2"/>
                </a:solidFill>
              </a:rPr>
              <a:t>Support for</a:t>
            </a:r>
          </a:p>
          <a:p>
            <a:pPr marL="90488" indent="-90488" algn="l">
              <a:spcBef>
                <a:spcPts val="0"/>
              </a:spcBef>
              <a:buFont typeface="Arial" panose="020B0604020202020204" pitchFamily="34" charset="0"/>
              <a:buChar char="•"/>
              <a:tabLst>
                <a:tab pos="803275" algn="l"/>
              </a:tabLst>
            </a:pPr>
            <a:r>
              <a:rPr lang="en-US" sz="1000" dirty="0">
                <a:solidFill>
                  <a:schemeClr val="tx2"/>
                </a:solidFill>
              </a:rPr>
              <a:t>5G user data rates (</a:t>
            </a:r>
            <a:r>
              <a:rPr lang="en-US" sz="1000" dirty="0" err="1">
                <a:solidFill>
                  <a:schemeClr val="tx2"/>
                </a:solidFill>
              </a:rPr>
              <a:t>gNB</a:t>
            </a:r>
            <a:r>
              <a:rPr lang="en-US" sz="1000" dirty="0">
                <a:solidFill>
                  <a:schemeClr val="tx2"/>
                </a:solidFill>
              </a:rPr>
              <a:t>)</a:t>
            </a:r>
          </a:p>
          <a:p>
            <a:pPr marL="90488" indent="-90488" algn="l">
              <a:spcBef>
                <a:spcPts val="0"/>
              </a:spcBef>
              <a:buFont typeface="Arial" panose="020B0604020202020204" pitchFamily="34" charset="0"/>
              <a:buChar char="•"/>
              <a:tabLst>
                <a:tab pos="803275" algn="l"/>
              </a:tabLst>
            </a:pPr>
            <a:r>
              <a:rPr lang="en-US" sz="1000" dirty="0">
                <a:solidFill>
                  <a:schemeClr val="tx2"/>
                </a:solidFill>
              </a:rPr>
              <a:t>5G/NR usage reporting (</a:t>
            </a:r>
            <a:r>
              <a:rPr lang="en-US" sz="1000" dirty="0" err="1">
                <a:solidFill>
                  <a:schemeClr val="tx2"/>
                </a:solidFill>
              </a:rPr>
              <a:t>eNB</a:t>
            </a:r>
            <a:r>
              <a:rPr lang="en-US" sz="1000" dirty="0">
                <a:solidFill>
                  <a:schemeClr val="tx2"/>
                </a:solidFill>
              </a:rPr>
              <a:t>)</a:t>
            </a:r>
          </a:p>
          <a:p>
            <a:pPr marL="90488" indent="-90488" algn="l">
              <a:spcBef>
                <a:spcPts val="0"/>
              </a:spcBef>
              <a:buFont typeface="Arial" panose="020B0604020202020204" pitchFamily="34" charset="0"/>
              <a:buChar char="•"/>
              <a:tabLst>
                <a:tab pos="803275" algn="l"/>
              </a:tabLst>
            </a:pPr>
            <a:r>
              <a:rPr lang="en-US" sz="1000" dirty="0">
                <a:solidFill>
                  <a:schemeClr val="tx2"/>
                </a:solidFill>
              </a:rPr>
              <a:t>5G/NR access control (</a:t>
            </a:r>
            <a:r>
              <a:rPr lang="en-US" sz="1000" dirty="0" err="1">
                <a:solidFill>
                  <a:schemeClr val="tx2"/>
                </a:solidFill>
              </a:rPr>
              <a:t>eNB</a:t>
            </a:r>
            <a:r>
              <a:rPr lang="en-US" sz="1000" dirty="0">
                <a:solidFill>
                  <a:schemeClr val="tx2"/>
                </a:solidFill>
              </a:rPr>
              <a:t>)</a:t>
            </a:r>
          </a:p>
          <a:p>
            <a:pPr marL="90488" indent="-90488" algn="l">
              <a:spcBef>
                <a:spcPts val="0"/>
              </a:spcBef>
              <a:buFont typeface="Arial" panose="020B0604020202020204" pitchFamily="34" charset="0"/>
              <a:buChar char="•"/>
              <a:tabLst>
                <a:tab pos="803275" algn="l"/>
              </a:tabLst>
            </a:pPr>
            <a:r>
              <a:rPr lang="en-US" sz="1000" dirty="0">
                <a:solidFill>
                  <a:schemeClr val="tx2"/>
                </a:solidFill>
              </a:rPr>
              <a:t>UP path control (1/3/3a/3x) (</a:t>
            </a:r>
            <a:r>
              <a:rPr lang="en-US" sz="1000" dirty="0" err="1">
                <a:solidFill>
                  <a:schemeClr val="tx2"/>
                </a:solidFill>
              </a:rPr>
              <a:t>gNB</a:t>
            </a:r>
            <a:r>
              <a:rPr lang="en-US" sz="1000" dirty="0">
                <a:solidFill>
                  <a:schemeClr val="tx2"/>
                </a:solidFill>
              </a:rPr>
              <a:t>)</a:t>
            </a:r>
          </a:p>
          <a:p>
            <a:pPr marL="90488" indent="-90488" algn="l">
              <a:spcBef>
                <a:spcPts val="0"/>
              </a:spcBef>
              <a:buFont typeface="Arial" panose="020B0604020202020204" pitchFamily="34" charset="0"/>
              <a:buChar char="•"/>
              <a:tabLst>
                <a:tab pos="803275" algn="l"/>
              </a:tabLst>
            </a:pPr>
            <a:r>
              <a:rPr lang="en-US" sz="1000" dirty="0">
                <a:solidFill>
                  <a:schemeClr val="tx2"/>
                </a:solidFill>
              </a:rPr>
              <a:t>Dual-Connectivity LTE/NR</a:t>
            </a:r>
          </a:p>
        </p:txBody>
      </p:sp>
      <p:cxnSp>
        <p:nvCxnSpPr>
          <p:cNvPr id="85" name="Straight Connector 84">
            <a:extLst>
              <a:ext uri="{FF2B5EF4-FFF2-40B4-BE49-F238E27FC236}">
                <a16:creationId xmlns:a16="http://schemas.microsoft.com/office/drawing/2014/main" id="{7DE8ECF4-0563-4202-9FBC-25CB16F6F825}"/>
              </a:ext>
            </a:extLst>
          </p:cNvPr>
          <p:cNvCxnSpPr/>
          <p:nvPr/>
        </p:nvCxnSpPr>
        <p:spPr bwMode="auto">
          <a:xfrm flipV="1">
            <a:off x="2600068" y="5037555"/>
            <a:ext cx="563469" cy="222241"/>
          </a:xfrm>
          <a:prstGeom prst="line">
            <a:avLst/>
          </a:prstGeom>
          <a:solidFill>
            <a:schemeClr val="accent1"/>
          </a:solidFill>
          <a:ln w="12700" cap="flat" cmpd="sng" algn="ctr">
            <a:solidFill>
              <a:schemeClr val="accent6"/>
            </a:solidFill>
            <a:prstDash val="solid"/>
            <a:round/>
            <a:headEnd type="none" w="med" len="med"/>
            <a:tailEnd type="none" w="med" len="med"/>
          </a:ln>
          <a:effectLst>
            <a:glow rad="63500">
              <a:schemeClr val="bg1">
                <a:alpha val="33000"/>
              </a:schemeClr>
            </a:glow>
          </a:effectLst>
        </p:spPr>
      </p:cxnSp>
      <p:cxnSp>
        <p:nvCxnSpPr>
          <p:cNvPr id="86" name="Straight Connector 85">
            <a:extLst>
              <a:ext uri="{FF2B5EF4-FFF2-40B4-BE49-F238E27FC236}">
                <a16:creationId xmlns:a16="http://schemas.microsoft.com/office/drawing/2014/main" id="{9B486EBC-CFA6-4D7C-B111-0704D5FD6AF9}"/>
              </a:ext>
            </a:extLst>
          </p:cNvPr>
          <p:cNvCxnSpPr/>
          <p:nvPr/>
        </p:nvCxnSpPr>
        <p:spPr bwMode="auto">
          <a:xfrm>
            <a:off x="2603219" y="5437220"/>
            <a:ext cx="563500" cy="109269"/>
          </a:xfrm>
          <a:prstGeom prst="line">
            <a:avLst/>
          </a:prstGeom>
          <a:solidFill>
            <a:schemeClr val="accent1"/>
          </a:solidFill>
          <a:ln w="12700" cap="flat" cmpd="sng" algn="ctr">
            <a:solidFill>
              <a:schemeClr val="accent6"/>
            </a:solidFill>
            <a:prstDash val="solid"/>
            <a:round/>
            <a:headEnd type="none" w="med" len="med"/>
            <a:tailEnd type="none" w="med" len="med"/>
          </a:ln>
          <a:effectLst>
            <a:glow rad="63500">
              <a:schemeClr val="bg1">
                <a:alpha val="33000"/>
              </a:schemeClr>
            </a:glow>
          </a:effectLst>
        </p:spPr>
      </p:cxnSp>
      <p:cxnSp>
        <p:nvCxnSpPr>
          <p:cNvPr id="87" name="Straight Connector 86">
            <a:extLst>
              <a:ext uri="{FF2B5EF4-FFF2-40B4-BE49-F238E27FC236}">
                <a16:creationId xmlns:a16="http://schemas.microsoft.com/office/drawing/2014/main" id="{91190D9F-2AC2-4B10-9CE4-C69F6EC4F514}"/>
              </a:ext>
            </a:extLst>
          </p:cNvPr>
          <p:cNvCxnSpPr>
            <a:cxnSpLocks/>
          </p:cNvCxnSpPr>
          <p:nvPr/>
        </p:nvCxnSpPr>
        <p:spPr bwMode="auto">
          <a:xfrm>
            <a:off x="7066402" y="4818844"/>
            <a:ext cx="1941743" cy="311498"/>
          </a:xfrm>
          <a:prstGeom prst="line">
            <a:avLst/>
          </a:prstGeom>
          <a:solidFill>
            <a:schemeClr val="accent1"/>
          </a:solidFill>
          <a:ln w="12700" cap="flat" cmpd="sng" algn="ctr">
            <a:solidFill>
              <a:schemeClr val="accent6"/>
            </a:solidFill>
            <a:prstDash val="solid"/>
            <a:round/>
            <a:headEnd type="none" w="med" len="med"/>
            <a:tailEnd type="none" w="med" len="med"/>
          </a:ln>
          <a:effectLst>
            <a:glow rad="63500">
              <a:schemeClr val="bg1">
                <a:alpha val="33000"/>
              </a:schemeClr>
            </a:glow>
          </a:effectLst>
        </p:spPr>
      </p:cxnSp>
      <p:grpSp>
        <p:nvGrpSpPr>
          <p:cNvPr id="88" name="Group 87">
            <a:extLst>
              <a:ext uri="{FF2B5EF4-FFF2-40B4-BE49-F238E27FC236}">
                <a16:creationId xmlns:a16="http://schemas.microsoft.com/office/drawing/2014/main" id="{861A4963-1121-49DF-BB6B-C0B978050141}"/>
              </a:ext>
            </a:extLst>
          </p:cNvPr>
          <p:cNvGrpSpPr>
            <a:grpSpLocks noChangeAspect="1"/>
          </p:cNvGrpSpPr>
          <p:nvPr/>
        </p:nvGrpSpPr>
        <p:grpSpPr bwMode="auto">
          <a:xfrm>
            <a:off x="7662400" y="2911325"/>
            <a:ext cx="531707" cy="711127"/>
            <a:chOff x="4545" y="2458"/>
            <a:chExt cx="1055" cy="1411"/>
          </a:xfrm>
        </p:grpSpPr>
        <p:grpSp>
          <p:nvGrpSpPr>
            <p:cNvPr id="89" name="Group 88">
              <a:extLst>
                <a:ext uri="{FF2B5EF4-FFF2-40B4-BE49-F238E27FC236}">
                  <a16:creationId xmlns:a16="http://schemas.microsoft.com/office/drawing/2014/main" id="{48F5512F-8B80-4457-9A83-F7F57F9F880D}"/>
                </a:ext>
              </a:extLst>
            </p:cNvPr>
            <p:cNvGrpSpPr>
              <a:grpSpLocks noChangeAspect="1"/>
            </p:cNvGrpSpPr>
            <p:nvPr/>
          </p:nvGrpSpPr>
          <p:grpSpPr bwMode="auto">
            <a:xfrm>
              <a:off x="4545" y="2478"/>
              <a:ext cx="966" cy="1391"/>
              <a:chOff x="4545" y="2478"/>
              <a:chExt cx="966" cy="1391"/>
            </a:xfrm>
          </p:grpSpPr>
          <p:sp>
            <p:nvSpPr>
              <p:cNvPr id="91" name="Freeform 40">
                <a:extLst>
                  <a:ext uri="{FF2B5EF4-FFF2-40B4-BE49-F238E27FC236}">
                    <a16:creationId xmlns:a16="http://schemas.microsoft.com/office/drawing/2014/main" id="{C1AC33D9-4B39-4ACE-B798-65E367BC3685}"/>
                  </a:ext>
                </a:extLst>
              </p:cNvPr>
              <p:cNvSpPr>
                <a:spLocks noChangeAspect="1"/>
              </p:cNvSpPr>
              <p:nvPr/>
            </p:nvSpPr>
            <p:spPr bwMode="auto">
              <a:xfrm>
                <a:off x="4564" y="2497"/>
                <a:ext cx="928" cy="1353"/>
              </a:xfrm>
              <a:custGeom>
                <a:avLst/>
                <a:gdLst>
                  <a:gd name="T0" fmla="*/ 155477304 w 393"/>
                  <a:gd name="T1" fmla="*/ 32833468 h 573"/>
                  <a:gd name="T2" fmla="*/ 155477304 w 393"/>
                  <a:gd name="T3" fmla="*/ 213867255 h 573"/>
                  <a:gd name="T4" fmla="*/ 142780335 w 393"/>
                  <a:gd name="T5" fmla="*/ 226627195 h 573"/>
                  <a:gd name="T6" fmla="*/ 12713416 w 393"/>
                  <a:gd name="T7" fmla="*/ 226627195 h 573"/>
                  <a:gd name="T8" fmla="*/ 0 w 393"/>
                  <a:gd name="T9" fmla="*/ 213867255 h 573"/>
                  <a:gd name="T10" fmla="*/ 0 w 393"/>
                  <a:gd name="T11" fmla="*/ 12709704 h 573"/>
                  <a:gd name="T12" fmla="*/ 12713416 w 393"/>
                  <a:gd name="T13" fmla="*/ 0 h 573"/>
                  <a:gd name="T14" fmla="*/ 142780335 w 393"/>
                  <a:gd name="T15" fmla="*/ 0 h 573"/>
                  <a:gd name="T16" fmla="*/ 155477304 w 393"/>
                  <a:gd name="T17" fmla="*/ 12709704 h 573"/>
                  <a:gd name="T18" fmla="*/ 155477304 w 393"/>
                  <a:gd name="T19" fmla="*/ 20064886 h 5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3"/>
                  <a:gd name="T31" fmla="*/ 0 h 573"/>
                  <a:gd name="T32" fmla="*/ 393 w 393"/>
                  <a:gd name="T33" fmla="*/ 573 h 5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3" h="573">
                    <a:moveTo>
                      <a:pt x="393" y="83"/>
                    </a:moveTo>
                    <a:cubicBezTo>
                      <a:pt x="393" y="541"/>
                      <a:pt x="393" y="541"/>
                      <a:pt x="393" y="541"/>
                    </a:cubicBezTo>
                    <a:cubicBezTo>
                      <a:pt x="393" y="559"/>
                      <a:pt x="379" y="573"/>
                      <a:pt x="361" y="573"/>
                    </a:cubicBezTo>
                    <a:cubicBezTo>
                      <a:pt x="32" y="573"/>
                      <a:pt x="32" y="573"/>
                      <a:pt x="32" y="573"/>
                    </a:cubicBezTo>
                    <a:cubicBezTo>
                      <a:pt x="14" y="573"/>
                      <a:pt x="0" y="559"/>
                      <a:pt x="0" y="541"/>
                    </a:cubicBezTo>
                    <a:cubicBezTo>
                      <a:pt x="0" y="32"/>
                      <a:pt x="0" y="32"/>
                      <a:pt x="0" y="32"/>
                    </a:cubicBezTo>
                    <a:cubicBezTo>
                      <a:pt x="0" y="14"/>
                      <a:pt x="14" y="0"/>
                      <a:pt x="32" y="0"/>
                    </a:cubicBezTo>
                    <a:cubicBezTo>
                      <a:pt x="361" y="0"/>
                      <a:pt x="361" y="0"/>
                      <a:pt x="361" y="0"/>
                    </a:cubicBezTo>
                    <a:cubicBezTo>
                      <a:pt x="379" y="0"/>
                      <a:pt x="393" y="14"/>
                      <a:pt x="393" y="32"/>
                    </a:cubicBezTo>
                    <a:cubicBezTo>
                      <a:pt x="393" y="51"/>
                      <a:pt x="393" y="51"/>
                      <a:pt x="393" y="5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a:p>
            </p:txBody>
          </p:sp>
          <p:sp>
            <p:nvSpPr>
              <p:cNvPr id="92" name="Freeform 41">
                <a:extLst>
                  <a:ext uri="{FF2B5EF4-FFF2-40B4-BE49-F238E27FC236}">
                    <a16:creationId xmlns:a16="http://schemas.microsoft.com/office/drawing/2014/main" id="{A310B033-A029-40D5-8E5B-122477BAC398}"/>
                  </a:ext>
                </a:extLst>
              </p:cNvPr>
              <p:cNvSpPr>
                <a:spLocks noChangeAspect="1" noEditPoints="1"/>
              </p:cNvSpPr>
              <p:nvPr/>
            </p:nvSpPr>
            <p:spPr bwMode="auto">
              <a:xfrm>
                <a:off x="4545" y="2478"/>
                <a:ext cx="966" cy="1391"/>
              </a:xfrm>
              <a:custGeom>
                <a:avLst/>
                <a:gdLst>
                  <a:gd name="T0" fmla="*/ 162410982 w 409"/>
                  <a:gd name="T1" fmla="*/ 23323976 h 589"/>
                  <a:gd name="T2" fmla="*/ 146593937 w 409"/>
                  <a:gd name="T3" fmla="*/ 0 h 589"/>
                  <a:gd name="T4" fmla="*/ 0 w 409"/>
                  <a:gd name="T5" fmla="*/ 15762989 h 589"/>
                  <a:gd name="T6" fmla="*/ 15794570 w 409"/>
                  <a:gd name="T7" fmla="*/ 233510122 h 589"/>
                  <a:gd name="T8" fmla="*/ 162410982 w 409"/>
                  <a:gd name="T9" fmla="*/ 217729586 h 589"/>
                  <a:gd name="T10" fmla="*/ 159195943 w 409"/>
                  <a:gd name="T11" fmla="*/ 32891532 h 589"/>
                  <a:gd name="T12" fmla="*/ 155993742 w 409"/>
                  <a:gd name="T13" fmla="*/ 217729586 h 589"/>
                  <a:gd name="T14" fmla="*/ 15794570 w 409"/>
                  <a:gd name="T15" fmla="*/ 227087625 h 589"/>
                  <a:gd name="T16" fmla="*/ 6417240 w 409"/>
                  <a:gd name="T17" fmla="*/ 15762989 h 589"/>
                  <a:gd name="T18" fmla="*/ 146593937 w 409"/>
                  <a:gd name="T19" fmla="*/ 6412524 h 589"/>
                  <a:gd name="T20" fmla="*/ 155993742 w 409"/>
                  <a:gd name="T21" fmla="*/ 23323976 h 589"/>
                  <a:gd name="T22" fmla="*/ 31730540 w 409"/>
                  <a:gd name="T23" fmla="*/ 125752023 h 589"/>
                  <a:gd name="T24" fmla="*/ 81000418 w 409"/>
                  <a:gd name="T25" fmla="*/ 132798796 h 589"/>
                  <a:gd name="T26" fmla="*/ 126526779 w 409"/>
                  <a:gd name="T27" fmla="*/ 127586301 h 589"/>
                  <a:gd name="T28" fmla="*/ 132674280 w 409"/>
                  <a:gd name="T29" fmla="*/ 121686810 h 589"/>
                  <a:gd name="T30" fmla="*/ 132674280 w 409"/>
                  <a:gd name="T31" fmla="*/ 41294114 h 589"/>
                  <a:gd name="T32" fmla="*/ 123064026 w 409"/>
                  <a:gd name="T33" fmla="*/ 34041286 h 589"/>
                  <a:gd name="T34" fmla="*/ 46400213 w 409"/>
                  <a:gd name="T35" fmla="*/ 32562561 h 589"/>
                  <a:gd name="T36" fmla="*/ 31730540 w 409"/>
                  <a:gd name="T37" fmla="*/ 37226346 h 589"/>
                  <a:gd name="T38" fmla="*/ 29736862 w 409"/>
                  <a:gd name="T39" fmla="*/ 41650113 h 589"/>
                  <a:gd name="T40" fmla="*/ 31730540 w 409"/>
                  <a:gd name="T41" fmla="*/ 125752023 h 589"/>
                  <a:gd name="T42" fmla="*/ 81000418 w 409"/>
                  <a:gd name="T43" fmla="*/ 36383527 h 589"/>
                  <a:gd name="T44" fmla="*/ 124175918 w 409"/>
                  <a:gd name="T45" fmla="*/ 41294114 h 589"/>
                  <a:gd name="T46" fmla="*/ 121561485 w 409"/>
                  <a:gd name="T47" fmla="*/ 42795983 h 589"/>
                  <a:gd name="T48" fmla="*/ 47550592 w 409"/>
                  <a:gd name="T49" fmla="*/ 44009185 h 589"/>
                  <a:gd name="T50" fmla="*/ 37304535 w 409"/>
                  <a:gd name="T51" fmla="*/ 41650113 h 589"/>
                  <a:gd name="T52" fmla="*/ 36159014 w 409"/>
                  <a:gd name="T53" fmla="*/ 47971530 h 589"/>
                  <a:gd name="T54" fmla="*/ 81000418 w 409"/>
                  <a:gd name="T55" fmla="*/ 52736164 h 589"/>
                  <a:gd name="T56" fmla="*/ 126257036 w 409"/>
                  <a:gd name="T57" fmla="*/ 47971530 h 589"/>
                  <a:gd name="T58" fmla="*/ 121561485 w 409"/>
                  <a:gd name="T59" fmla="*/ 122895544 h 589"/>
                  <a:gd name="T60" fmla="*/ 47550592 w 409"/>
                  <a:gd name="T61" fmla="*/ 124028397 h 589"/>
                  <a:gd name="T62" fmla="*/ 36159014 w 409"/>
                  <a:gd name="T63" fmla="*/ 120845241 h 58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09"/>
                  <a:gd name="T97" fmla="*/ 0 h 589"/>
                  <a:gd name="T98" fmla="*/ 409 w 409"/>
                  <a:gd name="T99" fmla="*/ 589 h 58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09" h="589">
                    <a:moveTo>
                      <a:pt x="401" y="67"/>
                    </a:moveTo>
                    <a:cubicBezTo>
                      <a:pt x="405" y="67"/>
                      <a:pt x="409" y="64"/>
                      <a:pt x="409" y="59"/>
                    </a:cubicBezTo>
                    <a:cubicBezTo>
                      <a:pt x="409" y="40"/>
                      <a:pt x="409" y="40"/>
                      <a:pt x="409" y="40"/>
                    </a:cubicBezTo>
                    <a:cubicBezTo>
                      <a:pt x="409" y="18"/>
                      <a:pt x="391"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1" y="589"/>
                      <a:pt x="409" y="571"/>
                      <a:pt x="409" y="549"/>
                    </a:cubicBezTo>
                    <a:cubicBezTo>
                      <a:pt x="409" y="91"/>
                      <a:pt x="409" y="91"/>
                      <a:pt x="409" y="91"/>
                    </a:cubicBezTo>
                    <a:cubicBezTo>
                      <a:pt x="409" y="87"/>
                      <a:pt x="405" y="83"/>
                      <a:pt x="401" y="83"/>
                    </a:cubicBezTo>
                    <a:cubicBezTo>
                      <a:pt x="397" y="83"/>
                      <a:pt x="393" y="87"/>
                      <a:pt x="393" y="91"/>
                    </a:cubicBezTo>
                    <a:cubicBezTo>
                      <a:pt x="393" y="549"/>
                      <a:pt x="393" y="549"/>
                      <a:pt x="393" y="549"/>
                    </a:cubicBezTo>
                    <a:cubicBezTo>
                      <a:pt x="393" y="562"/>
                      <a:pt x="382" y="573"/>
                      <a:pt x="369" y="573"/>
                    </a:cubicBezTo>
                    <a:cubicBezTo>
                      <a:pt x="40" y="573"/>
                      <a:pt x="40" y="573"/>
                      <a:pt x="40" y="573"/>
                    </a:cubicBezTo>
                    <a:cubicBezTo>
                      <a:pt x="26" y="573"/>
                      <a:pt x="16" y="562"/>
                      <a:pt x="16" y="549"/>
                    </a:cubicBezTo>
                    <a:cubicBezTo>
                      <a:pt x="16" y="40"/>
                      <a:pt x="16" y="40"/>
                      <a:pt x="16" y="40"/>
                    </a:cubicBezTo>
                    <a:cubicBezTo>
                      <a:pt x="16" y="27"/>
                      <a:pt x="26" y="16"/>
                      <a:pt x="40" y="16"/>
                    </a:cubicBezTo>
                    <a:cubicBezTo>
                      <a:pt x="369" y="16"/>
                      <a:pt x="369" y="16"/>
                      <a:pt x="369" y="16"/>
                    </a:cubicBezTo>
                    <a:cubicBezTo>
                      <a:pt x="382" y="16"/>
                      <a:pt x="393" y="27"/>
                      <a:pt x="393" y="40"/>
                    </a:cubicBezTo>
                    <a:cubicBezTo>
                      <a:pt x="393" y="59"/>
                      <a:pt x="393" y="59"/>
                      <a:pt x="393" y="59"/>
                    </a:cubicBezTo>
                    <a:cubicBezTo>
                      <a:pt x="393" y="64"/>
                      <a:pt x="397" y="67"/>
                      <a:pt x="401" y="67"/>
                    </a:cubicBezTo>
                    <a:close/>
                    <a:moveTo>
                      <a:pt x="80" y="317"/>
                    </a:moveTo>
                    <a:cubicBezTo>
                      <a:pt x="85" y="321"/>
                      <a:pt x="91" y="323"/>
                      <a:pt x="98" y="325"/>
                    </a:cubicBezTo>
                    <a:cubicBezTo>
                      <a:pt x="121" y="331"/>
                      <a:pt x="160" y="335"/>
                      <a:pt x="204" y="335"/>
                    </a:cubicBezTo>
                    <a:cubicBezTo>
                      <a:pt x="238" y="335"/>
                      <a:pt x="269" y="333"/>
                      <a:pt x="292" y="329"/>
                    </a:cubicBezTo>
                    <a:cubicBezTo>
                      <a:pt x="303" y="327"/>
                      <a:pt x="312" y="325"/>
                      <a:pt x="319" y="322"/>
                    </a:cubicBezTo>
                    <a:cubicBezTo>
                      <a:pt x="323" y="321"/>
                      <a:pt x="326" y="319"/>
                      <a:pt x="328" y="317"/>
                    </a:cubicBezTo>
                    <a:cubicBezTo>
                      <a:pt x="331" y="315"/>
                      <a:pt x="334" y="311"/>
                      <a:pt x="334" y="307"/>
                    </a:cubicBezTo>
                    <a:cubicBezTo>
                      <a:pt x="334" y="105"/>
                      <a:pt x="334" y="105"/>
                      <a:pt x="334" y="105"/>
                    </a:cubicBezTo>
                    <a:cubicBezTo>
                      <a:pt x="334" y="105"/>
                      <a:pt x="334" y="104"/>
                      <a:pt x="334" y="104"/>
                    </a:cubicBezTo>
                    <a:cubicBezTo>
                      <a:pt x="334" y="100"/>
                      <a:pt x="331" y="96"/>
                      <a:pt x="328" y="94"/>
                    </a:cubicBezTo>
                    <a:cubicBezTo>
                      <a:pt x="324" y="91"/>
                      <a:pt x="318" y="88"/>
                      <a:pt x="310" y="86"/>
                    </a:cubicBezTo>
                    <a:cubicBezTo>
                      <a:pt x="288" y="80"/>
                      <a:pt x="249" y="76"/>
                      <a:pt x="204" y="76"/>
                    </a:cubicBezTo>
                    <a:cubicBezTo>
                      <a:pt x="171" y="76"/>
                      <a:pt x="140" y="78"/>
                      <a:pt x="117" y="82"/>
                    </a:cubicBezTo>
                    <a:cubicBezTo>
                      <a:pt x="106" y="84"/>
                      <a:pt x="97" y="86"/>
                      <a:pt x="90" y="89"/>
                    </a:cubicBezTo>
                    <a:cubicBezTo>
                      <a:pt x="86" y="91"/>
                      <a:pt x="83" y="92"/>
                      <a:pt x="80" y="94"/>
                    </a:cubicBezTo>
                    <a:cubicBezTo>
                      <a:pt x="78" y="96"/>
                      <a:pt x="75" y="100"/>
                      <a:pt x="75" y="105"/>
                    </a:cubicBezTo>
                    <a:cubicBezTo>
                      <a:pt x="75" y="105"/>
                      <a:pt x="75" y="105"/>
                      <a:pt x="75" y="105"/>
                    </a:cubicBezTo>
                    <a:cubicBezTo>
                      <a:pt x="75" y="307"/>
                      <a:pt x="75" y="307"/>
                      <a:pt x="75" y="307"/>
                    </a:cubicBezTo>
                    <a:cubicBezTo>
                      <a:pt x="75" y="311"/>
                      <a:pt x="78" y="315"/>
                      <a:pt x="80" y="317"/>
                    </a:cubicBezTo>
                    <a:close/>
                    <a:moveTo>
                      <a:pt x="103" y="102"/>
                    </a:moveTo>
                    <a:cubicBezTo>
                      <a:pt x="122" y="96"/>
                      <a:pt x="161" y="92"/>
                      <a:pt x="204" y="92"/>
                    </a:cubicBezTo>
                    <a:cubicBezTo>
                      <a:pt x="238" y="92"/>
                      <a:pt x="268" y="94"/>
                      <a:pt x="289" y="98"/>
                    </a:cubicBezTo>
                    <a:cubicBezTo>
                      <a:pt x="299" y="100"/>
                      <a:pt x="308" y="102"/>
                      <a:pt x="313" y="104"/>
                    </a:cubicBezTo>
                    <a:cubicBezTo>
                      <a:pt x="314" y="104"/>
                      <a:pt x="314" y="104"/>
                      <a:pt x="315" y="105"/>
                    </a:cubicBezTo>
                    <a:cubicBezTo>
                      <a:pt x="313" y="106"/>
                      <a:pt x="310" y="107"/>
                      <a:pt x="306" y="108"/>
                    </a:cubicBezTo>
                    <a:cubicBezTo>
                      <a:pt x="286" y="113"/>
                      <a:pt x="248" y="117"/>
                      <a:pt x="204" y="117"/>
                    </a:cubicBezTo>
                    <a:cubicBezTo>
                      <a:pt x="171" y="117"/>
                      <a:pt x="141" y="115"/>
                      <a:pt x="120" y="111"/>
                    </a:cubicBezTo>
                    <a:cubicBezTo>
                      <a:pt x="109" y="110"/>
                      <a:pt x="101" y="107"/>
                      <a:pt x="96" y="105"/>
                    </a:cubicBezTo>
                    <a:cubicBezTo>
                      <a:pt x="95" y="105"/>
                      <a:pt x="95" y="105"/>
                      <a:pt x="94" y="105"/>
                    </a:cubicBezTo>
                    <a:cubicBezTo>
                      <a:pt x="96" y="104"/>
                      <a:pt x="99" y="103"/>
                      <a:pt x="103" y="102"/>
                    </a:cubicBezTo>
                    <a:close/>
                    <a:moveTo>
                      <a:pt x="91" y="121"/>
                    </a:moveTo>
                    <a:cubicBezTo>
                      <a:pt x="93" y="121"/>
                      <a:pt x="96" y="122"/>
                      <a:pt x="98" y="123"/>
                    </a:cubicBezTo>
                    <a:cubicBezTo>
                      <a:pt x="121" y="129"/>
                      <a:pt x="160" y="133"/>
                      <a:pt x="204" y="133"/>
                    </a:cubicBezTo>
                    <a:cubicBezTo>
                      <a:pt x="238" y="133"/>
                      <a:pt x="269" y="131"/>
                      <a:pt x="292" y="127"/>
                    </a:cubicBezTo>
                    <a:cubicBezTo>
                      <a:pt x="302" y="125"/>
                      <a:pt x="311" y="123"/>
                      <a:pt x="318" y="121"/>
                    </a:cubicBezTo>
                    <a:cubicBezTo>
                      <a:pt x="318" y="305"/>
                      <a:pt x="318" y="305"/>
                      <a:pt x="318" y="305"/>
                    </a:cubicBezTo>
                    <a:cubicBezTo>
                      <a:pt x="316" y="306"/>
                      <a:pt x="312" y="308"/>
                      <a:pt x="306" y="310"/>
                    </a:cubicBezTo>
                    <a:cubicBezTo>
                      <a:pt x="286" y="315"/>
                      <a:pt x="248" y="319"/>
                      <a:pt x="204" y="319"/>
                    </a:cubicBezTo>
                    <a:cubicBezTo>
                      <a:pt x="171" y="319"/>
                      <a:pt x="141" y="317"/>
                      <a:pt x="120" y="313"/>
                    </a:cubicBezTo>
                    <a:cubicBezTo>
                      <a:pt x="109" y="312"/>
                      <a:pt x="101" y="309"/>
                      <a:pt x="96" y="307"/>
                    </a:cubicBezTo>
                    <a:cubicBezTo>
                      <a:pt x="93" y="306"/>
                      <a:pt x="92" y="306"/>
                      <a:pt x="91" y="305"/>
                    </a:cubicBezTo>
                    <a:lnTo>
                      <a:pt x="91" y="121"/>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endParaRPr lang="en-US"/>
              </a:p>
            </p:txBody>
          </p:sp>
          <p:sp>
            <p:nvSpPr>
              <p:cNvPr id="93" name="Text Box 52">
                <a:extLst>
                  <a:ext uri="{FF2B5EF4-FFF2-40B4-BE49-F238E27FC236}">
                    <a16:creationId xmlns:a16="http://schemas.microsoft.com/office/drawing/2014/main" id="{482B4FCD-29FB-4F03-BAEF-665959A96E58}"/>
                  </a:ext>
                </a:extLst>
              </p:cNvPr>
              <p:cNvSpPr txBox="1">
                <a:spLocks noChangeAspect="1" noChangeArrowheads="1"/>
              </p:cNvSpPr>
              <p:nvPr/>
            </p:nvSpPr>
            <p:spPr bwMode="auto">
              <a:xfrm>
                <a:off x="4620" y="3272"/>
                <a:ext cx="816" cy="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spAutoFit/>
              </a:bodyP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lnSpc>
                    <a:spcPct val="80000"/>
                  </a:lnSpc>
                  <a:spcBef>
                    <a:spcPct val="0"/>
                  </a:spcBef>
                  <a:buClrTx/>
                  <a:buFontTx/>
                  <a:buNone/>
                </a:pPr>
                <a:r>
                  <a:rPr lang="en-US" altLang="en-US" sz="800">
                    <a:solidFill>
                      <a:schemeClr val="tx2"/>
                    </a:solidFill>
                    <a:ea typeface="MS PGothic" panose="020B0600070205080204" pitchFamily="34" charset="-128"/>
                  </a:rPr>
                  <a:t>Slicing Routing DB</a:t>
                </a:r>
              </a:p>
            </p:txBody>
          </p:sp>
        </p:grpSp>
        <p:sp>
          <p:nvSpPr>
            <p:cNvPr id="90" name="Rectangle 89">
              <a:extLst>
                <a:ext uri="{FF2B5EF4-FFF2-40B4-BE49-F238E27FC236}">
                  <a16:creationId xmlns:a16="http://schemas.microsoft.com/office/drawing/2014/main" id="{1A21AA59-D980-4CD6-B1F1-58887DECEF49}"/>
                </a:ext>
              </a:extLst>
            </p:cNvPr>
            <p:cNvSpPr>
              <a:spLocks noChangeAspect="1" noChangeArrowheads="1"/>
            </p:cNvSpPr>
            <p:nvPr/>
          </p:nvSpPr>
          <p:spPr bwMode="auto">
            <a:xfrm>
              <a:off x="4631" y="2458"/>
              <a:ext cx="969" cy="1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nchor="ctr"/>
            <a:lstStyle>
              <a:defPPr>
                <a:defRPr lang="en-US"/>
              </a:defPPr>
              <a:lvl1pPr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algn="ctr" eaLnBrk="1" hangingPunct="1">
                <a:spcBef>
                  <a:spcPct val="0"/>
                </a:spcBef>
                <a:buClrTx/>
                <a:buFontTx/>
                <a:buNone/>
              </a:pPr>
              <a:endParaRPr lang="sv-SE" altLang="en-US" sz="2000">
                <a:ea typeface="MS PGothic" panose="020B0600070205080204" pitchFamily="34" charset="-128"/>
              </a:endParaRPr>
            </a:p>
          </p:txBody>
        </p:sp>
      </p:grpSp>
      <p:cxnSp>
        <p:nvCxnSpPr>
          <p:cNvPr id="94" name="Connector: Elbow 106">
            <a:extLst>
              <a:ext uri="{FF2B5EF4-FFF2-40B4-BE49-F238E27FC236}">
                <a16:creationId xmlns:a16="http://schemas.microsoft.com/office/drawing/2014/main" id="{4322ED52-C1AA-4DA2-875E-269C102FCA1C}"/>
              </a:ext>
            </a:extLst>
          </p:cNvPr>
          <p:cNvCxnSpPr>
            <a:cxnSpLocks/>
            <a:stCxn id="93" idx="1"/>
          </p:cNvCxnSpPr>
          <p:nvPr/>
        </p:nvCxnSpPr>
        <p:spPr bwMode="auto">
          <a:xfrm rot="10800000">
            <a:off x="6428551" y="3142912"/>
            <a:ext cx="1271649" cy="326328"/>
          </a:xfrm>
          <a:prstGeom prst="bentConnector3">
            <a:avLst>
              <a:gd name="adj1" fmla="val 50000"/>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5" name="TextBox 94">
            <a:extLst>
              <a:ext uri="{FF2B5EF4-FFF2-40B4-BE49-F238E27FC236}">
                <a16:creationId xmlns:a16="http://schemas.microsoft.com/office/drawing/2014/main" id="{AC8FAE0B-872A-45A5-B408-229EE6288477}"/>
              </a:ext>
            </a:extLst>
          </p:cNvPr>
          <p:cNvSpPr txBox="1"/>
          <p:nvPr/>
        </p:nvSpPr>
        <p:spPr>
          <a:xfrm>
            <a:off x="9499286" y="3008633"/>
            <a:ext cx="2292853" cy="600164"/>
          </a:xfrm>
          <a:prstGeom prst="rect">
            <a:avLst/>
          </a:prstGeom>
          <a:solidFill>
            <a:schemeClr val="accent4"/>
          </a:solidFill>
          <a:ln>
            <a:solidFill>
              <a:schemeClr val="accent2"/>
            </a:solidFill>
          </a:ln>
        </p:spPr>
        <p:txBody>
          <a:bodyPr wrap="square" rtlCol="0">
            <a:spAutoFit/>
          </a:bodyPr>
          <a:lstStyle>
            <a:defPPr>
              <a:defRPr lang="en-GB"/>
            </a:defPPr>
            <a:lvl1pPr>
              <a:spcBef>
                <a:spcPts val="0"/>
              </a:spcBef>
              <a:defRPr sz="1050">
                <a:solidFill>
                  <a:schemeClr val="tx2"/>
                </a:solidFill>
              </a:defRPr>
            </a:lvl1pPr>
          </a:lstStyle>
          <a:p>
            <a:pPr algn="l"/>
            <a:r>
              <a:rPr lang="en-US" sz="1200"/>
              <a:t>Support for </a:t>
            </a:r>
          </a:p>
          <a:p>
            <a:pPr marL="90488" indent="-90488" algn="l">
              <a:buFont typeface="Arial" panose="020B0604020202020204" pitchFamily="34" charset="0"/>
              <a:buChar char="•"/>
            </a:pPr>
            <a:r>
              <a:rPr lang="en-US" sz="1000"/>
              <a:t>NW Slicing of Subscriptions</a:t>
            </a:r>
          </a:p>
          <a:p>
            <a:pPr marL="90488" indent="-90488" algn="l">
              <a:buFont typeface="Arial" panose="020B0604020202020204" pitchFamily="34" charset="0"/>
              <a:buChar char="•"/>
            </a:pPr>
            <a:r>
              <a:rPr lang="en-US" sz="1000"/>
              <a:t>Automated Provisioning</a:t>
            </a:r>
          </a:p>
        </p:txBody>
      </p:sp>
      <p:cxnSp>
        <p:nvCxnSpPr>
          <p:cNvPr id="96" name="Straight Connector 95">
            <a:extLst>
              <a:ext uri="{FF2B5EF4-FFF2-40B4-BE49-F238E27FC236}">
                <a16:creationId xmlns:a16="http://schemas.microsoft.com/office/drawing/2014/main" id="{41133639-AA47-4BF2-8BA1-198578FA3843}"/>
              </a:ext>
            </a:extLst>
          </p:cNvPr>
          <p:cNvCxnSpPr>
            <a:cxnSpLocks/>
            <a:stCxn id="95" idx="1"/>
            <a:endCxn id="90" idx="3"/>
          </p:cNvCxnSpPr>
          <p:nvPr/>
        </p:nvCxnSpPr>
        <p:spPr bwMode="auto">
          <a:xfrm flipH="1" flipV="1">
            <a:off x="8194107" y="3262101"/>
            <a:ext cx="1305179" cy="46614"/>
          </a:xfrm>
          <a:prstGeom prst="line">
            <a:avLst/>
          </a:prstGeom>
          <a:solidFill>
            <a:schemeClr val="accent1"/>
          </a:solidFill>
          <a:ln w="12700" cap="flat" cmpd="sng" algn="ctr">
            <a:solidFill>
              <a:schemeClr val="accent6"/>
            </a:solidFill>
            <a:prstDash val="solid"/>
            <a:round/>
            <a:headEnd type="none" w="med" len="med"/>
            <a:tailEnd type="none" w="med" len="med"/>
          </a:ln>
          <a:effectLst>
            <a:glow rad="63500">
              <a:schemeClr val="bg1">
                <a:alpha val="33000"/>
              </a:schemeClr>
            </a:glow>
          </a:effectLst>
        </p:spPr>
      </p:cxnSp>
      <p:sp>
        <p:nvSpPr>
          <p:cNvPr id="97" name="TextBox 96">
            <a:extLst>
              <a:ext uri="{FF2B5EF4-FFF2-40B4-BE49-F238E27FC236}">
                <a16:creationId xmlns:a16="http://schemas.microsoft.com/office/drawing/2014/main" id="{DC1D85B1-FFBF-4A52-A4AF-935D8502594E}"/>
              </a:ext>
            </a:extLst>
          </p:cNvPr>
          <p:cNvSpPr txBox="1"/>
          <p:nvPr/>
        </p:nvSpPr>
        <p:spPr>
          <a:xfrm>
            <a:off x="7544510" y="3837843"/>
            <a:ext cx="2347863" cy="738664"/>
          </a:xfrm>
          <a:prstGeom prst="rect">
            <a:avLst/>
          </a:prstGeom>
          <a:solidFill>
            <a:schemeClr val="accent4"/>
          </a:solidFill>
          <a:ln>
            <a:solidFill>
              <a:schemeClr val="accent2"/>
            </a:solidFill>
          </a:ln>
        </p:spPr>
        <p:txBody>
          <a:bodyPr wrap="square" rtlCol="0">
            <a:spAutoFit/>
          </a:bodyPr>
          <a:lstStyle>
            <a:defPPr>
              <a:defRPr lang="en-GB"/>
            </a:defPPr>
            <a:lvl1pPr>
              <a:spcBef>
                <a:spcPts val="0"/>
              </a:spcBef>
              <a:defRPr sz="1050">
                <a:solidFill>
                  <a:schemeClr val="tx2"/>
                </a:solidFill>
              </a:defRPr>
            </a:lvl1pPr>
          </a:lstStyle>
          <a:p>
            <a:pPr algn="l"/>
            <a:r>
              <a:rPr lang="en-US" sz="1200"/>
              <a:t>Support for  </a:t>
            </a:r>
          </a:p>
          <a:p>
            <a:pPr marL="90488" indent="-90488" algn="l">
              <a:buFont typeface="Arial" panose="020B0604020202020204" pitchFamily="34" charset="0"/>
              <a:buChar char="•"/>
            </a:pPr>
            <a:r>
              <a:rPr lang="en-US" sz="1000"/>
              <a:t>Policy Control on LTE/NR access</a:t>
            </a:r>
          </a:p>
          <a:p>
            <a:pPr marL="90488" indent="-90488" algn="l">
              <a:buFont typeface="Arial" panose="020B0604020202020204" pitchFamily="34" charset="0"/>
              <a:buChar char="•"/>
            </a:pPr>
            <a:r>
              <a:rPr lang="en-US" sz="1000" err="1"/>
              <a:t>QoS</a:t>
            </a:r>
            <a:r>
              <a:rPr lang="en-US" sz="1000"/>
              <a:t> data rates control</a:t>
            </a:r>
          </a:p>
          <a:p>
            <a:pPr marL="90488" indent="-90488" algn="l">
              <a:buFont typeface="Arial" panose="020B0604020202020204" pitchFamily="34" charset="0"/>
              <a:buChar char="•"/>
            </a:pPr>
            <a:r>
              <a:rPr lang="en-US" sz="1000"/>
              <a:t>LTE/NR mobility based policy</a:t>
            </a:r>
          </a:p>
        </p:txBody>
      </p:sp>
      <p:cxnSp>
        <p:nvCxnSpPr>
          <p:cNvPr id="98" name="Straight Connector 97">
            <a:extLst>
              <a:ext uri="{FF2B5EF4-FFF2-40B4-BE49-F238E27FC236}">
                <a16:creationId xmlns:a16="http://schemas.microsoft.com/office/drawing/2014/main" id="{52BA984C-4003-4290-BE8A-D0AB0D939750}"/>
              </a:ext>
            </a:extLst>
          </p:cNvPr>
          <p:cNvCxnSpPr>
            <a:cxnSpLocks/>
          </p:cNvCxnSpPr>
          <p:nvPr/>
        </p:nvCxnSpPr>
        <p:spPr bwMode="auto">
          <a:xfrm flipH="1" flipV="1">
            <a:off x="7069994" y="3952113"/>
            <a:ext cx="400597" cy="165180"/>
          </a:xfrm>
          <a:prstGeom prst="line">
            <a:avLst/>
          </a:prstGeom>
          <a:solidFill>
            <a:schemeClr val="accent1"/>
          </a:solidFill>
          <a:ln w="12700" cap="flat" cmpd="sng" algn="ctr">
            <a:solidFill>
              <a:schemeClr val="accent6"/>
            </a:solidFill>
            <a:prstDash val="solid"/>
            <a:round/>
            <a:headEnd type="none" w="med" len="med"/>
            <a:tailEnd type="none" w="med" len="med"/>
          </a:ln>
          <a:effectLst>
            <a:glow rad="63500">
              <a:schemeClr val="bg1">
                <a:alpha val="33000"/>
              </a:schemeClr>
            </a:glow>
          </a:effectLst>
        </p:spPr>
      </p:cxnSp>
      <p:cxnSp>
        <p:nvCxnSpPr>
          <p:cNvPr id="99" name="Connector: Elbow 105">
            <a:extLst>
              <a:ext uri="{FF2B5EF4-FFF2-40B4-BE49-F238E27FC236}">
                <a16:creationId xmlns:a16="http://schemas.microsoft.com/office/drawing/2014/main" id="{BC64C2A2-C331-48E5-BF1F-FE21CD05162A}"/>
              </a:ext>
            </a:extLst>
          </p:cNvPr>
          <p:cNvCxnSpPr>
            <a:cxnSpLocks/>
            <a:stCxn id="31" idx="3"/>
            <a:endCxn id="4" idx="6"/>
          </p:cNvCxnSpPr>
          <p:nvPr/>
        </p:nvCxnSpPr>
        <p:spPr bwMode="auto">
          <a:xfrm rot="10800000" flipV="1">
            <a:off x="5942186" y="3855170"/>
            <a:ext cx="567827" cy="764200"/>
          </a:xfrm>
          <a:prstGeom prst="bentConnector3">
            <a:avLst>
              <a:gd name="adj1" fmla="val 50000"/>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0122980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996B68-C352-4858-BA20-7B610E74E100}"/>
              </a:ext>
            </a:extLst>
          </p:cNvPr>
          <p:cNvSpPr>
            <a:spLocks noGrp="1"/>
          </p:cNvSpPr>
          <p:nvPr>
            <p:ph type="title"/>
          </p:nvPr>
        </p:nvSpPr>
        <p:spPr/>
        <p:txBody>
          <a:bodyPr/>
          <a:lstStyle/>
          <a:p>
            <a:r>
              <a:rPr lang="sv-SE" dirty="0" smtClean="0"/>
              <a:t>5G and IoT</a:t>
            </a:r>
            <a:endParaRPr lang="sv-SE" dirty="0"/>
          </a:p>
        </p:txBody>
      </p:sp>
      <p:sp>
        <p:nvSpPr>
          <p:cNvPr id="69" name="Freeform 20">
            <a:extLst>
              <a:ext uri="{FF2B5EF4-FFF2-40B4-BE49-F238E27FC236}">
                <a16:creationId xmlns:a16="http://schemas.microsoft.com/office/drawing/2014/main" id="{D863509A-2674-4EF6-8718-B8433A1A85EB}"/>
              </a:ext>
            </a:extLst>
          </p:cNvPr>
          <p:cNvSpPr>
            <a:spLocks noChangeAspect="1"/>
          </p:cNvSpPr>
          <p:nvPr/>
        </p:nvSpPr>
        <p:spPr bwMode="auto">
          <a:xfrm>
            <a:off x="5406425" y="4842860"/>
            <a:ext cx="5897213" cy="1066926"/>
          </a:xfrm>
          <a:custGeom>
            <a:avLst/>
            <a:gdLst>
              <a:gd name="T0" fmla="*/ 2147483647 w 1467"/>
              <a:gd name="T1" fmla="*/ 2147483647 h 339"/>
              <a:gd name="T2" fmla="*/ 2147483647 w 1467"/>
              <a:gd name="T3" fmla="*/ 2147483647 h 339"/>
              <a:gd name="T4" fmla="*/ 2147483647 w 1467"/>
              <a:gd name="T5" fmla="*/ 0 h 339"/>
              <a:gd name="T6" fmla="*/ 2147483647 w 1467"/>
              <a:gd name="T7" fmla="*/ 2147483647 h 339"/>
              <a:gd name="T8" fmla="*/ 2147483647 w 1467"/>
              <a:gd name="T9" fmla="*/ 2147483647 h 339"/>
              <a:gd name="T10" fmla="*/ 0 w 1467"/>
              <a:gd name="T11" fmla="*/ 2147483647 h 339"/>
              <a:gd name="T12" fmla="*/ 0 w 1467"/>
              <a:gd name="T13" fmla="*/ 2147483647 h 339"/>
              <a:gd name="T14" fmla="*/ 2147483647 w 1467"/>
              <a:gd name="T15" fmla="*/ 2147483647 h 339"/>
              <a:gd name="T16" fmla="*/ 2147483647 w 1467"/>
              <a:gd name="T17" fmla="*/ 2147483647 h 339"/>
              <a:gd name="T18" fmla="*/ 2147483647 w 1467"/>
              <a:gd name="T19" fmla="*/ 2147483647 h 339"/>
              <a:gd name="T20" fmla="*/ 2147483647 w 1467"/>
              <a:gd name="T21" fmla="*/ 2147483647 h 339"/>
              <a:gd name="T22" fmla="*/ 2147483647 w 1467"/>
              <a:gd name="T23" fmla="*/ 2147483647 h 3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67"/>
              <a:gd name="T37" fmla="*/ 0 h 339"/>
              <a:gd name="T38" fmla="*/ 1467 w 1467"/>
              <a:gd name="T39" fmla="*/ 339 h 3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67" h="339">
                <a:moveTo>
                  <a:pt x="1446" y="95"/>
                </a:moveTo>
                <a:cubicBezTo>
                  <a:pt x="746" y="1"/>
                  <a:pt x="746" y="1"/>
                  <a:pt x="746" y="1"/>
                </a:cubicBezTo>
                <a:cubicBezTo>
                  <a:pt x="746" y="1"/>
                  <a:pt x="741" y="0"/>
                  <a:pt x="734" y="0"/>
                </a:cubicBezTo>
                <a:cubicBezTo>
                  <a:pt x="726" y="0"/>
                  <a:pt x="721" y="1"/>
                  <a:pt x="721" y="1"/>
                </a:cubicBezTo>
                <a:cubicBezTo>
                  <a:pt x="21" y="95"/>
                  <a:pt x="21" y="95"/>
                  <a:pt x="21" y="95"/>
                </a:cubicBezTo>
                <a:cubicBezTo>
                  <a:pt x="21" y="95"/>
                  <a:pt x="0" y="99"/>
                  <a:pt x="0" y="116"/>
                </a:cubicBezTo>
                <a:cubicBezTo>
                  <a:pt x="0" y="123"/>
                  <a:pt x="0" y="304"/>
                  <a:pt x="0" y="318"/>
                </a:cubicBezTo>
                <a:cubicBezTo>
                  <a:pt x="0" y="330"/>
                  <a:pt x="10" y="339"/>
                  <a:pt x="21" y="339"/>
                </a:cubicBezTo>
                <a:cubicBezTo>
                  <a:pt x="1446" y="339"/>
                  <a:pt x="1446" y="339"/>
                  <a:pt x="1446" y="339"/>
                </a:cubicBezTo>
                <a:cubicBezTo>
                  <a:pt x="1458" y="339"/>
                  <a:pt x="1467" y="330"/>
                  <a:pt x="1467" y="318"/>
                </a:cubicBezTo>
                <a:cubicBezTo>
                  <a:pt x="1467" y="303"/>
                  <a:pt x="1467" y="123"/>
                  <a:pt x="1467" y="116"/>
                </a:cubicBezTo>
                <a:cubicBezTo>
                  <a:pt x="1467" y="99"/>
                  <a:pt x="1446" y="95"/>
                  <a:pt x="1446" y="95"/>
                </a:cubicBezTo>
                <a:close/>
              </a:path>
            </a:pathLst>
          </a:custGeom>
          <a:solidFill>
            <a:srgbClr val="FFC000"/>
          </a:solidFill>
          <a:ln w="50800">
            <a:solidFill>
              <a:schemeClr val="bg1"/>
            </a:solidFill>
            <a:round/>
            <a:headEnd/>
            <a:tailEnd/>
          </a:ln>
          <a:extLst/>
        </p:spPr>
        <p:txBody>
          <a:bodyPr anchor="ctr"/>
          <a:lstStyle>
            <a:lvl1pPr eaLnBrk="0" hangingPunct="0">
              <a:spcBef>
                <a:spcPct val="20000"/>
              </a:spcBef>
              <a:buClr>
                <a:srgbClr val="00A9D4"/>
              </a:buClr>
              <a:buFont typeface="Arial" pitchFamily="34" charset="0"/>
              <a:buChar char="›"/>
              <a:defRPr sz="2400">
                <a:solidFill>
                  <a:schemeClr val="tx1"/>
                </a:solidFill>
                <a:latin typeface="Arial" pitchFamily="34" charset="0"/>
              </a:defRPr>
            </a:lvl1pPr>
            <a:lvl2pPr marL="742950" indent="-285750" eaLnBrk="0" hangingPunct="0">
              <a:spcBef>
                <a:spcPct val="20000"/>
              </a:spcBef>
              <a:buClr>
                <a:schemeClr val="tx1"/>
              </a:buClr>
              <a:buFont typeface="Ericsson Capital TT" pitchFamily="2" charset="0"/>
              <a:buChar char="–"/>
              <a:defRPr sz="2000">
                <a:solidFill>
                  <a:schemeClr val="tx1"/>
                </a:solidFill>
                <a:latin typeface="Arial" pitchFamily="34" charset="0"/>
              </a:defRPr>
            </a:lvl2pPr>
            <a:lvl3pPr marL="1143000" indent="-228600" eaLnBrk="0" hangingPunct="0">
              <a:spcBef>
                <a:spcPct val="20000"/>
              </a:spcBef>
              <a:buClr>
                <a:srgbClr val="92CCE5"/>
              </a:buClr>
              <a:buFont typeface="Ericsson Capital TT" pitchFamily="2" charset="0"/>
              <a:buChar char="›"/>
              <a:defRPr sz="2000">
                <a:solidFill>
                  <a:schemeClr val="tx1"/>
                </a:solidFill>
                <a:latin typeface="Arial" pitchFamily="34" charset="0"/>
              </a:defRPr>
            </a:lvl3pPr>
            <a:lvl4pPr marL="16002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4pPr>
            <a:lvl5pPr marL="2057400" indent="-228600" eaLnBrk="0" hangingPunct="0">
              <a:spcBef>
                <a:spcPct val="20000"/>
              </a:spcBef>
              <a:buClr>
                <a:schemeClr val="tx1"/>
              </a:buClr>
              <a:buFont typeface="Ericsson Capital TT" pitchFamily="2" charset="0"/>
              <a:buChar char="›"/>
              <a:defRPr sz="2000">
                <a:solidFill>
                  <a:schemeClr val="tx1"/>
                </a:solidFill>
                <a:latin typeface="Arial" pitchFamily="34" charset="0"/>
              </a:defRPr>
            </a:lvl5pPr>
            <a:lvl6pPr marL="25146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9718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34290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886200" indent="-228600"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50000"/>
              </a:spcBef>
              <a:buClrTx/>
              <a:buFontTx/>
              <a:buNone/>
            </a:pPr>
            <a:endParaRPr lang="en-US" altLang="en-US" sz="2000">
              <a:ea typeface="ＭＳ Ｐゴシック" pitchFamily="34" charset="-128"/>
              <a:cs typeface="ＭＳ Ｐゴシック" pitchFamily="34" charset="-128"/>
            </a:endParaRPr>
          </a:p>
        </p:txBody>
      </p:sp>
      <p:sp>
        <p:nvSpPr>
          <p:cNvPr id="70" name="Subtitle 1">
            <a:extLst>
              <a:ext uri="{FF2B5EF4-FFF2-40B4-BE49-F238E27FC236}">
                <a16:creationId xmlns:a16="http://schemas.microsoft.com/office/drawing/2014/main" id="{537825F6-68D0-4B96-92CE-66338A151C3D}"/>
              </a:ext>
            </a:extLst>
          </p:cNvPr>
          <p:cNvSpPr txBox="1">
            <a:spLocks/>
          </p:cNvSpPr>
          <p:nvPr/>
        </p:nvSpPr>
        <p:spPr>
          <a:xfrm>
            <a:off x="614133" y="3947769"/>
            <a:ext cx="3780089" cy="928940"/>
          </a:xfrm>
          <a:prstGeom prst="rect">
            <a:avLst/>
          </a:prstGeom>
        </p:spPr>
        <p:txBody>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pPr marL="0" indent="0" algn="r">
              <a:buNone/>
            </a:pPr>
            <a:r>
              <a:rPr lang="en-US" sz="2000" kern="0" cap="all" dirty="0">
                <a:latin typeface="Arial" charset="0"/>
              </a:rPr>
              <a:t>Enabling new business opportunity beyond Smartphones</a:t>
            </a:r>
            <a:endParaRPr lang="en-US" sz="2000" kern="0" cap="all" dirty="0"/>
          </a:p>
        </p:txBody>
      </p:sp>
      <p:grpSp>
        <p:nvGrpSpPr>
          <p:cNvPr id="71" name="Grupp 7">
            <a:extLst>
              <a:ext uri="{FF2B5EF4-FFF2-40B4-BE49-F238E27FC236}">
                <a16:creationId xmlns:a16="http://schemas.microsoft.com/office/drawing/2014/main" id="{BFC38EA7-7946-47F3-9AD1-C50474EEAD69}"/>
              </a:ext>
            </a:extLst>
          </p:cNvPr>
          <p:cNvGrpSpPr/>
          <p:nvPr/>
        </p:nvGrpSpPr>
        <p:grpSpPr>
          <a:xfrm>
            <a:off x="-336242" y="2021067"/>
            <a:ext cx="5418665" cy="1759016"/>
            <a:chOff x="993087" y="1338718"/>
            <a:chExt cx="5418665" cy="1759016"/>
          </a:xfrm>
        </p:grpSpPr>
        <p:sp>
          <p:nvSpPr>
            <p:cNvPr id="72" name="Title 3">
              <a:extLst>
                <a:ext uri="{FF2B5EF4-FFF2-40B4-BE49-F238E27FC236}">
                  <a16:creationId xmlns:a16="http://schemas.microsoft.com/office/drawing/2014/main" id="{30EA23E8-4E60-4933-90C9-2B9046CD5230}"/>
                </a:ext>
              </a:extLst>
            </p:cNvPr>
            <p:cNvSpPr txBox="1">
              <a:spLocks/>
            </p:cNvSpPr>
            <p:nvPr/>
          </p:nvSpPr>
          <p:spPr bwMode="auto">
            <a:xfrm>
              <a:off x="993087" y="1338718"/>
              <a:ext cx="5418665" cy="1360486"/>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lgn="ctr"/>
              <a:r>
                <a:rPr lang="en-US" kern="0" dirty="0">
                  <a:solidFill>
                    <a:srgbClr val="FFFFFF"/>
                  </a:solidFill>
                </a:rPr>
                <a:t>The INTERNET</a:t>
              </a:r>
            </a:p>
          </p:txBody>
        </p:sp>
        <p:sp>
          <p:nvSpPr>
            <p:cNvPr id="73" name="Rektangel 6">
              <a:extLst>
                <a:ext uri="{FF2B5EF4-FFF2-40B4-BE49-F238E27FC236}">
                  <a16:creationId xmlns:a16="http://schemas.microsoft.com/office/drawing/2014/main" id="{9C4C1580-32DE-405C-A635-F676DFAD3DE7}"/>
                </a:ext>
              </a:extLst>
            </p:cNvPr>
            <p:cNvSpPr/>
            <p:nvPr/>
          </p:nvSpPr>
          <p:spPr>
            <a:xfrm>
              <a:off x="1550658" y="2082071"/>
              <a:ext cx="4317207" cy="1015663"/>
            </a:xfrm>
            <a:prstGeom prst="rect">
              <a:avLst/>
            </a:prstGeom>
          </p:spPr>
          <p:txBody>
            <a:bodyPr wrap="none">
              <a:spAutoFit/>
            </a:bodyPr>
            <a:lstStyle/>
            <a:p>
              <a:pPr algn="ctr"/>
              <a:r>
                <a:rPr lang="en-US" sz="6000" kern="0" dirty="0">
                  <a:solidFill>
                    <a:srgbClr val="FFFFFF"/>
                  </a:solidFill>
                  <a:latin typeface="Ericsson Capital TT" panose="02000503000000020004" pitchFamily="2" charset="0"/>
                  <a:ea typeface="Ericsson Capital" charset="0"/>
                  <a:cs typeface="Ericsson Capital" charset="0"/>
                </a:rPr>
                <a:t>OF THINGS</a:t>
              </a:r>
            </a:p>
          </p:txBody>
        </p:sp>
      </p:grpSp>
      <p:cxnSp>
        <p:nvCxnSpPr>
          <p:cNvPr id="74" name="Rak 11">
            <a:extLst>
              <a:ext uri="{FF2B5EF4-FFF2-40B4-BE49-F238E27FC236}">
                <a16:creationId xmlns:a16="http://schemas.microsoft.com/office/drawing/2014/main" id="{B8B54EA9-CF78-4B1D-87E4-9B1722CD790E}"/>
              </a:ext>
            </a:extLst>
          </p:cNvPr>
          <p:cNvCxnSpPr/>
          <p:nvPr/>
        </p:nvCxnSpPr>
        <p:spPr bwMode="auto">
          <a:xfrm>
            <a:off x="4628792" y="2412066"/>
            <a:ext cx="0" cy="2464643"/>
          </a:xfrm>
          <a:prstGeom prst="line">
            <a:avLst/>
          </a:prstGeom>
          <a:solidFill>
            <a:schemeClr val="accent1"/>
          </a:solidFill>
          <a:ln w="12700" cap="flat" cmpd="sng" algn="ctr">
            <a:solidFill>
              <a:schemeClr val="bg1">
                <a:alpha val="60000"/>
              </a:schemeClr>
            </a:solidFill>
            <a:prstDash val="solid"/>
            <a:round/>
            <a:headEnd type="none" w="med" len="med"/>
            <a:tailEnd type="none" w="med" len="med"/>
          </a:ln>
          <a:effectLst/>
        </p:spPr>
      </p:cxnSp>
      <p:sp>
        <p:nvSpPr>
          <p:cNvPr id="75" name="Freeform 14">
            <a:extLst>
              <a:ext uri="{FF2B5EF4-FFF2-40B4-BE49-F238E27FC236}">
                <a16:creationId xmlns:a16="http://schemas.microsoft.com/office/drawing/2014/main" id="{02E39906-AEF4-47E4-82DF-D3C760C8353A}"/>
              </a:ext>
            </a:extLst>
          </p:cNvPr>
          <p:cNvSpPr>
            <a:spLocks noChangeAspect="1"/>
          </p:cNvSpPr>
          <p:nvPr/>
        </p:nvSpPr>
        <p:spPr bwMode="auto">
          <a:xfrm rot="16200000">
            <a:off x="4999995" y="2175584"/>
            <a:ext cx="1358752" cy="119467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chemeClr val="tx1"/>
          </a:solidFill>
          <a:ln w="101600">
            <a:solidFill>
              <a:schemeClr val="bg1">
                <a:alpha val="35000"/>
              </a:schemeClr>
            </a:solidFill>
            <a:round/>
            <a:headEnd/>
            <a:tailEnd/>
          </a:ln>
          <a:extLst/>
        </p:spPr>
        <p:txBody>
          <a:bodyPr lIns="0" tIns="0" anchor="ctr">
            <a:normAutofit/>
          </a:bodyPr>
          <a:lstStyle/>
          <a:p>
            <a:pPr algn="ctr">
              <a:spcBef>
                <a:spcPct val="50000"/>
              </a:spcBef>
            </a:pPr>
            <a:r>
              <a:rPr lang="en-US" dirty="0">
                <a:solidFill>
                  <a:schemeClr val="bg1"/>
                </a:solidFill>
              </a:rPr>
              <a:t> </a:t>
            </a:r>
          </a:p>
        </p:txBody>
      </p:sp>
      <p:sp>
        <p:nvSpPr>
          <p:cNvPr id="76" name="Freeform 14">
            <a:extLst>
              <a:ext uri="{FF2B5EF4-FFF2-40B4-BE49-F238E27FC236}">
                <a16:creationId xmlns:a16="http://schemas.microsoft.com/office/drawing/2014/main" id="{43E41177-20B3-4883-80A2-C2F89CB68471}"/>
              </a:ext>
            </a:extLst>
          </p:cNvPr>
          <p:cNvSpPr>
            <a:spLocks noChangeAspect="1"/>
          </p:cNvSpPr>
          <p:nvPr/>
        </p:nvSpPr>
        <p:spPr bwMode="auto">
          <a:xfrm rot="16200000">
            <a:off x="6344278" y="2175584"/>
            <a:ext cx="1358752" cy="119467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chemeClr val="tx1"/>
          </a:solidFill>
          <a:ln w="101600">
            <a:solidFill>
              <a:schemeClr val="bg1">
                <a:alpha val="35000"/>
              </a:schemeClr>
            </a:solidFill>
            <a:round/>
            <a:headEnd/>
            <a:tailEnd/>
          </a:ln>
          <a:extLst/>
        </p:spPr>
        <p:txBody>
          <a:bodyPr lIns="0" tIns="0" anchor="ctr">
            <a:normAutofit/>
          </a:bodyPr>
          <a:lstStyle/>
          <a:p>
            <a:pPr algn="ctr">
              <a:spcBef>
                <a:spcPct val="50000"/>
              </a:spcBef>
            </a:pPr>
            <a:r>
              <a:rPr lang="en-US" dirty="0">
                <a:solidFill>
                  <a:schemeClr val="bg1"/>
                </a:solidFill>
              </a:rPr>
              <a:t> </a:t>
            </a:r>
          </a:p>
        </p:txBody>
      </p:sp>
      <p:sp>
        <p:nvSpPr>
          <p:cNvPr id="77" name="Freeform 14">
            <a:extLst>
              <a:ext uri="{FF2B5EF4-FFF2-40B4-BE49-F238E27FC236}">
                <a16:creationId xmlns:a16="http://schemas.microsoft.com/office/drawing/2014/main" id="{C4A3C0FA-244A-4D12-8D30-427E0E7B8D36}"/>
              </a:ext>
            </a:extLst>
          </p:cNvPr>
          <p:cNvSpPr>
            <a:spLocks noChangeAspect="1"/>
          </p:cNvSpPr>
          <p:nvPr/>
        </p:nvSpPr>
        <p:spPr bwMode="auto">
          <a:xfrm rot="16200000">
            <a:off x="7688560" y="2175584"/>
            <a:ext cx="1358752" cy="119467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chemeClr val="tx1"/>
          </a:solidFill>
          <a:ln w="101600">
            <a:solidFill>
              <a:schemeClr val="bg1">
                <a:alpha val="35000"/>
              </a:schemeClr>
            </a:solidFill>
            <a:round/>
            <a:headEnd/>
            <a:tailEnd/>
          </a:ln>
          <a:extLst/>
        </p:spPr>
        <p:txBody>
          <a:bodyPr lIns="0" tIns="0" anchor="ctr">
            <a:normAutofit/>
          </a:bodyPr>
          <a:lstStyle/>
          <a:p>
            <a:pPr algn="ctr">
              <a:spcBef>
                <a:spcPct val="50000"/>
              </a:spcBef>
            </a:pPr>
            <a:r>
              <a:rPr lang="en-US" dirty="0">
                <a:solidFill>
                  <a:schemeClr val="bg1"/>
                </a:solidFill>
              </a:rPr>
              <a:t> </a:t>
            </a:r>
          </a:p>
        </p:txBody>
      </p:sp>
      <p:sp>
        <p:nvSpPr>
          <p:cNvPr id="78" name="Freeform 14">
            <a:extLst>
              <a:ext uri="{FF2B5EF4-FFF2-40B4-BE49-F238E27FC236}">
                <a16:creationId xmlns:a16="http://schemas.microsoft.com/office/drawing/2014/main" id="{F48206A6-D0E4-494E-BA87-0C45D0620B60}"/>
              </a:ext>
            </a:extLst>
          </p:cNvPr>
          <p:cNvSpPr>
            <a:spLocks noChangeAspect="1"/>
          </p:cNvSpPr>
          <p:nvPr/>
        </p:nvSpPr>
        <p:spPr bwMode="auto">
          <a:xfrm rot="16200000">
            <a:off x="9032843" y="2175584"/>
            <a:ext cx="1358752" cy="119467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chemeClr val="tx1"/>
          </a:solidFill>
          <a:ln w="101600">
            <a:solidFill>
              <a:schemeClr val="bg1">
                <a:alpha val="35000"/>
              </a:schemeClr>
            </a:solidFill>
            <a:round/>
            <a:headEnd/>
            <a:tailEnd/>
          </a:ln>
          <a:extLst/>
        </p:spPr>
        <p:txBody>
          <a:bodyPr lIns="0" tIns="0" anchor="ctr">
            <a:normAutofit/>
          </a:bodyPr>
          <a:lstStyle/>
          <a:p>
            <a:pPr algn="ctr">
              <a:spcBef>
                <a:spcPct val="50000"/>
              </a:spcBef>
            </a:pPr>
            <a:r>
              <a:rPr lang="en-US" dirty="0">
                <a:solidFill>
                  <a:schemeClr val="bg1"/>
                </a:solidFill>
              </a:rPr>
              <a:t> </a:t>
            </a:r>
          </a:p>
        </p:txBody>
      </p:sp>
      <p:sp>
        <p:nvSpPr>
          <p:cNvPr id="79" name="Freeform 14">
            <a:extLst>
              <a:ext uri="{FF2B5EF4-FFF2-40B4-BE49-F238E27FC236}">
                <a16:creationId xmlns:a16="http://schemas.microsoft.com/office/drawing/2014/main" id="{F95576E4-0D1A-433C-A485-99E653B6886A}"/>
              </a:ext>
            </a:extLst>
          </p:cNvPr>
          <p:cNvSpPr>
            <a:spLocks noChangeAspect="1"/>
          </p:cNvSpPr>
          <p:nvPr/>
        </p:nvSpPr>
        <p:spPr bwMode="auto">
          <a:xfrm rot="16200000">
            <a:off x="10377126" y="2175584"/>
            <a:ext cx="1358752" cy="119467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chemeClr val="tx1"/>
          </a:solidFill>
          <a:ln w="101600">
            <a:solidFill>
              <a:schemeClr val="bg1">
                <a:alpha val="35000"/>
              </a:schemeClr>
            </a:solidFill>
            <a:round/>
            <a:headEnd/>
            <a:tailEnd/>
          </a:ln>
          <a:extLst/>
        </p:spPr>
        <p:txBody>
          <a:bodyPr lIns="0" tIns="0" anchor="ctr">
            <a:normAutofit/>
          </a:bodyPr>
          <a:lstStyle/>
          <a:p>
            <a:pPr algn="ctr">
              <a:spcBef>
                <a:spcPct val="50000"/>
              </a:spcBef>
            </a:pPr>
            <a:r>
              <a:rPr lang="en-US" dirty="0">
                <a:solidFill>
                  <a:schemeClr val="bg1"/>
                </a:solidFill>
              </a:rPr>
              <a:t> </a:t>
            </a:r>
          </a:p>
        </p:txBody>
      </p:sp>
      <p:sp>
        <p:nvSpPr>
          <p:cNvPr id="80" name="Freeform 14">
            <a:extLst>
              <a:ext uri="{FF2B5EF4-FFF2-40B4-BE49-F238E27FC236}">
                <a16:creationId xmlns:a16="http://schemas.microsoft.com/office/drawing/2014/main" id="{9294EA91-E4AA-4822-A8A6-EE7575A70FE1}"/>
              </a:ext>
            </a:extLst>
          </p:cNvPr>
          <p:cNvSpPr>
            <a:spLocks noChangeAspect="1"/>
          </p:cNvSpPr>
          <p:nvPr/>
        </p:nvSpPr>
        <p:spPr bwMode="auto">
          <a:xfrm rot="16200000">
            <a:off x="5678280" y="3348142"/>
            <a:ext cx="1358752" cy="119467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chemeClr val="tx1"/>
          </a:solidFill>
          <a:ln w="101600">
            <a:solidFill>
              <a:schemeClr val="bg1">
                <a:alpha val="35000"/>
              </a:schemeClr>
            </a:solidFill>
            <a:round/>
            <a:headEnd/>
            <a:tailEnd/>
          </a:ln>
          <a:extLst/>
        </p:spPr>
        <p:txBody>
          <a:bodyPr lIns="0" tIns="0" anchor="ctr">
            <a:normAutofit/>
          </a:bodyPr>
          <a:lstStyle/>
          <a:p>
            <a:pPr algn="ctr">
              <a:spcBef>
                <a:spcPct val="50000"/>
              </a:spcBef>
            </a:pPr>
            <a:r>
              <a:rPr lang="en-US" dirty="0">
                <a:solidFill>
                  <a:schemeClr val="bg1"/>
                </a:solidFill>
              </a:rPr>
              <a:t> </a:t>
            </a:r>
          </a:p>
        </p:txBody>
      </p:sp>
      <p:sp>
        <p:nvSpPr>
          <p:cNvPr id="81" name="Freeform 14">
            <a:extLst>
              <a:ext uri="{FF2B5EF4-FFF2-40B4-BE49-F238E27FC236}">
                <a16:creationId xmlns:a16="http://schemas.microsoft.com/office/drawing/2014/main" id="{140860FC-1245-4B66-8FAB-5E2C755888C3}"/>
              </a:ext>
            </a:extLst>
          </p:cNvPr>
          <p:cNvSpPr>
            <a:spLocks noChangeAspect="1"/>
          </p:cNvSpPr>
          <p:nvPr/>
        </p:nvSpPr>
        <p:spPr bwMode="auto">
          <a:xfrm rot="16200000">
            <a:off x="7022563" y="3348142"/>
            <a:ext cx="1358752" cy="119467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chemeClr val="tx1"/>
          </a:solidFill>
          <a:ln w="101600">
            <a:solidFill>
              <a:schemeClr val="bg1">
                <a:alpha val="35000"/>
              </a:schemeClr>
            </a:solidFill>
            <a:round/>
            <a:headEnd/>
            <a:tailEnd/>
          </a:ln>
          <a:extLst/>
        </p:spPr>
        <p:txBody>
          <a:bodyPr lIns="0" tIns="0" anchor="ctr">
            <a:normAutofit/>
          </a:bodyPr>
          <a:lstStyle/>
          <a:p>
            <a:pPr algn="ctr">
              <a:spcBef>
                <a:spcPct val="50000"/>
              </a:spcBef>
            </a:pPr>
            <a:r>
              <a:rPr lang="en-US" dirty="0">
                <a:solidFill>
                  <a:schemeClr val="bg1"/>
                </a:solidFill>
              </a:rPr>
              <a:t> </a:t>
            </a:r>
          </a:p>
        </p:txBody>
      </p:sp>
      <p:sp>
        <p:nvSpPr>
          <p:cNvPr id="82" name="Freeform 14">
            <a:extLst>
              <a:ext uri="{FF2B5EF4-FFF2-40B4-BE49-F238E27FC236}">
                <a16:creationId xmlns:a16="http://schemas.microsoft.com/office/drawing/2014/main" id="{2B48CA15-D3D7-4840-A396-911E0DD62696}"/>
              </a:ext>
            </a:extLst>
          </p:cNvPr>
          <p:cNvSpPr>
            <a:spLocks noChangeAspect="1"/>
          </p:cNvSpPr>
          <p:nvPr/>
        </p:nvSpPr>
        <p:spPr bwMode="auto">
          <a:xfrm rot="16200000">
            <a:off x="8366845" y="3348142"/>
            <a:ext cx="1358752" cy="119467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chemeClr val="tx1"/>
          </a:solidFill>
          <a:ln w="101600">
            <a:solidFill>
              <a:schemeClr val="bg1">
                <a:alpha val="35000"/>
              </a:schemeClr>
            </a:solidFill>
            <a:round/>
            <a:headEnd/>
            <a:tailEnd/>
          </a:ln>
          <a:extLst/>
        </p:spPr>
        <p:txBody>
          <a:bodyPr lIns="0" tIns="0" anchor="ctr">
            <a:normAutofit/>
          </a:bodyPr>
          <a:lstStyle/>
          <a:p>
            <a:pPr algn="ctr">
              <a:spcBef>
                <a:spcPct val="50000"/>
              </a:spcBef>
            </a:pPr>
            <a:r>
              <a:rPr lang="en-US" dirty="0">
                <a:solidFill>
                  <a:schemeClr val="bg1"/>
                </a:solidFill>
              </a:rPr>
              <a:t> </a:t>
            </a:r>
          </a:p>
        </p:txBody>
      </p:sp>
      <p:sp>
        <p:nvSpPr>
          <p:cNvPr id="83" name="Freeform 14">
            <a:extLst>
              <a:ext uri="{FF2B5EF4-FFF2-40B4-BE49-F238E27FC236}">
                <a16:creationId xmlns:a16="http://schemas.microsoft.com/office/drawing/2014/main" id="{D104C844-2D7C-4A07-AD44-E4085C4F4B9C}"/>
              </a:ext>
            </a:extLst>
          </p:cNvPr>
          <p:cNvSpPr>
            <a:spLocks noChangeAspect="1"/>
          </p:cNvSpPr>
          <p:nvPr/>
        </p:nvSpPr>
        <p:spPr bwMode="auto">
          <a:xfrm rot="16200000">
            <a:off x="9711128" y="3348142"/>
            <a:ext cx="1358752" cy="1194672"/>
          </a:xfrm>
          <a:custGeom>
            <a:avLst/>
            <a:gdLst>
              <a:gd name="T0" fmla="*/ 2147483647 w 10017"/>
              <a:gd name="T1" fmla="*/ 2147483647 h 10000"/>
              <a:gd name="T2" fmla="*/ 2147483647 w 10017"/>
              <a:gd name="T3" fmla="*/ 2147483647 h 10000"/>
              <a:gd name="T4" fmla="*/ 2147483647 w 10017"/>
              <a:gd name="T5" fmla="*/ 2147483647 h 10000"/>
              <a:gd name="T6" fmla="*/ 2147483647 w 10017"/>
              <a:gd name="T7" fmla="*/ 2147483647 h 10000"/>
              <a:gd name="T8" fmla="*/ 2147483647 w 10017"/>
              <a:gd name="T9" fmla="*/ 2147483647 h 10000"/>
              <a:gd name="T10" fmla="*/ 2147483647 w 10017"/>
              <a:gd name="T11" fmla="*/ 0 h 10000"/>
              <a:gd name="T12" fmla="*/ 2147483647 w 10017"/>
              <a:gd name="T13" fmla="*/ 0 h 10000"/>
              <a:gd name="T14" fmla="*/ 2147483647 w 10017"/>
              <a:gd name="T15" fmla="*/ 2147483647 h 10000"/>
              <a:gd name="T16" fmla="*/ 2147483647 w 10017"/>
              <a:gd name="T17" fmla="*/ 2147483647 h 10000"/>
              <a:gd name="T18" fmla="*/ 2147483647 w 10017"/>
              <a:gd name="T19" fmla="*/ 2147483647 h 10000"/>
              <a:gd name="T20" fmla="*/ 2147483647 w 10017"/>
              <a:gd name="T21" fmla="*/ 2147483647 h 10000"/>
              <a:gd name="T22" fmla="*/ 2147483647 w 10017"/>
              <a:gd name="T23" fmla="*/ 2147483647 h 10000"/>
              <a:gd name="T24" fmla="*/ 2147483647 w 10017"/>
              <a:gd name="T25" fmla="*/ 2147483647 h 10000"/>
              <a:gd name="T26" fmla="*/ 2147483647 w 10017"/>
              <a:gd name="T27" fmla="*/ 2147483647 h 10000"/>
              <a:gd name="T28" fmla="*/ 2147483647 w 10017"/>
              <a:gd name="T29" fmla="*/ 2147483647 h 10000"/>
              <a:gd name="T30" fmla="*/ 2147483647 w 10017"/>
              <a:gd name="T31" fmla="*/ 2147483647 h 10000"/>
              <a:gd name="T32" fmla="*/ 2147483647 w 10017"/>
              <a:gd name="T33" fmla="*/ 2147483647 h 10000"/>
              <a:gd name="T34" fmla="*/ 2147483647 w 10017"/>
              <a:gd name="T35" fmla="*/ 2147483647 h 10000"/>
              <a:gd name="T36" fmla="*/ 2147483647 w 10017"/>
              <a:gd name="T37" fmla="*/ 2147483647 h 100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017"/>
              <a:gd name="T58" fmla="*/ 0 h 10000"/>
              <a:gd name="T59" fmla="*/ 10017 w 10017"/>
              <a:gd name="T60" fmla="*/ 10000 h 100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017" h="10000">
                <a:moveTo>
                  <a:pt x="7691" y="9690"/>
                </a:moveTo>
                <a:cubicBezTo>
                  <a:pt x="7748" y="9582"/>
                  <a:pt x="9210" y="6795"/>
                  <a:pt x="9970" y="5348"/>
                </a:cubicBezTo>
                <a:cubicBezTo>
                  <a:pt x="10041" y="5211"/>
                  <a:pt x="10033" y="5006"/>
                  <a:pt x="9944" y="4806"/>
                </a:cubicBezTo>
                <a:cubicBezTo>
                  <a:pt x="9563" y="3954"/>
                  <a:pt x="7740" y="332"/>
                  <a:pt x="7691" y="233"/>
                </a:cubicBezTo>
                <a:cubicBezTo>
                  <a:pt x="7623" y="78"/>
                  <a:pt x="7490" y="2"/>
                  <a:pt x="7350" y="0"/>
                </a:cubicBezTo>
                <a:lnTo>
                  <a:pt x="2790" y="10"/>
                </a:lnTo>
                <a:cubicBezTo>
                  <a:pt x="2594" y="15"/>
                  <a:pt x="2402" y="173"/>
                  <a:pt x="2295" y="373"/>
                </a:cubicBezTo>
                <a:cubicBezTo>
                  <a:pt x="2245" y="467"/>
                  <a:pt x="127" y="4566"/>
                  <a:pt x="46" y="4729"/>
                </a:cubicBezTo>
                <a:cubicBezTo>
                  <a:pt x="-35" y="4892"/>
                  <a:pt x="9" y="5119"/>
                  <a:pt x="46" y="5194"/>
                </a:cubicBezTo>
                <a:lnTo>
                  <a:pt x="2367" y="9767"/>
                </a:lnTo>
                <a:cubicBezTo>
                  <a:pt x="2435" y="9922"/>
                  <a:pt x="2572" y="10000"/>
                  <a:pt x="2708" y="10000"/>
                </a:cubicBezTo>
                <a:lnTo>
                  <a:pt x="7282" y="10000"/>
                </a:lnTo>
                <a:cubicBezTo>
                  <a:pt x="7498" y="10000"/>
                  <a:pt x="7627" y="9798"/>
                  <a:pt x="7691" y="9690"/>
                </a:cubicBezTo>
                <a:close/>
              </a:path>
            </a:pathLst>
          </a:custGeom>
          <a:solidFill>
            <a:schemeClr val="tx1"/>
          </a:solidFill>
          <a:ln w="101600">
            <a:solidFill>
              <a:schemeClr val="bg1">
                <a:alpha val="35000"/>
              </a:schemeClr>
            </a:solidFill>
            <a:round/>
            <a:headEnd/>
            <a:tailEnd/>
          </a:ln>
          <a:extLst/>
        </p:spPr>
        <p:txBody>
          <a:bodyPr lIns="0" tIns="0" anchor="ctr">
            <a:normAutofit/>
          </a:bodyPr>
          <a:lstStyle/>
          <a:p>
            <a:pPr algn="ctr">
              <a:spcBef>
                <a:spcPct val="50000"/>
              </a:spcBef>
            </a:pPr>
            <a:r>
              <a:rPr lang="en-US" dirty="0">
                <a:solidFill>
                  <a:schemeClr val="bg1"/>
                </a:solidFill>
              </a:rPr>
              <a:t> </a:t>
            </a:r>
          </a:p>
        </p:txBody>
      </p:sp>
      <p:grpSp>
        <p:nvGrpSpPr>
          <p:cNvPr id="84" name="Grupp 3">
            <a:extLst>
              <a:ext uri="{FF2B5EF4-FFF2-40B4-BE49-F238E27FC236}">
                <a16:creationId xmlns:a16="http://schemas.microsoft.com/office/drawing/2014/main" id="{3BEE2041-EB99-45D7-88D4-3A4DEFCE0F55}"/>
              </a:ext>
            </a:extLst>
          </p:cNvPr>
          <p:cNvGrpSpPr/>
          <p:nvPr/>
        </p:nvGrpSpPr>
        <p:grpSpPr>
          <a:xfrm>
            <a:off x="5324202" y="2362430"/>
            <a:ext cx="6181251" cy="1948741"/>
            <a:chOff x="5324202" y="2303087"/>
            <a:chExt cx="6181251" cy="1948741"/>
          </a:xfrm>
          <a:solidFill>
            <a:srgbClr val="8F3F7B"/>
          </a:solidFill>
        </p:grpSpPr>
        <p:grpSp>
          <p:nvGrpSpPr>
            <p:cNvPr id="85" name="Grupp 12">
              <a:extLst>
                <a:ext uri="{FF2B5EF4-FFF2-40B4-BE49-F238E27FC236}">
                  <a16:creationId xmlns:a16="http://schemas.microsoft.com/office/drawing/2014/main" id="{B70D0523-0697-411C-9AB2-2E5369F32F03}"/>
                </a:ext>
              </a:extLst>
            </p:cNvPr>
            <p:cNvGrpSpPr/>
            <p:nvPr/>
          </p:nvGrpSpPr>
          <p:grpSpPr>
            <a:xfrm>
              <a:off x="7907587" y="2501215"/>
              <a:ext cx="892925" cy="405165"/>
              <a:chOff x="9866313" y="5851525"/>
              <a:chExt cx="1336469" cy="606425"/>
            </a:xfrm>
            <a:grpFill/>
          </p:grpSpPr>
          <p:sp>
            <p:nvSpPr>
              <p:cNvPr id="123" name="Freeform 3">
                <a:extLst>
                  <a:ext uri="{FF2B5EF4-FFF2-40B4-BE49-F238E27FC236}">
                    <a16:creationId xmlns:a16="http://schemas.microsoft.com/office/drawing/2014/main" id="{D5C87B2E-B1E9-4387-8FFB-9BBB110F46E2}"/>
                  </a:ext>
                </a:extLst>
              </p:cNvPr>
              <p:cNvSpPr>
                <a:spLocks noChangeAspect="1" noEditPoints="1"/>
              </p:cNvSpPr>
              <p:nvPr/>
            </p:nvSpPr>
            <p:spPr bwMode="auto">
              <a:xfrm>
                <a:off x="9866313" y="5851525"/>
                <a:ext cx="581049" cy="606425"/>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grpFill/>
              <a:ln>
                <a:noFill/>
              </a:ln>
            </p:spPr>
            <p:txBody>
              <a:bodyPr/>
              <a:lstStyle/>
              <a:p>
                <a:endParaRPr lang="sv-SE" dirty="0">
                  <a:solidFill>
                    <a:srgbClr val="58585A"/>
                  </a:solidFill>
                </a:endParaRPr>
              </a:p>
            </p:txBody>
          </p:sp>
          <p:sp>
            <p:nvSpPr>
              <p:cNvPr id="124" name="Freeform 3">
                <a:extLst>
                  <a:ext uri="{FF2B5EF4-FFF2-40B4-BE49-F238E27FC236}">
                    <a16:creationId xmlns:a16="http://schemas.microsoft.com/office/drawing/2014/main" id="{5B5F8925-754F-4A51-925C-12312965595C}"/>
                  </a:ext>
                </a:extLst>
              </p:cNvPr>
              <p:cNvSpPr>
                <a:spLocks noChangeAspect="1" noEditPoints="1"/>
              </p:cNvSpPr>
              <p:nvPr/>
            </p:nvSpPr>
            <p:spPr bwMode="auto">
              <a:xfrm>
                <a:off x="10556875" y="5903913"/>
                <a:ext cx="645907" cy="554037"/>
              </a:xfrm>
              <a:custGeom>
                <a:avLst/>
                <a:gdLst>
                  <a:gd name="T0" fmla="*/ 2147483647 w 485"/>
                  <a:gd name="T1" fmla="*/ 2147483647 h 416"/>
                  <a:gd name="T2" fmla="*/ 2147483647 w 485"/>
                  <a:gd name="T3" fmla="*/ 2147483647 h 416"/>
                  <a:gd name="T4" fmla="*/ 2147483647 w 485"/>
                  <a:gd name="T5" fmla="*/ 2147483647 h 416"/>
                  <a:gd name="T6" fmla="*/ 2147483647 w 485"/>
                  <a:gd name="T7" fmla="*/ 2147483647 h 416"/>
                  <a:gd name="T8" fmla="*/ 2147483647 w 485"/>
                  <a:gd name="T9" fmla="*/ 2147483647 h 416"/>
                  <a:gd name="T10" fmla="*/ 2147483647 w 485"/>
                  <a:gd name="T11" fmla="*/ 2147483647 h 416"/>
                  <a:gd name="T12" fmla="*/ 2147483647 w 485"/>
                  <a:gd name="T13" fmla="*/ 2147483647 h 416"/>
                  <a:gd name="T14" fmla="*/ 2147483647 w 485"/>
                  <a:gd name="T15" fmla="*/ 2147483647 h 416"/>
                  <a:gd name="T16" fmla="*/ 2147483647 w 485"/>
                  <a:gd name="T17" fmla="*/ 2147483647 h 416"/>
                  <a:gd name="T18" fmla="*/ 2147483647 w 485"/>
                  <a:gd name="T19" fmla="*/ 2147483647 h 416"/>
                  <a:gd name="T20" fmla="*/ 2147483647 w 485"/>
                  <a:gd name="T21" fmla="*/ 2147483647 h 416"/>
                  <a:gd name="T22" fmla="*/ 2147483647 w 485"/>
                  <a:gd name="T23" fmla="*/ 2147483647 h 416"/>
                  <a:gd name="T24" fmla="*/ 2147483647 w 485"/>
                  <a:gd name="T25" fmla="*/ 2147483647 h 416"/>
                  <a:gd name="T26" fmla="*/ 0 w 485"/>
                  <a:gd name="T27" fmla="*/ 2147483647 h 416"/>
                  <a:gd name="T28" fmla="*/ 2147483647 w 485"/>
                  <a:gd name="T29" fmla="*/ 2147483647 h 416"/>
                  <a:gd name="T30" fmla="*/ 2147483647 w 485"/>
                  <a:gd name="T31" fmla="*/ 2147483647 h 416"/>
                  <a:gd name="T32" fmla="*/ 2147483647 w 485"/>
                  <a:gd name="T33" fmla="*/ 2147483647 h 416"/>
                  <a:gd name="T34" fmla="*/ 2147483647 w 485"/>
                  <a:gd name="T35" fmla="*/ 2147483647 h 416"/>
                  <a:gd name="T36" fmla="*/ 2147483647 w 485"/>
                  <a:gd name="T37" fmla="*/ 2147483647 h 416"/>
                  <a:gd name="T38" fmla="*/ 2147483647 w 485"/>
                  <a:gd name="T39" fmla="*/ 2147483647 h 416"/>
                  <a:gd name="T40" fmla="*/ 2147483647 w 485"/>
                  <a:gd name="T41" fmla="*/ 2147483647 h 416"/>
                  <a:gd name="T42" fmla="*/ 2147483647 w 485"/>
                  <a:gd name="T43" fmla="*/ 2147483647 h 416"/>
                  <a:gd name="T44" fmla="*/ 2147483647 w 485"/>
                  <a:gd name="T45" fmla="*/ 2147483647 h 416"/>
                  <a:gd name="T46" fmla="*/ 2147483647 w 485"/>
                  <a:gd name="T47" fmla="*/ 2147483647 h 416"/>
                  <a:gd name="T48" fmla="*/ 2147483647 w 485"/>
                  <a:gd name="T49" fmla="*/ 2147483647 h 416"/>
                  <a:gd name="T50" fmla="*/ 2147483647 w 485"/>
                  <a:gd name="T51" fmla="*/ 2147483647 h 416"/>
                  <a:gd name="T52" fmla="*/ 2147483647 w 485"/>
                  <a:gd name="T53" fmla="*/ 2147483647 h 416"/>
                  <a:gd name="T54" fmla="*/ 2147483647 w 485"/>
                  <a:gd name="T55" fmla="*/ 2147483647 h 416"/>
                  <a:gd name="T56" fmla="*/ 2147483647 w 485"/>
                  <a:gd name="T57" fmla="*/ 2147483647 h 416"/>
                  <a:gd name="T58" fmla="*/ 2147483647 w 485"/>
                  <a:gd name="T59" fmla="*/ 2147483647 h 416"/>
                  <a:gd name="T60" fmla="*/ 2147483647 w 485"/>
                  <a:gd name="T61" fmla="*/ 2147483647 h 416"/>
                  <a:gd name="T62" fmla="*/ 2147483647 w 485"/>
                  <a:gd name="T63" fmla="*/ 2147483647 h 416"/>
                  <a:gd name="T64" fmla="*/ 2147483647 w 485"/>
                  <a:gd name="T65" fmla="*/ 2147483647 h 416"/>
                  <a:gd name="T66" fmla="*/ 2147483647 w 485"/>
                  <a:gd name="T67" fmla="*/ 2147483647 h 416"/>
                  <a:gd name="T68" fmla="*/ 2147483647 w 485"/>
                  <a:gd name="T69" fmla="*/ 2147483647 h 416"/>
                  <a:gd name="T70" fmla="*/ 2147483647 w 485"/>
                  <a:gd name="T71" fmla="*/ 2147483647 h 416"/>
                  <a:gd name="T72" fmla="*/ 2147483647 w 485"/>
                  <a:gd name="T73" fmla="*/ 2147483647 h 416"/>
                  <a:gd name="T74" fmla="*/ 2147483647 w 485"/>
                  <a:gd name="T75" fmla="*/ 2147483647 h 416"/>
                  <a:gd name="T76" fmla="*/ 2147483647 w 485"/>
                  <a:gd name="T77" fmla="*/ 2147483647 h 416"/>
                  <a:gd name="T78" fmla="*/ 2147483647 w 485"/>
                  <a:gd name="T79" fmla="*/ 2147483647 h 416"/>
                  <a:gd name="T80" fmla="*/ 2147483647 w 485"/>
                  <a:gd name="T81" fmla="*/ 2147483647 h 416"/>
                  <a:gd name="T82" fmla="*/ 2147483647 w 485"/>
                  <a:gd name="T83" fmla="*/ 2147483647 h 416"/>
                  <a:gd name="T84" fmla="*/ 2147483647 w 485"/>
                  <a:gd name="T85" fmla="*/ 2147483647 h 416"/>
                  <a:gd name="T86" fmla="*/ 2147483647 w 485"/>
                  <a:gd name="T87" fmla="*/ 2147483647 h 416"/>
                  <a:gd name="T88" fmla="*/ 2147483647 w 485"/>
                  <a:gd name="T89" fmla="*/ 2147483647 h 416"/>
                  <a:gd name="T90" fmla="*/ 2147483647 w 485"/>
                  <a:gd name="T91" fmla="*/ 2147483647 h 416"/>
                  <a:gd name="T92" fmla="*/ 2147483647 w 485"/>
                  <a:gd name="T93" fmla="*/ 2147483647 h 416"/>
                  <a:gd name="T94" fmla="*/ 2147483647 w 485"/>
                  <a:gd name="T95" fmla="*/ 2147483647 h 416"/>
                  <a:gd name="T96" fmla="*/ 2147483647 w 485"/>
                  <a:gd name="T97" fmla="*/ 2147483647 h 416"/>
                  <a:gd name="T98" fmla="*/ 2147483647 w 485"/>
                  <a:gd name="T99" fmla="*/ 2147483647 h 416"/>
                  <a:gd name="T100" fmla="*/ 2147483647 w 485"/>
                  <a:gd name="T101" fmla="*/ 2147483647 h 416"/>
                  <a:gd name="T102" fmla="*/ 2147483647 w 485"/>
                  <a:gd name="T103" fmla="*/ 2147483647 h 416"/>
                  <a:gd name="T104" fmla="*/ 2147483647 w 485"/>
                  <a:gd name="T105" fmla="*/ 2147483647 h 416"/>
                  <a:gd name="T106" fmla="*/ 2147483647 w 485"/>
                  <a:gd name="T107" fmla="*/ 2147483647 h 41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85" h="416">
                    <a:moveTo>
                      <a:pt x="456" y="318"/>
                    </a:moveTo>
                    <a:cubicBezTo>
                      <a:pt x="440" y="318"/>
                      <a:pt x="440" y="318"/>
                      <a:pt x="440" y="318"/>
                    </a:cubicBezTo>
                    <a:cubicBezTo>
                      <a:pt x="440" y="298"/>
                      <a:pt x="440" y="298"/>
                      <a:pt x="440" y="298"/>
                    </a:cubicBezTo>
                    <a:cubicBezTo>
                      <a:pt x="440" y="290"/>
                      <a:pt x="434" y="284"/>
                      <a:pt x="426" y="284"/>
                    </a:cubicBezTo>
                    <a:cubicBezTo>
                      <a:pt x="407" y="284"/>
                      <a:pt x="407" y="284"/>
                      <a:pt x="407" y="284"/>
                    </a:cubicBezTo>
                    <a:cubicBezTo>
                      <a:pt x="399" y="284"/>
                      <a:pt x="392" y="290"/>
                      <a:pt x="392" y="298"/>
                    </a:cubicBezTo>
                    <a:cubicBezTo>
                      <a:pt x="392" y="318"/>
                      <a:pt x="392" y="318"/>
                      <a:pt x="392" y="318"/>
                    </a:cubicBezTo>
                    <a:cubicBezTo>
                      <a:pt x="381" y="318"/>
                      <a:pt x="381" y="318"/>
                      <a:pt x="381" y="318"/>
                    </a:cubicBezTo>
                    <a:cubicBezTo>
                      <a:pt x="381" y="288"/>
                      <a:pt x="381" y="288"/>
                      <a:pt x="381" y="288"/>
                    </a:cubicBezTo>
                    <a:cubicBezTo>
                      <a:pt x="381" y="279"/>
                      <a:pt x="374" y="272"/>
                      <a:pt x="365" y="272"/>
                    </a:cubicBezTo>
                    <a:cubicBezTo>
                      <a:pt x="341" y="272"/>
                      <a:pt x="341" y="272"/>
                      <a:pt x="341" y="272"/>
                    </a:cubicBezTo>
                    <a:cubicBezTo>
                      <a:pt x="332" y="272"/>
                      <a:pt x="325" y="279"/>
                      <a:pt x="325" y="288"/>
                    </a:cubicBezTo>
                    <a:cubicBezTo>
                      <a:pt x="325" y="318"/>
                      <a:pt x="325" y="318"/>
                      <a:pt x="325" y="318"/>
                    </a:cubicBezTo>
                    <a:cubicBezTo>
                      <a:pt x="314" y="318"/>
                      <a:pt x="314" y="318"/>
                      <a:pt x="314" y="318"/>
                    </a:cubicBezTo>
                    <a:cubicBezTo>
                      <a:pt x="314" y="284"/>
                      <a:pt x="314" y="284"/>
                      <a:pt x="314" y="284"/>
                    </a:cubicBezTo>
                    <a:cubicBezTo>
                      <a:pt x="314" y="273"/>
                      <a:pt x="305" y="264"/>
                      <a:pt x="293" y="264"/>
                    </a:cubicBezTo>
                    <a:cubicBezTo>
                      <a:pt x="256" y="264"/>
                      <a:pt x="256" y="264"/>
                      <a:pt x="256" y="264"/>
                    </a:cubicBezTo>
                    <a:cubicBezTo>
                      <a:pt x="245" y="264"/>
                      <a:pt x="236" y="273"/>
                      <a:pt x="236" y="284"/>
                    </a:cubicBezTo>
                    <a:cubicBezTo>
                      <a:pt x="236" y="318"/>
                      <a:pt x="236" y="318"/>
                      <a:pt x="236" y="318"/>
                    </a:cubicBezTo>
                    <a:cubicBezTo>
                      <a:pt x="220" y="318"/>
                      <a:pt x="220" y="318"/>
                      <a:pt x="220" y="318"/>
                    </a:cubicBezTo>
                    <a:cubicBezTo>
                      <a:pt x="204" y="318"/>
                      <a:pt x="191" y="331"/>
                      <a:pt x="191" y="347"/>
                    </a:cubicBezTo>
                    <a:cubicBezTo>
                      <a:pt x="191" y="348"/>
                      <a:pt x="191" y="348"/>
                      <a:pt x="191" y="348"/>
                    </a:cubicBezTo>
                    <a:cubicBezTo>
                      <a:pt x="167" y="299"/>
                      <a:pt x="160" y="253"/>
                      <a:pt x="160" y="219"/>
                    </a:cubicBezTo>
                    <a:cubicBezTo>
                      <a:pt x="160" y="185"/>
                      <a:pt x="166" y="162"/>
                      <a:pt x="168" y="157"/>
                    </a:cubicBezTo>
                    <a:cubicBezTo>
                      <a:pt x="168" y="154"/>
                      <a:pt x="169" y="152"/>
                      <a:pt x="169" y="149"/>
                    </a:cubicBezTo>
                    <a:cubicBezTo>
                      <a:pt x="169" y="143"/>
                      <a:pt x="165" y="136"/>
                      <a:pt x="160" y="135"/>
                    </a:cubicBezTo>
                    <a:cubicBezTo>
                      <a:pt x="155" y="133"/>
                      <a:pt x="151" y="133"/>
                      <a:pt x="148" y="133"/>
                    </a:cubicBezTo>
                    <a:cubicBezTo>
                      <a:pt x="146" y="133"/>
                      <a:pt x="146" y="133"/>
                      <a:pt x="146" y="133"/>
                    </a:cubicBezTo>
                    <a:cubicBezTo>
                      <a:pt x="146" y="133"/>
                      <a:pt x="145" y="133"/>
                      <a:pt x="143" y="134"/>
                    </a:cubicBezTo>
                    <a:cubicBezTo>
                      <a:pt x="137" y="135"/>
                      <a:pt x="124" y="139"/>
                      <a:pt x="111" y="139"/>
                    </a:cubicBezTo>
                    <a:cubicBezTo>
                      <a:pt x="102" y="139"/>
                      <a:pt x="93" y="137"/>
                      <a:pt x="87" y="136"/>
                    </a:cubicBezTo>
                    <a:cubicBezTo>
                      <a:pt x="83" y="135"/>
                      <a:pt x="81" y="134"/>
                      <a:pt x="79" y="134"/>
                    </a:cubicBezTo>
                    <a:cubicBezTo>
                      <a:pt x="77" y="133"/>
                      <a:pt x="76" y="133"/>
                      <a:pt x="76" y="133"/>
                    </a:cubicBezTo>
                    <a:cubicBezTo>
                      <a:pt x="75" y="133"/>
                      <a:pt x="74" y="133"/>
                      <a:pt x="73" y="133"/>
                    </a:cubicBezTo>
                    <a:cubicBezTo>
                      <a:pt x="73" y="133"/>
                      <a:pt x="73" y="133"/>
                      <a:pt x="73" y="133"/>
                    </a:cubicBezTo>
                    <a:cubicBezTo>
                      <a:pt x="70" y="133"/>
                      <a:pt x="66" y="132"/>
                      <a:pt x="62" y="134"/>
                    </a:cubicBezTo>
                    <a:cubicBezTo>
                      <a:pt x="57" y="136"/>
                      <a:pt x="53" y="142"/>
                      <a:pt x="53" y="149"/>
                    </a:cubicBezTo>
                    <a:cubicBezTo>
                      <a:pt x="53" y="151"/>
                      <a:pt x="53" y="154"/>
                      <a:pt x="54" y="157"/>
                    </a:cubicBezTo>
                    <a:cubicBezTo>
                      <a:pt x="56" y="162"/>
                      <a:pt x="60" y="181"/>
                      <a:pt x="60" y="209"/>
                    </a:cubicBezTo>
                    <a:cubicBezTo>
                      <a:pt x="60" y="252"/>
                      <a:pt x="50" y="317"/>
                      <a:pt x="3" y="385"/>
                    </a:cubicBezTo>
                    <a:cubicBezTo>
                      <a:pt x="2" y="386"/>
                      <a:pt x="2" y="386"/>
                      <a:pt x="2" y="386"/>
                    </a:cubicBezTo>
                    <a:cubicBezTo>
                      <a:pt x="2" y="387"/>
                      <a:pt x="0" y="391"/>
                      <a:pt x="0" y="397"/>
                    </a:cubicBezTo>
                    <a:cubicBezTo>
                      <a:pt x="0" y="401"/>
                      <a:pt x="1" y="407"/>
                      <a:pt x="6" y="411"/>
                    </a:cubicBezTo>
                    <a:cubicBezTo>
                      <a:pt x="10" y="414"/>
                      <a:pt x="16" y="416"/>
                      <a:pt x="24" y="416"/>
                    </a:cubicBezTo>
                    <a:cubicBezTo>
                      <a:pt x="408" y="416"/>
                      <a:pt x="408" y="416"/>
                      <a:pt x="408" y="416"/>
                    </a:cubicBezTo>
                    <a:cubicBezTo>
                      <a:pt x="412" y="416"/>
                      <a:pt x="416" y="412"/>
                      <a:pt x="416" y="408"/>
                    </a:cubicBezTo>
                    <a:cubicBezTo>
                      <a:pt x="416" y="403"/>
                      <a:pt x="412" y="400"/>
                      <a:pt x="408" y="400"/>
                    </a:cubicBezTo>
                    <a:cubicBezTo>
                      <a:pt x="24" y="400"/>
                      <a:pt x="24" y="400"/>
                      <a:pt x="24" y="400"/>
                    </a:cubicBezTo>
                    <a:cubicBezTo>
                      <a:pt x="18" y="400"/>
                      <a:pt x="16" y="399"/>
                      <a:pt x="16" y="398"/>
                    </a:cubicBezTo>
                    <a:cubicBezTo>
                      <a:pt x="16" y="398"/>
                      <a:pt x="16" y="398"/>
                      <a:pt x="16" y="397"/>
                    </a:cubicBezTo>
                    <a:cubicBezTo>
                      <a:pt x="16" y="397"/>
                      <a:pt x="16" y="396"/>
                      <a:pt x="16" y="395"/>
                    </a:cubicBezTo>
                    <a:cubicBezTo>
                      <a:pt x="16" y="394"/>
                      <a:pt x="16" y="394"/>
                      <a:pt x="16" y="394"/>
                    </a:cubicBezTo>
                    <a:cubicBezTo>
                      <a:pt x="65" y="323"/>
                      <a:pt x="76" y="255"/>
                      <a:pt x="76" y="209"/>
                    </a:cubicBezTo>
                    <a:cubicBezTo>
                      <a:pt x="76" y="179"/>
                      <a:pt x="71" y="159"/>
                      <a:pt x="70" y="153"/>
                    </a:cubicBezTo>
                    <a:cubicBezTo>
                      <a:pt x="69" y="151"/>
                      <a:pt x="69" y="150"/>
                      <a:pt x="69" y="149"/>
                    </a:cubicBezTo>
                    <a:cubicBezTo>
                      <a:pt x="70" y="149"/>
                      <a:pt x="71" y="149"/>
                      <a:pt x="72" y="149"/>
                    </a:cubicBezTo>
                    <a:cubicBezTo>
                      <a:pt x="77" y="150"/>
                      <a:pt x="93" y="155"/>
                      <a:pt x="111" y="155"/>
                    </a:cubicBezTo>
                    <a:cubicBezTo>
                      <a:pt x="128" y="155"/>
                      <a:pt x="145" y="150"/>
                      <a:pt x="150" y="149"/>
                    </a:cubicBezTo>
                    <a:cubicBezTo>
                      <a:pt x="151" y="149"/>
                      <a:pt x="152" y="149"/>
                      <a:pt x="153" y="149"/>
                    </a:cubicBezTo>
                    <a:cubicBezTo>
                      <a:pt x="153" y="149"/>
                      <a:pt x="153" y="149"/>
                      <a:pt x="153" y="149"/>
                    </a:cubicBezTo>
                    <a:cubicBezTo>
                      <a:pt x="153" y="150"/>
                      <a:pt x="153" y="151"/>
                      <a:pt x="152" y="153"/>
                    </a:cubicBezTo>
                    <a:cubicBezTo>
                      <a:pt x="151" y="159"/>
                      <a:pt x="144" y="183"/>
                      <a:pt x="144" y="219"/>
                    </a:cubicBezTo>
                    <a:cubicBezTo>
                      <a:pt x="144" y="258"/>
                      <a:pt x="152" y="311"/>
                      <a:pt x="184" y="368"/>
                    </a:cubicBezTo>
                    <a:cubicBezTo>
                      <a:pt x="185" y="370"/>
                      <a:pt x="188" y="372"/>
                      <a:pt x="191" y="372"/>
                    </a:cubicBezTo>
                    <a:cubicBezTo>
                      <a:pt x="199" y="372"/>
                      <a:pt x="199" y="372"/>
                      <a:pt x="199" y="372"/>
                    </a:cubicBezTo>
                    <a:cubicBezTo>
                      <a:pt x="201" y="372"/>
                      <a:pt x="203" y="371"/>
                      <a:pt x="205" y="370"/>
                    </a:cubicBezTo>
                    <a:cubicBezTo>
                      <a:pt x="206" y="368"/>
                      <a:pt x="207" y="366"/>
                      <a:pt x="207" y="364"/>
                    </a:cubicBezTo>
                    <a:cubicBezTo>
                      <a:pt x="207" y="347"/>
                      <a:pt x="207" y="347"/>
                      <a:pt x="207" y="347"/>
                    </a:cubicBezTo>
                    <a:cubicBezTo>
                      <a:pt x="207" y="339"/>
                      <a:pt x="213" y="334"/>
                      <a:pt x="220" y="334"/>
                    </a:cubicBezTo>
                    <a:cubicBezTo>
                      <a:pt x="244" y="334"/>
                      <a:pt x="244" y="334"/>
                      <a:pt x="244" y="334"/>
                    </a:cubicBezTo>
                    <a:cubicBezTo>
                      <a:pt x="246" y="334"/>
                      <a:pt x="248" y="333"/>
                      <a:pt x="250" y="331"/>
                    </a:cubicBezTo>
                    <a:cubicBezTo>
                      <a:pt x="251" y="330"/>
                      <a:pt x="252" y="328"/>
                      <a:pt x="252" y="326"/>
                    </a:cubicBezTo>
                    <a:cubicBezTo>
                      <a:pt x="252" y="284"/>
                      <a:pt x="252" y="284"/>
                      <a:pt x="252" y="284"/>
                    </a:cubicBezTo>
                    <a:cubicBezTo>
                      <a:pt x="252" y="282"/>
                      <a:pt x="254" y="280"/>
                      <a:pt x="256" y="280"/>
                    </a:cubicBezTo>
                    <a:cubicBezTo>
                      <a:pt x="293" y="280"/>
                      <a:pt x="293" y="280"/>
                      <a:pt x="293" y="280"/>
                    </a:cubicBezTo>
                    <a:cubicBezTo>
                      <a:pt x="296" y="280"/>
                      <a:pt x="298" y="282"/>
                      <a:pt x="298" y="284"/>
                    </a:cubicBezTo>
                    <a:cubicBezTo>
                      <a:pt x="298" y="326"/>
                      <a:pt x="298" y="326"/>
                      <a:pt x="298" y="326"/>
                    </a:cubicBezTo>
                    <a:cubicBezTo>
                      <a:pt x="298" y="328"/>
                      <a:pt x="299" y="330"/>
                      <a:pt x="300" y="331"/>
                    </a:cubicBezTo>
                    <a:cubicBezTo>
                      <a:pt x="302" y="333"/>
                      <a:pt x="304" y="334"/>
                      <a:pt x="306" y="334"/>
                    </a:cubicBezTo>
                    <a:cubicBezTo>
                      <a:pt x="333" y="334"/>
                      <a:pt x="333" y="334"/>
                      <a:pt x="333" y="334"/>
                    </a:cubicBezTo>
                    <a:cubicBezTo>
                      <a:pt x="335" y="334"/>
                      <a:pt x="337" y="333"/>
                      <a:pt x="338" y="331"/>
                    </a:cubicBezTo>
                    <a:cubicBezTo>
                      <a:pt x="340" y="330"/>
                      <a:pt x="341" y="328"/>
                      <a:pt x="341" y="326"/>
                    </a:cubicBezTo>
                    <a:cubicBezTo>
                      <a:pt x="341" y="288"/>
                      <a:pt x="341" y="288"/>
                      <a:pt x="341" y="288"/>
                    </a:cubicBezTo>
                    <a:cubicBezTo>
                      <a:pt x="341" y="288"/>
                      <a:pt x="341" y="288"/>
                      <a:pt x="341" y="288"/>
                    </a:cubicBezTo>
                    <a:cubicBezTo>
                      <a:pt x="365" y="288"/>
                      <a:pt x="365" y="288"/>
                      <a:pt x="365" y="288"/>
                    </a:cubicBezTo>
                    <a:cubicBezTo>
                      <a:pt x="365" y="288"/>
                      <a:pt x="365" y="288"/>
                      <a:pt x="365" y="288"/>
                    </a:cubicBezTo>
                    <a:cubicBezTo>
                      <a:pt x="365" y="326"/>
                      <a:pt x="365" y="326"/>
                      <a:pt x="365" y="326"/>
                    </a:cubicBezTo>
                    <a:cubicBezTo>
                      <a:pt x="365" y="328"/>
                      <a:pt x="366" y="330"/>
                      <a:pt x="368" y="331"/>
                    </a:cubicBezTo>
                    <a:cubicBezTo>
                      <a:pt x="369" y="333"/>
                      <a:pt x="371" y="334"/>
                      <a:pt x="373" y="334"/>
                    </a:cubicBezTo>
                    <a:cubicBezTo>
                      <a:pt x="400" y="334"/>
                      <a:pt x="400" y="334"/>
                      <a:pt x="400" y="334"/>
                    </a:cubicBezTo>
                    <a:cubicBezTo>
                      <a:pt x="403" y="334"/>
                      <a:pt x="405" y="333"/>
                      <a:pt x="406" y="331"/>
                    </a:cubicBezTo>
                    <a:cubicBezTo>
                      <a:pt x="408" y="330"/>
                      <a:pt x="408" y="328"/>
                      <a:pt x="408" y="326"/>
                    </a:cubicBezTo>
                    <a:cubicBezTo>
                      <a:pt x="408" y="300"/>
                      <a:pt x="408" y="300"/>
                      <a:pt x="408" y="300"/>
                    </a:cubicBezTo>
                    <a:cubicBezTo>
                      <a:pt x="424" y="300"/>
                      <a:pt x="424" y="300"/>
                      <a:pt x="424" y="300"/>
                    </a:cubicBezTo>
                    <a:cubicBezTo>
                      <a:pt x="424" y="326"/>
                      <a:pt x="424" y="326"/>
                      <a:pt x="424" y="326"/>
                    </a:cubicBezTo>
                    <a:cubicBezTo>
                      <a:pt x="424" y="328"/>
                      <a:pt x="425" y="330"/>
                      <a:pt x="427" y="331"/>
                    </a:cubicBezTo>
                    <a:cubicBezTo>
                      <a:pt x="428" y="333"/>
                      <a:pt x="430" y="334"/>
                      <a:pt x="432" y="334"/>
                    </a:cubicBezTo>
                    <a:cubicBezTo>
                      <a:pt x="456" y="334"/>
                      <a:pt x="456" y="334"/>
                      <a:pt x="456" y="334"/>
                    </a:cubicBezTo>
                    <a:cubicBezTo>
                      <a:pt x="463" y="334"/>
                      <a:pt x="469" y="339"/>
                      <a:pt x="469" y="347"/>
                    </a:cubicBezTo>
                    <a:cubicBezTo>
                      <a:pt x="469" y="387"/>
                      <a:pt x="469" y="387"/>
                      <a:pt x="469" y="387"/>
                    </a:cubicBezTo>
                    <a:cubicBezTo>
                      <a:pt x="469" y="394"/>
                      <a:pt x="463" y="400"/>
                      <a:pt x="456" y="400"/>
                    </a:cubicBezTo>
                    <a:cubicBezTo>
                      <a:pt x="441" y="400"/>
                      <a:pt x="441" y="400"/>
                      <a:pt x="441" y="400"/>
                    </a:cubicBezTo>
                    <a:cubicBezTo>
                      <a:pt x="436" y="400"/>
                      <a:pt x="433" y="403"/>
                      <a:pt x="433" y="408"/>
                    </a:cubicBezTo>
                    <a:cubicBezTo>
                      <a:pt x="433" y="412"/>
                      <a:pt x="436" y="416"/>
                      <a:pt x="441" y="416"/>
                    </a:cubicBezTo>
                    <a:cubicBezTo>
                      <a:pt x="456" y="416"/>
                      <a:pt x="456" y="416"/>
                      <a:pt x="456" y="416"/>
                    </a:cubicBezTo>
                    <a:cubicBezTo>
                      <a:pt x="472" y="416"/>
                      <a:pt x="485" y="403"/>
                      <a:pt x="485" y="387"/>
                    </a:cubicBezTo>
                    <a:cubicBezTo>
                      <a:pt x="485" y="347"/>
                      <a:pt x="485" y="347"/>
                      <a:pt x="485" y="347"/>
                    </a:cubicBezTo>
                    <a:cubicBezTo>
                      <a:pt x="485" y="331"/>
                      <a:pt x="472" y="318"/>
                      <a:pt x="456" y="318"/>
                    </a:cubicBezTo>
                    <a:close/>
                    <a:moveTo>
                      <a:pt x="118" y="125"/>
                    </a:moveTo>
                    <a:cubicBezTo>
                      <a:pt x="126" y="125"/>
                      <a:pt x="133" y="121"/>
                      <a:pt x="138" y="115"/>
                    </a:cubicBezTo>
                    <a:cubicBezTo>
                      <a:pt x="138" y="115"/>
                      <a:pt x="138" y="115"/>
                      <a:pt x="138" y="115"/>
                    </a:cubicBezTo>
                    <a:cubicBezTo>
                      <a:pt x="148" y="115"/>
                      <a:pt x="157" y="111"/>
                      <a:pt x="164" y="104"/>
                    </a:cubicBezTo>
                    <a:cubicBezTo>
                      <a:pt x="172" y="112"/>
                      <a:pt x="184" y="117"/>
                      <a:pt x="196" y="117"/>
                    </a:cubicBezTo>
                    <a:cubicBezTo>
                      <a:pt x="203" y="117"/>
                      <a:pt x="209" y="116"/>
                      <a:pt x="214" y="114"/>
                    </a:cubicBezTo>
                    <a:cubicBezTo>
                      <a:pt x="222" y="130"/>
                      <a:pt x="238" y="142"/>
                      <a:pt x="258" y="142"/>
                    </a:cubicBezTo>
                    <a:cubicBezTo>
                      <a:pt x="275" y="142"/>
                      <a:pt x="290" y="133"/>
                      <a:pt x="299" y="118"/>
                    </a:cubicBezTo>
                    <a:cubicBezTo>
                      <a:pt x="299" y="118"/>
                      <a:pt x="300" y="118"/>
                      <a:pt x="301" y="118"/>
                    </a:cubicBezTo>
                    <a:cubicBezTo>
                      <a:pt x="327" y="118"/>
                      <a:pt x="348" y="97"/>
                      <a:pt x="348" y="71"/>
                    </a:cubicBezTo>
                    <a:cubicBezTo>
                      <a:pt x="348" y="45"/>
                      <a:pt x="327" y="24"/>
                      <a:pt x="301" y="24"/>
                    </a:cubicBezTo>
                    <a:cubicBezTo>
                      <a:pt x="301" y="24"/>
                      <a:pt x="300" y="24"/>
                      <a:pt x="299" y="24"/>
                    </a:cubicBezTo>
                    <a:cubicBezTo>
                      <a:pt x="291" y="10"/>
                      <a:pt x="275" y="0"/>
                      <a:pt x="258" y="0"/>
                    </a:cubicBezTo>
                    <a:cubicBezTo>
                      <a:pt x="239" y="0"/>
                      <a:pt x="222" y="11"/>
                      <a:pt x="215" y="27"/>
                    </a:cubicBezTo>
                    <a:cubicBezTo>
                      <a:pt x="209" y="25"/>
                      <a:pt x="203" y="23"/>
                      <a:pt x="196" y="23"/>
                    </a:cubicBezTo>
                    <a:cubicBezTo>
                      <a:pt x="178" y="23"/>
                      <a:pt x="163" y="33"/>
                      <a:pt x="155" y="48"/>
                    </a:cubicBezTo>
                    <a:cubicBezTo>
                      <a:pt x="150" y="45"/>
                      <a:pt x="144" y="44"/>
                      <a:pt x="138" y="44"/>
                    </a:cubicBezTo>
                    <a:cubicBezTo>
                      <a:pt x="119" y="44"/>
                      <a:pt x="103" y="60"/>
                      <a:pt x="103" y="79"/>
                    </a:cubicBezTo>
                    <a:cubicBezTo>
                      <a:pt x="103" y="80"/>
                      <a:pt x="103" y="80"/>
                      <a:pt x="103" y="80"/>
                    </a:cubicBezTo>
                    <a:cubicBezTo>
                      <a:pt x="97" y="85"/>
                      <a:pt x="93" y="92"/>
                      <a:pt x="93" y="100"/>
                    </a:cubicBezTo>
                    <a:cubicBezTo>
                      <a:pt x="93" y="114"/>
                      <a:pt x="104" y="125"/>
                      <a:pt x="118" y="125"/>
                    </a:cubicBezTo>
                    <a:close/>
                    <a:moveTo>
                      <a:pt x="115" y="92"/>
                    </a:moveTo>
                    <a:cubicBezTo>
                      <a:pt x="118" y="90"/>
                      <a:pt x="120" y="87"/>
                      <a:pt x="119" y="83"/>
                    </a:cubicBezTo>
                    <a:cubicBezTo>
                      <a:pt x="119" y="82"/>
                      <a:pt x="119" y="81"/>
                      <a:pt x="119" y="79"/>
                    </a:cubicBezTo>
                    <a:cubicBezTo>
                      <a:pt x="119" y="69"/>
                      <a:pt x="128" y="60"/>
                      <a:pt x="138" y="60"/>
                    </a:cubicBezTo>
                    <a:cubicBezTo>
                      <a:pt x="144" y="60"/>
                      <a:pt x="149" y="62"/>
                      <a:pt x="153" y="66"/>
                    </a:cubicBezTo>
                    <a:cubicBezTo>
                      <a:pt x="155" y="68"/>
                      <a:pt x="158" y="69"/>
                      <a:pt x="160" y="68"/>
                    </a:cubicBezTo>
                    <a:cubicBezTo>
                      <a:pt x="163" y="68"/>
                      <a:pt x="165" y="65"/>
                      <a:pt x="166" y="63"/>
                    </a:cubicBezTo>
                    <a:cubicBezTo>
                      <a:pt x="170" y="49"/>
                      <a:pt x="182" y="39"/>
                      <a:pt x="196" y="39"/>
                    </a:cubicBezTo>
                    <a:cubicBezTo>
                      <a:pt x="203" y="39"/>
                      <a:pt x="209" y="41"/>
                      <a:pt x="215" y="45"/>
                    </a:cubicBezTo>
                    <a:cubicBezTo>
                      <a:pt x="217" y="47"/>
                      <a:pt x="220" y="47"/>
                      <a:pt x="222" y="46"/>
                    </a:cubicBezTo>
                    <a:cubicBezTo>
                      <a:pt x="225" y="45"/>
                      <a:pt x="227" y="43"/>
                      <a:pt x="227" y="40"/>
                    </a:cubicBezTo>
                    <a:cubicBezTo>
                      <a:pt x="230" y="26"/>
                      <a:pt x="243" y="16"/>
                      <a:pt x="258" y="16"/>
                    </a:cubicBezTo>
                    <a:cubicBezTo>
                      <a:pt x="271" y="16"/>
                      <a:pt x="282" y="24"/>
                      <a:pt x="287" y="36"/>
                    </a:cubicBezTo>
                    <a:cubicBezTo>
                      <a:pt x="288" y="40"/>
                      <a:pt x="292" y="42"/>
                      <a:pt x="296" y="41"/>
                    </a:cubicBezTo>
                    <a:cubicBezTo>
                      <a:pt x="298" y="41"/>
                      <a:pt x="299" y="40"/>
                      <a:pt x="301" y="40"/>
                    </a:cubicBezTo>
                    <a:cubicBezTo>
                      <a:pt x="319" y="40"/>
                      <a:pt x="332" y="54"/>
                      <a:pt x="332" y="71"/>
                    </a:cubicBezTo>
                    <a:cubicBezTo>
                      <a:pt x="332" y="89"/>
                      <a:pt x="319" y="102"/>
                      <a:pt x="301" y="102"/>
                    </a:cubicBezTo>
                    <a:cubicBezTo>
                      <a:pt x="299" y="102"/>
                      <a:pt x="297" y="102"/>
                      <a:pt x="295" y="102"/>
                    </a:cubicBezTo>
                    <a:cubicBezTo>
                      <a:pt x="292" y="101"/>
                      <a:pt x="288" y="103"/>
                      <a:pt x="286" y="107"/>
                    </a:cubicBezTo>
                    <a:cubicBezTo>
                      <a:pt x="282" y="118"/>
                      <a:pt x="271" y="126"/>
                      <a:pt x="258" y="126"/>
                    </a:cubicBezTo>
                    <a:cubicBezTo>
                      <a:pt x="242" y="126"/>
                      <a:pt x="230" y="115"/>
                      <a:pt x="227" y="100"/>
                    </a:cubicBezTo>
                    <a:cubicBezTo>
                      <a:pt x="227" y="98"/>
                      <a:pt x="225" y="95"/>
                      <a:pt x="222" y="94"/>
                    </a:cubicBezTo>
                    <a:cubicBezTo>
                      <a:pt x="221" y="94"/>
                      <a:pt x="220" y="94"/>
                      <a:pt x="219" y="94"/>
                    </a:cubicBezTo>
                    <a:cubicBezTo>
                      <a:pt x="217" y="94"/>
                      <a:pt x="216" y="94"/>
                      <a:pt x="214" y="95"/>
                    </a:cubicBezTo>
                    <a:cubicBezTo>
                      <a:pt x="209" y="99"/>
                      <a:pt x="203" y="101"/>
                      <a:pt x="196" y="101"/>
                    </a:cubicBezTo>
                    <a:cubicBezTo>
                      <a:pt x="185" y="101"/>
                      <a:pt x="176" y="95"/>
                      <a:pt x="170" y="87"/>
                    </a:cubicBezTo>
                    <a:cubicBezTo>
                      <a:pt x="168" y="84"/>
                      <a:pt x="166" y="83"/>
                      <a:pt x="163" y="83"/>
                    </a:cubicBezTo>
                    <a:cubicBezTo>
                      <a:pt x="160" y="83"/>
                      <a:pt x="157" y="85"/>
                      <a:pt x="156" y="88"/>
                    </a:cubicBezTo>
                    <a:cubicBezTo>
                      <a:pt x="153" y="94"/>
                      <a:pt x="146" y="99"/>
                      <a:pt x="138" y="99"/>
                    </a:cubicBezTo>
                    <a:cubicBezTo>
                      <a:pt x="137" y="99"/>
                      <a:pt x="136" y="99"/>
                      <a:pt x="135" y="99"/>
                    </a:cubicBezTo>
                    <a:cubicBezTo>
                      <a:pt x="131" y="98"/>
                      <a:pt x="128" y="100"/>
                      <a:pt x="126" y="103"/>
                    </a:cubicBezTo>
                    <a:cubicBezTo>
                      <a:pt x="125" y="107"/>
                      <a:pt x="122" y="109"/>
                      <a:pt x="118" y="109"/>
                    </a:cubicBezTo>
                    <a:cubicBezTo>
                      <a:pt x="113" y="109"/>
                      <a:pt x="109" y="105"/>
                      <a:pt x="109" y="100"/>
                    </a:cubicBezTo>
                    <a:cubicBezTo>
                      <a:pt x="109" y="96"/>
                      <a:pt x="111" y="93"/>
                      <a:pt x="115" y="92"/>
                    </a:cubicBezTo>
                    <a:close/>
                  </a:path>
                </a:pathLst>
              </a:custGeom>
              <a:grpFill/>
              <a:ln>
                <a:noFill/>
              </a:ln>
            </p:spPr>
            <p:txBody>
              <a:bodyPr/>
              <a:lstStyle/>
              <a:p>
                <a:endParaRPr lang="sv-SE" dirty="0">
                  <a:solidFill>
                    <a:srgbClr val="58585A"/>
                  </a:solidFill>
                </a:endParaRPr>
              </a:p>
            </p:txBody>
          </p:sp>
        </p:grpSp>
        <p:grpSp>
          <p:nvGrpSpPr>
            <p:cNvPr id="86" name="Grupp 16">
              <a:extLst>
                <a:ext uri="{FF2B5EF4-FFF2-40B4-BE49-F238E27FC236}">
                  <a16:creationId xmlns:a16="http://schemas.microsoft.com/office/drawing/2014/main" id="{8CB016D9-ADFC-4DD2-85BF-E306ED753AAA}"/>
                </a:ext>
              </a:extLst>
            </p:cNvPr>
            <p:cNvGrpSpPr/>
            <p:nvPr/>
          </p:nvGrpSpPr>
          <p:grpSpPr>
            <a:xfrm>
              <a:off x="5324202" y="2303087"/>
              <a:ext cx="748955" cy="742065"/>
              <a:chOff x="10695174" y="3783014"/>
              <a:chExt cx="1335930" cy="1323640"/>
            </a:xfrm>
            <a:grpFill/>
          </p:grpSpPr>
          <p:sp>
            <p:nvSpPr>
              <p:cNvPr id="120" name="Freeform 3">
                <a:extLst>
                  <a:ext uri="{FF2B5EF4-FFF2-40B4-BE49-F238E27FC236}">
                    <a16:creationId xmlns:a16="http://schemas.microsoft.com/office/drawing/2014/main" id="{94A4D390-6CB8-41CA-BA65-7AEEA689EC6E}"/>
                  </a:ext>
                </a:extLst>
              </p:cNvPr>
              <p:cNvSpPr>
                <a:spLocks noChangeAspect="1" noEditPoints="1"/>
              </p:cNvSpPr>
              <p:nvPr/>
            </p:nvSpPr>
            <p:spPr bwMode="auto">
              <a:xfrm>
                <a:off x="10695174" y="3783014"/>
                <a:ext cx="745379" cy="579435"/>
              </a:xfrm>
              <a:custGeom>
                <a:avLst/>
                <a:gdLst>
                  <a:gd name="T0" fmla="*/ 2147483647 w 464"/>
                  <a:gd name="T1" fmla="*/ 2147483647 h 361"/>
                  <a:gd name="T2" fmla="*/ 2147483647 w 464"/>
                  <a:gd name="T3" fmla="*/ 2147483647 h 361"/>
                  <a:gd name="T4" fmla="*/ 2147483647 w 464"/>
                  <a:gd name="T5" fmla="*/ 2147483647 h 361"/>
                  <a:gd name="T6" fmla="*/ 2147483647 w 464"/>
                  <a:gd name="T7" fmla="*/ 2147483647 h 361"/>
                  <a:gd name="T8" fmla="*/ 2147483647 w 464"/>
                  <a:gd name="T9" fmla="*/ 2147483647 h 361"/>
                  <a:gd name="T10" fmla="*/ 2147483647 w 464"/>
                  <a:gd name="T11" fmla="*/ 2147483647 h 361"/>
                  <a:gd name="T12" fmla="*/ 2147483647 w 464"/>
                  <a:gd name="T13" fmla="*/ 2147483647 h 361"/>
                  <a:gd name="T14" fmla="*/ 2147483647 w 464"/>
                  <a:gd name="T15" fmla="*/ 2147483647 h 361"/>
                  <a:gd name="T16" fmla="*/ 2147483647 w 464"/>
                  <a:gd name="T17" fmla="*/ 2147483647 h 361"/>
                  <a:gd name="T18" fmla="*/ 2147483647 w 464"/>
                  <a:gd name="T19" fmla="*/ 2147483647 h 361"/>
                  <a:gd name="T20" fmla="*/ 2147483647 w 464"/>
                  <a:gd name="T21" fmla="*/ 2147483647 h 361"/>
                  <a:gd name="T22" fmla="*/ 2147483647 w 464"/>
                  <a:gd name="T23" fmla="*/ 2147483647 h 361"/>
                  <a:gd name="T24" fmla="*/ 2147483647 w 464"/>
                  <a:gd name="T25" fmla="*/ 2147483647 h 361"/>
                  <a:gd name="T26" fmla="*/ 2147483647 w 464"/>
                  <a:gd name="T27" fmla="*/ 2147483647 h 361"/>
                  <a:gd name="T28" fmla="*/ 2147483647 w 464"/>
                  <a:gd name="T29" fmla="*/ 2147483647 h 361"/>
                  <a:gd name="T30" fmla="*/ 2147483647 w 464"/>
                  <a:gd name="T31" fmla="*/ 2147483647 h 361"/>
                  <a:gd name="T32" fmla="*/ 2147483647 w 464"/>
                  <a:gd name="T33" fmla="*/ 2147483647 h 361"/>
                  <a:gd name="T34" fmla="*/ 2147483647 w 464"/>
                  <a:gd name="T35" fmla="*/ 2147483647 h 361"/>
                  <a:gd name="T36" fmla="*/ 2147483647 w 464"/>
                  <a:gd name="T37" fmla="*/ 2147483647 h 361"/>
                  <a:gd name="T38" fmla="*/ 2147483647 w 464"/>
                  <a:gd name="T39" fmla="*/ 2147483647 h 361"/>
                  <a:gd name="T40" fmla="*/ 2147483647 w 464"/>
                  <a:gd name="T41" fmla="*/ 0 h 361"/>
                  <a:gd name="T42" fmla="*/ 2147483647 w 464"/>
                  <a:gd name="T43" fmla="*/ 2147483647 h 361"/>
                  <a:gd name="T44" fmla="*/ 2147483647 w 464"/>
                  <a:gd name="T45" fmla="*/ 2147483647 h 361"/>
                  <a:gd name="T46" fmla="*/ 2147483647 w 464"/>
                  <a:gd name="T47" fmla="*/ 2147483647 h 361"/>
                  <a:gd name="T48" fmla="*/ 2147483647 w 464"/>
                  <a:gd name="T49" fmla="*/ 2147483647 h 361"/>
                  <a:gd name="T50" fmla="*/ 2147483647 w 464"/>
                  <a:gd name="T51" fmla="*/ 2147483647 h 361"/>
                  <a:gd name="T52" fmla="*/ 2147483647 w 464"/>
                  <a:gd name="T53" fmla="*/ 2147483647 h 361"/>
                  <a:gd name="T54" fmla="*/ 2147483647 w 464"/>
                  <a:gd name="T55" fmla="*/ 2147483647 h 361"/>
                  <a:gd name="T56" fmla="*/ 2147483647 w 464"/>
                  <a:gd name="T57" fmla="*/ 2147483647 h 361"/>
                  <a:gd name="T58" fmla="*/ 2147483647 w 464"/>
                  <a:gd name="T59" fmla="*/ 2147483647 h 361"/>
                  <a:gd name="T60" fmla="*/ 2147483647 w 464"/>
                  <a:gd name="T61" fmla="*/ 2147483647 h 361"/>
                  <a:gd name="T62" fmla="*/ 2147483647 w 464"/>
                  <a:gd name="T63" fmla="*/ 2147483647 h 361"/>
                  <a:gd name="T64" fmla="*/ 2147483647 w 464"/>
                  <a:gd name="T65" fmla="*/ 2147483647 h 3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4" h="361">
                    <a:moveTo>
                      <a:pt x="400" y="167"/>
                    </a:moveTo>
                    <a:cubicBezTo>
                      <a:pt x="405" y="167"/>
                      <a:pt x="408" y="163"/>
                      <a:pt x="408" y="159"/>
                    </a:cubicBezTo>
                    <a:cubicBezTo>
                      <a:pt x="408" y="159"/>
                      <a:pt x="408" y="159"/>
                      <a:pt x="408" y="159"/>
                    </a:cubicBezTo>
                    <a:cubicBezTo>
                      <a:pt x="408" y="140"/>
                      <a:pt x="408" y="140"/>
                      <a:pt x="408" y="140"/>
                    </a:cubicBezTo>
                    <a:cubicBezTo>
                      <a:pt x="408" y="129"/>
                      <a:pt x="400" y="122"/>
                      <a:pt x="392" y="119"/>
                    </a:cubicBezTo>
                    <a:cubicBezTo>
                      <a:pt x="385" y="115"/>
                      <a:pt x="251" y="46"/>
                      <a:pt x="243" y="42"/>
                    </a:cubicBezTo>
                    <a:cubicBezTo>
                      <a:pt x="239" y="40"/>
                      <a:pt x="236" y="39"/>
                      <a:pt x="232" y="39"/>
                    </a:cubicBezTo>
                    <a:cubicBezTo>
                      <a:pt x="225" y="39"/>
                      <a:pt x="221" y="42"/>
                      <a:pt x="220" y="42"/>
                    </a:cubicBezTo>
                    <a:cubicBezTo>
                      <a:pt x="71" y="119"/>
                      <a:pt x="71" y="119"/>
                      <a:pt x="71" y="119"/>
                    </a:cubicBezTo>
                    <a:cubicBezTo>
                      <a:pt x="64" y="122"/>
                      <a:pt x="56" y="129"/>
                      <a:pt x="55" y="140"/>
                    </a:cubicBezTo>
                    <a:cubicBezTo>
                      <a:pt x="55" y="342"/>
                      <a:pt x="55" y="342"/>
                      <a:pt x="55" y="342"/>
                    </a:cubicBezTo>
                    <a:cubicBezTo>
                      <a:pt x="55" y="352"/>
                      <a:pt x="64" y="361"/>
                      <a:pt x="75" y="361"/>
                    </a:cubicBezTo>
                    <a:cubicBezTo>
                      <a:pt x="389" y="361"/>
                      <a:pt x="389" y="361"/>
                      <a:pt x="389" y="361"/>
                    </a:cubicBezTo>
                    <a:cubicBezTo>
                      <a:pt x="400" y="361"/>
                      <a:pt x="408" y="352"/>
                      <a:pt x="408" y="342"/>
                    </a:cubicBezTo>
                    <a:cubicBezTo>
                      <a:pt x="408" y="191"/>
                      <a:pt x="408" y="191"/>
                      <a:pt x="408" y="191"/>
                    </a:cubicBezTo>
                    <a:cubicBezTo>
                      <a:pt x="408" y="186"/>
                      <a:pt x="405" y="183"/>
                      <a:pt x="400" y="183"/>
                    </a:cubicBezTo>
                    <a:cubicBezTo>
                      <a:pt x="396" y="183"/>
                      <a:pt x="392" y="186"/>
                      <a:pt x="392" y="191"/>
                    </a:cubicBezTo>
                    <a:cubicBezTo>
                      <a:pt x="392" y="342"/>
                      <a:pt x="392" y="342"/>
                      <a:pt x="392" y="342"/>
                    </a:cubicBezTo>
                    <a:cubicBezTo>
                      <a:pt x="392" y="344"/>
                      <a:pt x="391" y="345"/>
                      <a:pt x="389" y="345"/>
                    </a:cubicBezTo>
                    <a:cubicBezTo>
                      <a:pt x="75" y="345"/>
                      <a:pt x="75" y="345"/>
                      <a:pt x="75" y="345"/>
                    </a:cubicBezTo>
                    <a:cubicBezTo>
                      <a:pt x="73" y="345"/>
                      <a:pt x="71" y="344"/>
                      <a:pt x="71" y="342"/>
                    </a:cubicBezTo>
                    <a:cubicBezTo>
                      <a:pt x="71" y="140"/>
                      <a:pt x="71" y="140"/>
                      <a:pt x="71" y="140"/>
                    </a:cubicBezTo>
                    <a:cubicBezTo>
                      <a:pt x="71" y="138"/>
                      <a:pt x="73" y="135"/>
                      <a:pt x="78" y="133"/>
                    </a:cubicBezTo>
                    <a:cubicBezTo>
                      <a:pt x="78" y="133"/>
                      <a:pt x="78" y="133"/>
                      <a:pt x="78" y="133"/>
                    </a:cubicBezTo>
                    <a:cubicBezTo>
                      <a:pt x="227" y="56"/>
                      <a:pt x="227" y="56"/>
                      <a:pt x="227" y="56"/>
                    </a:cubicBezTo>
                    <a:cubicBezTo>
                      <a:pt x="227" y="56"/>
                      <a:pt x="227" y="56"/>
                      <a:pt x="227" y="56"/>
                    </a:cubicBezTo>
                    <a:cubicBezTo>
                      <a:pt x="228" y="56"/>
                      <a:pt x="230" y="55"/>
                      <a:pt x="232" y="55"/>
                    </a:cubicBezTo>
                    <a:cubicBezTo>
                      <a:pt x="234" y="55"/>
                      <a:pt x="235" y="55"/>
                      <a:pt x="236" y="56"/>
                    </a:cubicBezTo>
                    <a:cubicBezTo>
                      <a:pt x="240" y="58"/>
                      <a:pt x="277" y="77"/>
                      <a:pt x="314" y="96"/>
                    </a:cubicBezTo>
                    <a:cubicBezTo>
                      <a:pt x="350" y="115"/>
                      <a:pt x="385" y="133"/>
                      <a:pt x="385" y="133"/>
                    </a:cubicBezTo>
                    <a:cubicBezTo>
                      <a:pt x="386" y="133"/>
                      <a:pt x="386" y="133"/>
                      <a:pt x="386" y="133"/>
                    </a:cubicBezTo>
                    <a:cubicBezTo>
                      <a:pt x="391" y="135"/>
                      <a:pt x="393" y="138"/>
                      <a:pt x="392" y="140"/>
                    </a:cubicBezTo>
                    <a:cubicBezTo>
                      <a:pt x="392" y="159"/>
                      <a:pt x="392" y="159"/>
                      <a:pt x="392" y="159"/>
                    </a:cubicBezTo>
                    <a:cubicBezTo>
                      <a:pt x="392" y="163"/>
                      <a:pt x="396" y="167"/>
                      <a:pt x="400" y="167"/>
                    </a:cubicBezTo>
                    <a:close/>
                    <a:moveTo>
                      <a:pt x="458" y="114"/>
                    </a:moveTo>
                    <a:cubicBezTo>
                      <a:pt x="458" y="114"/>
                      <a:pt x="437" y="103"/>
                      <a:pt x="408" y="88"/>
                    </a:cubicBezTo>
                    <a:cubicBezTo>
                      <a:pt x="408" y="52"/>
                      <a:pt x="408" y="52"/>
                      <a:pt x="408" y="52"/>
                    </a:cubicBezTo>
                    <a:cubicBezTo>
                      <a:pt x="408" y="41"/>
                      <a:pt x="400" y="33"/>
                      <a:pt x="389" y="32"/>
                    </a:cubicBezTo>
                    <a:cubicBezTo>
                      <a:pt x="357" y="32"/>
                      <a:pt x="357" y="32"/>
                      <a:pt x="357" y="32"/>
                    </a:cubicBezTo>
                    <a:cubicBezTo>
                      <a:pt x="347" y="33"/>
                      <a:pt x="338" y="41"/>
                      <a:pt x="338" y="52"/>
                    </a:cubicBezTo>
                    <a:cubicBezTo>
                      <a:pt x="292" y="28"/>
                      <a:pt x="249" y="6"/>
                      <a:pt x="245" y="3"/>
                    </a:cubicBezTo>
                    <a:cubicBezTo>
                      <a:pt x="241" y="1"/>
                      <a:pt x="236" y="0"/>
                      <a:pt x="232" y="0"/>
                    </a:cubicBezTo>
                    <a:cubicBezTo>
                      <a:pt x="224" y="1"/>
                      <a:pt x="219" y="3"/>
                      <a:pt x="219" y="3"/>
                    </a:cubicBezTo>
                    <a:cubicBezTo>
                      <a:pt x="6" y="114"/>
                      <a:pt x="6" y="114"/>
                      <a:pt x="6" y="114"/>
                    </a:cubicBezTo>
                    <a:cubicBezTo>
                      <a:pt x="2" y="116"/>
                      <a:pt x="0" y="121"/>
                      <a:pt x="3" y="125"/>
                    </a:cubicBezTo>
                    <a:cubicBezTo>
                      <a:pt x="5" y="129"/>
                      <a:pt x="9" y="130"/>
                      <a:pt x="13" y="128"/>
                    </a:cubicBezTo>
                    <a:cubicBezTo>
                      <a:pt x="226" y="18"/>
                      <a:pt x="226" y="18"/>
                      <a:pt x="226" y="18"/>
                    </a:cubicBezTo>
                    <a:cubicBezTo>
                      <a:pt x="226" y="18"/>
                      <a:pt x="226" y="18"/>
                      <a:pt x="226" y="18"/>
                    </a:cubicBezTo>
                    <a:cubicBezTo>
                      <a:pt x="226" y="18"/>
                      <a:pt x="226" y="18"/>
                      <a:pt x="226" y="18"/>
                    </a:cubicBezTo>
                    <a:cubicBezTo>
                      <a:pt x="226" y="18"/>
                      <a:pt x="229" y="16"/>
                      <a:pt x="232" y="16"/>
                    </a:cubicBezTo>
                    <a:cubicBezTo>
                      <a:pt x="234" y="16"/>
                      <a:pt x="236" y="17"/>
                      <a:pt x="238" y="18"/>
                    </a:cubicBezTo>
                    <a:cubicBezTo>
                      <a:pt x="242" y="20"/>
                      <a:pt x="291" y="45"/>
                      <a:pt x="340" y="71"/>
                    </a:cubicBezTo>
                    <a:cubicBezTo>
                      <a:pt x="341" y="71"/>
                      <a:pt x="343" y="72"/>
                      <a:pt x="345" y="72"/>
                    </a:cubicBezTo>
                    <a:cubicBezTo>
                      <a:pt x="347" y="72"/>
                      <a:pt x="349" y="71"/>
                      <a:pt x="352" y="69"/>
                    </a:cubicBezTo>
                    <a:cubicBezTo>
                      <a:pt x="354" y="67"/>
                      <a:pt x="354" y="64"/>
                      <a:pt x="354" y="62"/>
                    </a:cubicBezTo>
                    <a:cubicBezTo>
                      <a:pt x="354" y="52"/>
                      <a:pt x="354" y="52"/>
                      <a:pt x="354" y="52"/>
                    </a:cubicBezTo>
                    <a:cubicBezTo>
                      <a:pt x="354" y="50"/>
                      <a:pt x="356" y="48"/>
                      <a:pt x="357" y="48"/>
                    </a:cubicBezTo>
                    <a:cubicBezTo>
                      <a:pt x="389" y="48"/>
                      <a:pt x="389" y="48"/>
                      <a:pt x="389" y="48"/>
                    </a:cubicBezTo>
                    <a:cubicBezTo>
                      <a:pt x="391" y="48"/>
                      <a:pt x="392" y="50"/>
                      <a:pt x="392" y="52"/>
                    </a:cubicBezTo>
                    <a:cubicBezTo>
                      <a:pt x="392" y="52"/>
                      <a:pt x="392" y="61"/>
                      <a:pt x="392" y="70"/>
                    </a:cubicBezTo>
                    <a:cubicBezTo>
                      <a:pt x="392" y="79"/>
                      <a:pt x="392" y="89"/>
                      <a:pt x="392" y="90"/>
                    </a:cubicBezTo>
                    <a:cubicBezTo>
                      <a:pt x="392" y="93"/>
                      <a:pt x="393" y="96"/>
                      <a:pt x="395" y="98"/>
                    </a:cubicBezTo>
                    <a:cubicBezTo>
                      <a:pt x="396" y="100"/>
                      <a:pt x="398" y="101"/>
                      <a:pt x="399" y="101"/>
                    </a:cubicBezTo>
                    <a:cubicBezTo>
                      <a:pt x="429" y="117"/>
                      <a:pt x="451" y="128"/>
                      <a:pt x="451" y="128"/>
                    </a:cubicBezTo>
                    <a:cubicBezTo>
                      <a:pt x="452" y="129"/>
                      <a:pt x="454" y="129"/>
                      <a:pt x="455" y="129"/>
                    </a:cubicBezTo>
                    <a:cubicBezTo>
                      <a:pt x="458" y="129"/>
                      <a:pt x="460" y="128"/>
                      <a:pt x="462" y="125"/>
                    </a:cubicBezTo>
                    <a:cubicBezTo>
                      <a:pt x="464" y="121"/>
                      <a:pt x="462" y="116"/>
                      <a:pt x="458" y="114"/>
                    </a:cubicBezTo>
                    <a:close/>
                  </a:path>
                </a:pathLst>
              </a:custGeom>
              <a:grpFill/>
              <a:ln>
                <a:noFill/>
              </a:ln>
            </p:spPr>
            <p:txBody>
              <a:bodyPr/>
              <a:lstStyle/>
              <a:p>
                <a:endParaRPr lang="sv-SE" dirty="0">
                  <a:solidFill>
                    <a:srgbClr val="58585A"/>
                  </a:solidFill>
                </a:endParaRPr>
              </a:p>
            </p:txBody>
          </p:sp>
          <p:sp>
            <p:nvSpPr>
              <p:cNvPr id="121" name="Freeform 3">
                <a:extLst>
                  <a:ext uri="{FF2B5EF4-FFF2-40B4-BE49-F238E27FC236}">
                    <a16:creationId xmlns:a16="http://schemas.microsoft.com/office/drawing/2014/main" id="{7753E075-00B6-4719-96C6-14A835AB0087}"/>
                  </a:ext>
                </a:extLst>
              </p:cNvPr>
              <p:cNvSpPr>
                <a:spLocks noChangeAspect="1" noEditPoints="1"/>
              </p:cNvSpPr>
              <p:nvPr/>
            </p:nvSpPr>
            <p:spPr bwMode="auto">
              <a:xfrm>
                <a:off x="11504054" y="4188853"/>
                <a:ext cx="527050" cy="718234"/>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grpFill/>
              <a:ln>
                <a:noFill/>
              </a:ln>
            </p:spPr>
            <p:txBody>
              <a:bodyPr/>
              <a:lstStyle/>
              <a:p>
                <a:endParaRPr lang="sv-SE" dirty="0">
                  <a:solidFill>
                    <a:srgbClr val="58585A"/>
                  </a:solidFill>
                </a:endParaRPr>
              </a:p>
            </p:txBody>
          </p:sp>
          <p:sp>
            <p:nvSpPr>
              <p:cNvPr id="122" name="Freeform 3">
                <a:extLst>
                  <a:ext uri="{FF2B5EF4-FFF2-40B4-BE49-F238E27FC236}">
                    <a16:creationId xmlns:a16="http://schemas.microsoft.com/office/drawing/2014/main" id="{C6D0226B-6F63-4B7F-927D-EEBDF5F3BA6C}"/>
                  </a:ext>
                </a:extLst>
              </p:cNvPr>
              <p:cNvSpPr>
                <a:spLocks noChangeAspect="1" noEditPoints="1"/>
              </p:cNvSpPr>
              <p:nvPr/>
            </p:nvSpPr>
            <p:spPr bwMode="auto">
              <a:xfrm>
                <a:off x="10725620" y="4537635"/>
                <a:ext cx="687388" cy="569019"/>
              </a:xfrm>
              <a:custGeom>
                <a:avLst/>
                <a:gdLst>
                  <a:gd name="T0" fmla="*/ 2147483647 w 344"/>
                  <a:gd name="T1" fmla="*/ 2147483647 h 285"/>
                  <a:gd name="T2" fmla="*/ 2147483647 w 344"/>
                  <a:gd name="T3" fmla="*/ 2147483647 h 285"/>
                  <a:gd name="T4" fmla="*/ 2147483647 w 344"/>
                  <a:gd name="T5" fmla="*/ 2147483647 h 285"/>
                  <a:gd name="T6" fmla="*/ 2147483647 w 344"/>
                  <a:gd name="T7" fmla="*/ 2147483647 h 285"/>
                  <a:gd name="T8" fmla="*/ 2147483647 w 344"/>
                  <a:gd name="T9" fmla="*/ 2147483647 h 285"/>
                  <a:gd name="T10" fmla="*/ 2147483647 w 344"/>
                  <a:gd name="T11" fmla="*/ 2147483647 h 285"/>
                  <a:gd name="T12" fmla="*/ 2147483647 w 344"/>
                  <a:gd name="T13" fmla="*/ 2147483647 h 285"/>
                  <a:gd name="T14" fmla="*/ 2147483647 w 344"/>
                  <a:gd name="T15" fmla="*/ 2147483647 h 285"/>
                  <a:gd name="T16" fmla="*/ 2147483647 w 344"/>
                  <a:gd name="T17" fmla="*/ 2147483647 h 285"/>
                  <a:gd name="T18" fmla="*/ 2147483647 w 344"/>
                  <a:gd name="T19" fmla="*/ 2147483647 h 285"/>
                  <a:gd name="T20" fmla="*/ 2147483647 w 344"/>
                  <a:gd name="T21" fmla="*/ 2147483647 h 285"/>
                  <a:gd name="T22" fmla="*/ 2147483647 w 344"/>
                  <a:gd name="T23" fmla="*/ 2147483647 h 285"/>
                  <a:gd name="T24" fmla="*/ 2147483647 w 344"/>
                  <a:gd name="T25" fmla="*/ 2147483647 h 285"/>
                  <a:gd name="T26" fmla="*/ 2147483647 w 344"/>
                  <a:gd name="T27" fmla="*/ 2147483647 h 285"/>
                  <a:gd name="T28" fmla="*/ 2147483647 w 344"/>
                  <a:gd name="T29" fmla="*/ 2147483647 h 285"/>
                  <a:gd name="T30" fmla="*/ 2147483647 w 344"/>
                  <a:gd name="T31" fmla="*/ 2147483647 h 285"/>
                  <a:gd name="T32" fmla="*/ 2147483647 w 344"/>
                  <a:gd name="T33" fmla="*/ 2147483647 h 285"/>
                  <a:gd name="T34" fmla="*/ 2147483647 w 344"/>
                  <a:gd name="T35" fmla="*/ 2147483647 h 285"/>
                  <a:gd name="T36" fmla="*/ 2147483647 w 344"/>
                  <a:gd name="T37" fmla="*/ 2147483647 h 285"/>
                  <a:gd name="T38" fmla="*/ 2147483647 w 344"/>
                  <a:gd name="T39" fmla="*/ 2147483647 h 285"/>
                  <a:gd name="T40" fmla="*/ 2147483647 w 344"/>
                  <a:gd name="T41" fmla="*/ 2147483647 h 285"/>
                  <a:gd name="T42" fmla="*/ 2147483647 w 344"/>
                  <a:gd name="T43" fmla="*/ 2147483647 h 285"/>
                  <a:gd name="T44" fmla="*/ 2147483647 w 344"/>
                  <a:gd name="T45" fmla="*/ 2147483647 h 285"/>
                  <a:gd name="T46" fmla="*/ 2147483647 w 344"/>
                  <a:gd name="T47" fmla="*/ 2147483647 h 285"/>
                  <a:gd name="T48" fmla="*/ 2147483647 w 344"/>
                  <a:gd name="T49" fmla="*/ 2147483647 h 285"/>
                  <a:gd name="T50" fmla="*/ 2147483647 w 344"/>
                  <a:gd name="T51" fmla="*/ 2147483647 h 285"/>
                  <a:gd name="T52" fmla="*/ 2147483647 w 344"/>
                  <a:gd name="T53" fmla="*/ 2147483647 h 285"/>
                  <a:gd name="T54" fmla="*/ 2147483647 w 344"/>
                  <a:gd name="T55" fmla="*/ 2147483647 h 285"/>
                  <a:gd name="T56" fmla="*/ 2147483647 w 344"/>
                  <a:gd name="T57" fmla="*/ 2147483647 h 285"/>
                  <a:gd name="T58" fmla="*/ 2147483647 w 344"/>
                  <a:gd name="T59" fmla="*/ 2147483647 h 285"/>
                  <a:gd name="T60" fmla="*/ 2147483647 w 344"/>
                  <a:gd name="T61" fmla="*/ 2147483647 h 285"/>
                  <a:gd name="T62" fmla="*/ 2147483647 w 344"/>
                  <a:gd name="T63" fmla="*/ 2147483647 h 285"/>
                  <a:gd name="T64" fmla="*/ 2147483647 w 344"/>
                  <a:gd name="T65" fmla="*/ 2147483647 h 285"/>
                  <a:gd name="T66" fmla="*/ 2147483647 w 344"/>
                  <a:gd name="T67" fmla="*/ 2147483647 h 285"/>
                  <a:gd name="T68" fmla="*/ 2147483647 w 344"/>
                  <a:gd name="T69" fmla="*/ 2147483647 h 285"/>
                  <a:gd name="T70" fmla="*/ 2147483647 w 344"/>
                  <a:gd name="T71" fmla="*/ 2147483647 h 285"/>
                  <a:gd name="T72" fmla="*/ 2147483647 w 344"/>
                  <a:gd name="T73" fmla="*/ 2147483647 h 285"/>
                  <a:gd name="T74" fmla="*/ 2147483647 w 344"/>
                  <a:gd name="T75" fmla="*/ 2147483647 h 285"/>
                  <a:gd name="T76" fmla="*/ 2147483647 w 344"/>
                  <a:gd name="T77" fmla="*/ 2147483647 h 285"/>
                  <a:gd name="T78" fmla="*/ 2147483647 w 344"/>
                  <a:gd name="T79" fmla="*/ 2147483647 h 285"/>
                  <a:gd name="T80" fmla="*/ 2147483647 w 344"/>
                  <a:gd name="T81" fmla="*/ 2147483647 h 285"/>
                  <a:gd name="T82" fmla="*/ 2147483647 w 344"/>
                  <a:gd name="T83" fmla="*/ 2147483647 h 285"/>
                  <a:gd name="T84" fmla="*/ 2147483647 w 344"/>
                  <a:gd name="T85" fmla="*/ 2147483647 h 285"/>
                  <a:gd name="T86" fmla="*/ 2147483647 w 344"/>
                  <a:gd name="T87" fmla="*/ 2147483647 h 285"/>
                  <a:gd name="T88" fmla="*/ 2147483647 w 344"/>
                  <a:gd name="T89" fmla="*/ 2147483647 h 285"/>
                  <a:gd name="T90" fmla="*/ 2147483647 w 344"/>
                  <a:gd name="T91" fmla="*/ 2147483647 h 285"/>
                  <a:gd name="T92" fmla="*/ 2147483647 w 344"/>
                  <a:gd name="T93" fmla="*/ 2147483647 h 285"/>
                  <a:gd name="T94" fmla="*/ 2147483647 w 344"/>
                  <a:gd name="T95" fmla="*/ 2147483647 h 285"/>
                  <a:gd name="T96" fmla="*/ 2147483647 w 344"/>
                  <a:gd name="T97" fmla="*/ 2147483647 h 285"/>
                  <a:gd name="T98" fmla="*/ 2147483647 w 344"/>
                  <a:gd name="T99" fmla="*/ 2147483647 h 285"/>
                  <a:gd name="T100" fmla="*/ 2147483647 w 344"/>
                  <a:gd name="T101" fmla="*/ 2147483647 h 285"/>
                  <a:gd name="T102" fmla="*/ 2147483647 w 344"/>
                  <a:gd name="T103" fmla="*/ 2147483647 h 28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4" h="285">
                    <a:moveTo>
                      <a:pt x="131" y="2"/>
                    </a:moveTo>
                    <a:cubicBezTo>
                      <a:pt x="127" y="0"/>
                      <a:pt x="122" y="2"/>
                      <a:pt x="120" y="6"/>
                    </a:cubicBezTo>
                    <a:cubicBezTo>
                      <a:pt x="2" y="273"/>
                      <a:pt x="2" y="273"/>
                      <a:pt x="2" y="273"/>
                    </a:cubicBezTo>
                    <a:cubicBezTo>
                      <a:pt x="0" y="278"/>
                      <a:pt x="2" y="282"/>
                      <a:pt x="6" y="284"/>
                    </a:cubicBezTo>
                    <a:cubicBezTo>
                      <a:pt x="7" y="285"/>
                      <a:pt x="8" y="285"/>
                      <a:pt x="9" y="285"/>
                    </a:cubicBezTo>
                    <a:cubicBezTo>
                      <a:pt x="12" y="285"/>
                      <a:pt x="15" y="283"/>
                      <a:pt x="16" y="280"/>
                    </a:cubicBezTo>
                    <a:cubicBezTo>
                      <a:pt x="135" y="12"/>
                      <a:pt x="135" y="12"/>
                      <a:pt x="135" y="12"/>
                    </a:cubicBezTo>
                    <a:cubicBezTo>
                      <a:pt x="137" y="8"/>
                      <a:pt x="135" y="3"/>
                      <a:pt x="131" y="2"/>
                    </a:cubicBezTo>
                    <a:close/>
                    <a:moveTo>
                      <a:pt x="172" y="1"/>
                    </a:moveTo>
                    <a:cubicBezTo>
                      <a:pt x="168" y="1"/>
                      <a:pt x="164" y="4"/>
                      <a:pt x="164" y="9"/>
                    </a:cubicBezTo>
                    <a:cubicBezTo>
                      <a:pt x="164" y="25"/>
                      <a:pt x="164" y="25"/>
                      <a:pt x="164" y="25"/>
                    </a:cubicBezTo>
                    <a:cubicBezTo>
                      <a:pt x="164" y="29"/>
                      <a:pt x="168" y="33"/>
                      <a:pt x="172" y="33"/>
                    </a:cubicBezTo>
                    <a:cubicBezTo>
                      <a:pt x="177" y="33"/>
                      <a:pt x="180" y="29"/>
                      <a:pt x="180" y="25"/>
                    </a:cubicBezTo>
                    <a:cubicBezTo>
                      <a:pt x="180" y="9"/>
                      <a:pt x="180" y="9"/>
                      <a:pt x="180" y="9"/>
                    </a:cubicBezTo>
                    <a:cubicBezTo>
                      <a:pt x="180" y="4"/>
                      <a:pt x="177" y="1"/>
                      <a:pt x="172" y="1"/>
                    </a:cubicBezTo>
                    <a:close/>
                    <a:moveTo>
                      <a:pt x="172" y="159"/>
                    </a:moveTo>
                    <a:cubicBezTo>
                      <a:pt x="168" y="159"/>
                      <a:pt x="164" y="162"/>
                      <a:pt x="164" y="167"/>
                    </a:cubicBezTo>
                    <a:cubicBezTo>
                      <a:pt x="164" y="202"/>
                      <a:pt x="164" y="202"/>
                      <a:pt x="164" y="202"/>
                    </a:cubicBezTo>
                    <a:cubicBezTo>
                      <a:pt x="164" y="207"/>
                      <a:pt x="168" y="210"/>
                      <a:pt x="172" y="210"/>
                    </a:cubicBezTo>
                    <a:cubicBezTo>
                      <a:pt x="177" y="210"/>
                      <a:pt x="180" y="207"/>
                      <a:pt x="180" y="202"/>
                    </a:cubicBezTo>
                    <a:cubicBezTo>
                      <a:pt x="180" y="167"/>
                      <a:pt x="180" y="167"/>
                      <a:pt x="180" y="167"/>
                    </a:cubicBezTo>
                    <a:cubicBezTo>
                      <a:pt x="180" y="162"/>
                      <a:pt x="177" y="159"/>
                      <a:pt x="172" y="159"/>
                    </a:cubicBezTo>
                    <a:close/>
                    <a:moveTo>
                      <a:pt x="172" y="70"/>
                    </a:moveTo>
                    <a:cubicBezTo>
                      <a:pt x="168" y="70"/>
                      <a:pt x="164" y="74"/>
                      <a:pt x="164" y="78"/>
                    </a:cubicBezTo>
                    <a:cubicBezTo>
                      <a:pt x="164" y="114"/>
                      <a:pt x="164" y="114"/>
                      <a:pt x="164" y="114"/>
                    </a:cubicBezTo>
                    <a:cubicBezTo>
                      <a:pt x="164" y="118"/>
                      <a:pt x="168" y="122"/>
                      <a:pt x="172" y="122"/>
                    </a:cubicBezTo>
                    <a:cubicBezTo>
                      <a:pt x="177" y="122"/>
                      <a:pt x="180" y="118"/>
                      <a:pt x="180" y="114"/>
                    </a:cubicBezTo>
                    <a:cubicBezTo>
                      <a:pt x="180" y="78"/>
                      <a:pt x="180" y="78"/>
                      <a:pt x="180" y="78"/>
                    </a:cubicBezTo>
                    <a:cubicBezTo>
                      <a:pt x="180" y="74"/>
                      <a:pt x="177" y="70"/>
                      <a:pt x="172" y="70"/>
                    </a:cubicBezTo>
                    <a:close/>
                    <a:moveTo>
                      <a:pt x="172" y="247"/>
                    </a:moveTo>
                    <a:cubicBezTo>
                      <a:pt x="168" y="247"/>
                      <a:pt x="164" y="251"/>
                      <a:pt x="164" y="255"/>
                    </a:cubicBezTo>
                    <a:cubicBezTo>
                      <a:pt x="164" y="271"/>
                      <a:pt x="164" y="271"/>
                      <a:pt x="164" y="271"/>
                    </a:cubicBezTo>
                    <a:cubicBezTo>
                      <a:pt x="164" y="276"/>
                      <a:pt x="168" y="279"/>
                      <a:pt x="172" y="279"/>
                    </a:cubicBezTo>
                    <a:cubicBezTo>
                      <a:pt x="177" y="279"/>
                      <a:pt x="180" y="276"/>
                      <a:pt x="180" y="271"/>
                    </a:cubicBezTo>
                    <a:cubicBezTo>
                      <a:pt x="180" y="255"/>
                      <a:pt x="180" y="255"/>
                      <a:pt x="180" y="255"/>
                    </a:cubicBezTo>
                    <a:cubicBezTo>
                      <a:pt x="180" y="251"/>
                      <a:pt x="177" y="247"/>
                      <a:pt x="172" y="247"/>
                    </a:cubicBezTo>
                    <a:close/>
                    <a:moveTo>
                      <a:pt x="235" y="30"/>
                    </a:moveTo>
                    <a:cubicBezTo>
                      <a:pt x="224" y="6"/>
                      <a:pt x="224" y="6"/>
                      <a:pt x="224" y="6"/>
                    </a:cubicBezTo>
                    <a:cubicBezTo>
                      <a:pt x="222" y="2"/>
                      <a:pt x="218" y="0"/>
                      <a:pt x="213" y="2"/>
                    </a:cubicBezTo>
                    <a:cubicBezTo>
                      <a:pt x="209" y="3"/>
                      <a:pt x="208" y="8"/>
                      <a:pt x="209" y="12"/>
                    </a:cubicBezTo>
                    <a:cubicBezTo>
                      <a:pt x="220" y="36"/>
                      <a:pt x="220" y="36"/>
                      <a:pt x="220" y="36"/>
                    </a:cubicBezTo>
                    <a:cubicBezTo>
                      <a:pt x="222" y="39"/>
                      <a:pt x="224" y="41"/>
                      <a:pt x="227" y="41"/>
                    </a:cubicBezTo>
                    <a:cubicBezTo>
                      <a:pt x="229" y="41"/>
                      <a:pt x="230" y="41"/>
                      <a:pt x="231" y="41"/>
                    </a:cubicBezTo>
                    <a:cubicBezTo>
                      <a:pt x="235" y="39"/>
                      <a:pt x="237" y="34"/>
                      <a:pt x="235" y="30"/>
                    </a:cubicBezTo>
                    <a:close/>
                    <a:moveTo>
                      <a:pt x="343" y="273"/>
                    </a:moveTo>
                    <a:cubicBezTo>
                      <a:pt x="248" y="60"/>
                      <a:pt x="248" y="60"/>
                      <a:pt x="248" y="60"/>
                    </a:cubicBezTo>
                    <a:cubicBezTo>
                      <a:pt x="246" y="56"/>
                      <a:pt x="241" y="54"/>
                      <a:pt x="237" y="56"/>
                    </a:cubicBezTo>
                    <a:cubicBezTo>
                      <a:pt x="233" y="58"/>
                      <a:pt x="232" y="62"/>
                      <a:pt x="233" y="66"/>
                    </a:cubicBezTo>
                    <a:cubicBezTo>
                      <a:pt x="328" y="280"/>
                      <a:pt x="328" y="280"/>
                      <a:pt x="328" y="280"/>
                    </a:cubicBezTo>
                    <a:cubicBezTo>
                      <a:pt x="329" y="283"/>
                      <a:pt x="332" y="285"/>
                      <a:pt x="335" y="285"/>
                    </a:cubicBezTo>
                    <a:cubicBezTo>
                      <a:pt x="336" y="285"/>
                      <a:pt x="337" y="285"/>
                      <a:pt x="339" y="284"/>
                    </a:cubicBezTo>
                    <a:cubicBezTo>
                      <a:pt x="343" y="282"/>
                      <a:pt x="344" y="278"/>
                      <a:pt x="343" y="273"/>
                    </a:cubicBezTo>
                    <a:close/>
                  </a:path>
                </a:pathLst>
              </a:custGeom>
              <a:grpFill/>
              <a:ln>
                <a:noFill/>
              </a:ln>
            </p:spPr>
            <p:txBody>
              <a:bodyPr/>
              <a:lstStyle/>
              <a:p>
                <a:endParaRPr lang="sv-SE" dirty="0">
                  <a:solidFill>
                    <a:srgbClr val="58585A"/>
                  </a:solidFill>
                </a:endParaRPr>
              </a:p>
            </p:txBody>
          </p:sp>
        </p:grpSp>
        <p:grpSp>
          <p:nvGrpSpPr>
            <p:cNvPr id="87" name="Grupp 92">
              <a:extLst>
                <a:ext uri="{FF2B5EF4-FFF2-40B4-BE49-F238E27FC236}">
                  <a16:creationId xmlns:a16="http://schemas.microsoft.com/office/drawing/2014/main" id="{53CA93F6-2162-4E8A-9D9E-83F411234CB0}"/>
                </a:ext>
              </a:extLst>
            </p:cNvPr>
            <p:cNvGrpSpPr/>
            <p:nvPr/>
          </p:nvGrpSpPr>
          <p:grpSpPr>
            <a:xfrm>
              <a:off x="5876745" y="3621265"/>
              <a:ext cx="905501" cy="630563"/>
              <a:chOff x="-3613149" y="607339"/>
              <a:chExt cx="1631949" cy="1136441"/>
            </a:xfrm>
            <a:grpFill/>
          </p:grpSpPr>
          <p:grpSp>
            <p:nvGrpSpPr>
              <p:cNvPr id="114" name="Grupp 7">
                <a:extLst>
                  <a:ext uri="{FF2B5EF4-FFF2-40B4-BE49-F238E27FC236}">
                    <a16:creationId xmlns:a16="http://schemas.microsoft.com/office/drawing/2014/main" id="{50DC2A31-2ABB-471D-9B1F-1628DD31326B}"/>
                  </a:ext>
                </a:extLst>
              </p:cNvPr>
              <p:cNvGrpSpPr/>
              <p:nvPr/>
            </p:nvGrpSpPr>
            <p:grpSpPr>
              <a:xfrm>
                <a:off x="-3613149" y="607339"/>
                <a:ext cx="1308099" cy="1136441"/>
                <a:chOff x="1225551" y="969289"/>
                <a:chExt cx="1308099" cy="1136441"/>
              </a:xfrm>
              <a:grpFill/>
            </p:grpSpPr>
            <p:sp>
              <p:nvSpPr>
                <p:cNvPr id="116" name="Freeform 6">
                  <a:extLst>
                    <a:ext uri="{FF2B5EF4-FFF2-40B4-BE49-F238E27FC236}">
                      <a16:creationId xmlns:a16="http://schemas.microsoft.com/office/drawing/2014/main" id="{2AE0ECE3-C247-4395-8933-D0652F432F33}"/>
                    </a:ext>
                  </a:extLst>
                </p:cNvPr>
                <p:cNvSpPr>
                  <a:spLocks noChangeAspect="1" noEditPoints="1"/>
                </p:cNvSpPr>
                <p:nvPr/>
              </p:nvSpPr>
              <p:spPr bwMode="auto">
                <a:xfrm>
                  <a:off x="1225551" y="1042989"/>
                  <a:ext cx="518244" cy="366711"/>
                </a:xfrm>
                <a:custGeom>
                  <a:avLst/>
                  <a:gdLst>
                    <a:gd name="T0" fmla="*/ 2147483647 w 434"/>
                    <a:gd name="T1" fmla="*/ 2147483647 h 307"/>
                    <a:gd name="T2" fmla="*/ 2147483647 w 434"/>
                    <a:gd name="T3" fmla="*/ 2147483647 h 307"/>
                    <a:gd name="T4" fmla="*/ 2147483647 w 434"/>
                    <a:gd name="T5" fmla="*/ 2147483647 h 307"/>
                    <a:gd name="T6" fmla="*/ 2147483647 w 434"/>
                    <a:gd name="T7" fmla="*/ 2147483647 h 307"/>
                    <a:gd name="T8" fmla="*/ 2147483647 w 434"/>
                    <a:gd name="T9" fmla="*/ 2147483647 h 307"/>
                    <a:gd name="T10" fmla="*/ 2147483647 w 434"/>
                    <a:gd name="T11" fmla="*/ 2147483647 h 307"/>
                    <a:gd name="T12" fmla="*/ 2147483647 w 434"/>
                    <a:gd name="T13" fmla="*/ 2147483647 h 307"/>
                    <a:gd name="T14" fmla="*/ 2147483647 w 434"/>
                    <a:gd name="T15" fmla="*/ 2147483647 h 307"/>
                    <a:gd name="T16" fmla="*/ 2147483647 w 434"/>
                    <a:gd name="T17" fmla="*/ 2147483647 h 307"/>
                    <a:gd name="T18" fmla="*/ 2147483647 w 434"/>
                    <a:gd name="T19" fmla="*/ 2147483647 h 307"/>
                    <a:gd name="T20" fmla="*/ 2147483647 w 434"/>
                    <a:gd name="T21" fmla="*/ 2147483647 h 307"/>
                    <a:gd name="T22" fmla="*/ 2147483647 w 434"/>
                    <a:gd name="T23" fmla="*/ 2147483647 h 307"/>
                    <a:gd name="T24" fmla="*/ 2147483647 w 434"/>
                    <a:gd name="T25" fmla="*/ 2147483647 h 307"/>
                    <a:gd name="T26" fmla="*/ 2147483647 w 434"/>
                    <a:gd name="T27" fmla="*/ 0 h 307"/>
                    <a:gd name="T28" fmla="*/ 2147483647 w 434"/>
                    <a:gd name="T29" fmla="*/ 2147483647 h 307"/>
                    <a:gd name="T30" fmla="*/ 2147483647 w 434"/>
                    <a:gd name="T31" fmla="*/ 2147483647 h 307"/>
                    <a:gd name="T32" fmla="*/ 2147483647 w 434"/>
                    <a:gd name="T33" fmla="*/ 2147483647 h 307"/>
                    <a:gd name="T34" fmla="*/ 2147483647 w 434"/>
                    <a:gd name="T35" fmla="*/ 2147483647 h 307"/>
                    <a:gd name="T36" fmla="*/ 0 w 434"/>
                    <a:gd name="T37" fmla="*/ 2147483647 h 307"/>
                    <a:gd name="T38" fmla="*/ 0 w 434"/>
                    <a:gd name="T39" fmla="*/ 2147483647 h 307"/>
                    <a:gd name="T40" fmla="*/ 2147483647 w 434"/>
                    <a:gd name="T41" fmla="*/ 2147483647 h 307"/>
                    <a:gd name="T42" fmla="*/ 2147483647 w 434"/>
                    <a:gd name="T43" fmla="*/ 2147483647 h 307"/>
                    <a:gd name="T44" fmla="*/ 2147483647 w 434"/>
                    <a:gd name="T45" fmla="*/ 2147483647 h 307"/>
                    <a:gd name="T46" fmla="*/ 2147483647 w 434"/>
                    <a:gd name="T47" fmla="*/ 2147483647 h 307"/>
                    <a:gd name="T48" fmla="*/ 2147483647 w 434"/>
                    <a:gd name="T49" fmla="*/ 2147483647 h 307"/>
                    <a:gd name="T50" fmla="*/ 2147483647 w 434"/>
                    <a:gd name="T51" fmla="*/ 2147483647 h 307"/>
                    <a:gd name="T52" fmla="*/ 2147483647 w 434"/>
                    <a:gd name="T53" fmla="*/ 2147483647 h 307"/>
                    <a:gd name="T54" fmla="*/ 2147483647 w 434"/>
                    <a:gd name="T55" fmla="*/ 2147483647 h 307"/>
                    <a:gd name="T56" fmla="*/ 2147483647 w 434"/>
                    <a:gd name="T57" fmla="*/ 2147483647 h 307"/>
                    <a:gd name="T58" fmla="*/ 2147483647 w 434"/>
                    <a:gd name="T59" fmla="*/ 2147483647 h 307"/>
                    <a:gd name="T60" fmla="*/ 2147483647 w 434"/>
                    <a:gd name="T61" fmla="*/ 2147483647 h 307"/>
                    <a:gd name="T62" fmla="*/ 2147483647 w 434"/>
                    <a:gd name="T63" fmla="*/ 2147483647 h 307"/>
                    <a:gd name="T64" fmla="*/ 2147483647 w 434"/>
                    <a:gd name="T65" fmla="*/ 2147483647 h 307"/>
                    <a:gd name="T66" fmla="*/ 2147483647 w 434"/>
                    <a:gd name="T67" fmla="*/ 2147483647 h 307"/>
                    <a:gd name="T68" fmla="*/ 2147483647 w 434"/>
                    <a:gd name="T69" fmla="*/ 2147483647 h 307"/>
                    <a:gd name="T70" fmla="*/ 2147483647 w 434"/>
                    <a:gd name="T71" fmla="*/ 2147483647 h 307"/>
                    <a:gd name="T72" fmla="*/ 2147483647 w 434"/>
                    <a:gd name="T73" fmla="*/ 2147483647 h 307"/>
                    <a:gd name="T74" fmla="*/ 2147483647 w 434"/>
                    <a:gd name="T75" fmla="*/ 2147483647 h 307"/>
                    <a:gd name="T76" fmla="*/ 2147483647 w 434"/>
                    <a:gd name="T77" fmla="*/ 2147483647 h 307"/>
                    <a:gd name="T78" fmla="*/ 2147483647 w 434"/>
                    <a:gd name="T79" fmla="*/ 2147483647 h 307"/>
                    <a:gd name="T80" fmla="*/ 2147483647 w 434"/>
                    <a:gd name="T81" fmla="*/ 2147483647 h 307"/>
                    <a:gd name="T82" fmla="*/ 2147483647 w 434"/>
                    <a:gd name="T83" fmla="*/ 2147483647 h 307"/>
                    <a:gd name="T84" fmla="*/ 2147483647 w 434"/>
                    <a:gd name="T85" fmla="*/ 2147483647 h 307"/>
                    <a:gd name="T86" fmla="*/ 2147483647 w 434"/>
                    <a:gd name="T87" fmla="*/ 2147483647 h 307"/>
                    <a:gd name="T88" fmla="*/ 2147483647 w 434"/>
                    <a:gd name="T89" fmla="*/ 2147483647 h 307"/>
                    <a:gd name="T90" fmla="*/ 2147483647 w 434"/>
                    <a:gd name="T91" fmla="*/ 2147483647 h 307"/>
                    <a:gd name="T92" fmla="*/ 2147483647 w 434"/>
                    <a:gd name="T93" fmla="*/ 2147483647 h 307"/>
                    <a:gd name="T94" fmla="*/ 2147483647 w 434"/>
                    <a:gd name="T95" fmla="*/ 2147483647 h 307"/>
                    <a:gd name="T96" fmla="*/ 2147483647 w 434"/>
                    <a:gd name="T97" fmla="*/ 2147483647 h 307"/>
                    <a:gd name="T98" fmla="*/ 2147483647 w 434"/>
                    <a:gd name="T99" fmla="*/ 2147483647 h 307"/>
                    <a:gd name="T100" fmla="*/ 2147483647 w 434"/>
                    <a:gd name="T101" fmla="*/ 2147483647 h 307"/>
                    <a:gd name="T102" fmla="*/ 2147483647 w 434"/>
                    <a:gd name="T103" fmla="*/ 2147483647 h 307"/>
                    <a:gd name="T104" fmla="*/ 2147483647 w 434"/>
                    <a:gd name="T105" fmla="*/ 2147483647 h 307"/>
                    <a:gd name="T106" fmla="*/ 2147483647 w 434"/>
                    <a:gd name="T107" fmla="*/ 2147483647 h 307"/>
                    <a:gd name="T108" fmla="*/ 2147483647 w 434"/>
                    <a:gd name="T109" fmla="*/ 2147483647 h 307"/>
                    <a:gd name="T110" fmla="*/ 2147483647 w 434"/>
                    <a:gd name="T111" fmla="*/ 2147483647 h 307"/>
                    <a:gd name="T112" fmla="*/ 2147483647 w 434"/>
                    <a:gd name="T113" fmla="*/ 2147483647 h 307"/>
                    <a:gd name="T114" fmla="*/ 2147483647 w 434"/>
                    <a:gd name="T115" fmla="*/ 2147483647 h 307"/>
                    <a:gd name="T116" fmla="*/ 2147483647 w 434"/>
                    <a:gd name="T117" fmla="*/ 2147483647 h 307"/>
                    <a:gd name="T118" fmla="*/ 2147483647 w 434"/>
                    <a:gd name="T119" fmla="*/ 2147483647 h 30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34" h="307">
                      <a:moveTo>
                        <a:pt x="97" y="107"/>
                      </a:moveTo>
                      <a:cubicBezTo>
                        <a:pt x="113" y="123"/>
                        <a:pt x="113" y="123"/>
                        <a:pt x="113" y="123"/>
                      </a:cubicBezTo>
                      <a:cubicBezTo>
                        <a:pt x="132" y="123"/>
                        <a:pt x="132" y="123"/>
                        <a:pt x="132" y="123"/>
                      </a:cubicBezTo>
                      <a:cubicBezTo>
                        <a:pt x="133" y="123"/>
                        <a:pt x="134" y="123"/>
                        <a:pt x="134" y="122"/>
                      </a:cubicBezTo>
                      <a:cubicBezTo>
                        <a:pt x="134" y="92"/>
                        <a:pt x="134" y="92"/>
                        <a:pt x="134" y="92"/>
                      </a:cubicBezTo>
                      <a:cubicBezTo>
                        <a:pt x="134" y="91"/>
                        <a:pt x="133" y="91"/>
                        <a:pt x="132" y="91"/>
                      </a:cubicBezTo>
                      <a:cubicBezTo>
                        <a:pt x="113" y="91"/>
                        <a:pt x="113" y="91"/>
                        <a:pt x="113" y="91"/>
                      </a:cubicBezTo>
                      <a:lnTo>
                        <a:pt x="97" y="107"/>
                      </a:lnTo>
                      <a:close/>
                      <a:moveTo>
                        <a:pt x="317" y="91"/>
                      </a:moveTo>
                      <a:cubicBezTo>
                        <a:pt x="308" y="91"/>
                        <a:pt x="301" y="98"/>
                        <a:pt x="301" y="107"/>
                      </a:cubicBezTo>
                      <a:cubicBezTo>
                        <a:pt x="301" y="116"/>
                        <a:pt x="308" y="123"/>
                        <a:pt x="317" y="123"/>
                      </a:cubicBezTo>
                      <a:cubicBezTo>
                        <a:pt x="326" y="123"/>
                        <a:pt x="333" y="116"/>
                        <a:pt x="333" y="107"/>
                      </a:cubicBezTo>
                      <a:cubicBezTo>
                        <a:pt x="333" y="98"/>
                        <a:pt x="326" y="91"/>
                        <a:pt x="317" y="91"/>
                      </a:cubicBezTo>
                      <a:close/>
                      <a:moveTo>
                        <a:pt x="67" y="137"/>
                      </a:moveTo>
                      <a:cubicBezTo>
                        <a:pt x="67" y="156"/>
                        <a:pt x="67" y="156"/>
                        <a:pt x="67" y="156"/>
                      </a:cubicBezTo>
                      <a:cubicBezTo>
                        <a:pt x="67" y="157"/>
                        <a:pt x="68" y="157"/>
                        <a:pt x="68" y="157"/>
                      </a:cubicBezTo>
                      <a:cubicBezTo>
                        <a:pt x="98" y="157"/>
                        <a:pt x="98" y="157"/>
                        <a:pt x="98" y="157"/>
                      </a:cubicBezTo>
                      <a:cubicBezTo>
                        <a:pt x="99" y="157"/>
                        <a:pt x="99" y="157"/>
                        <a:pt x="99" y="156"/>
                      </a:cubicBezTo>
                      <a:cubicBezTo>
                        <a:pt x="99" y="137"/>
                        <a:pt x="99" y="137"/>
                        <a:pt x="99" y="137"/>
                      </a:cubicBezTo>
                      <a:cubicBezTo>
                        <a:pt x="83" y="121"/>
                        <a:pt x="83" y="121"/>
                        <a:pt x="83" y="121"/>
                      </a:cubicBezTo>
                      <a:lnTo>
                        <a:pt x="67" y="137"/>
                      </a:lnTo>
                      <a:close/>
                      <a:moveTo>
                        <a:pt x="99" y="77"/>
                      </a:moveTo>
                      <a:cubicBezTo>
                        <a:pt x="99" y="58"/>
                        <a:pt x="99" y="58"/>
                        <a:pt x="99" y="58"/>
                      </a:cubicBezTo>
                      <a:cubicBezTo>
                        <a:pt x="99" y="57"/>
                        <a:pt x="99" y="57"/>
                        <a:pt x="98" y="57"/>
                      </a:cubicBezTo>
                      <a:cubicBezTo>
                        <a:pt x="68" y="57"/>
                        <a:pt x="68" y="57"/>
                        <a:pt x="68" y="57"/>
                      </a:cubicBezTo>
                      <a:cubicBezTo>
                        <a:pt x="68" y="57"/>
                        <a:pt x="67" y="57"/>
                        <a:pt x="67" y="58"/>
                      </a:cubicBezTo>
                      <a:cubicBezTo>
                        <a:pt x="67" y="77"/>
                        <a:pt x="67" y="77"/>
                        <a:pt x="67" y="77"/>
                      </a:cubicBezTo>
                      <a:cubicBezTo>
                        <a:pt x="83" y="93"/>
                        <a:pt x="83" y="93"/>
                        <a:pt x="83" y="93"/>
                      </a:cubicBezTo>
                      <a:lnTo>
                        <a:pt x="99" y="77"/>
                      </a:lnTo>
                      <a:close/>
                      <a:moveTo>
                        <a:pt x="53" y="91"/>
                      </a:moveTo>
                      <a:cubicBezTo>
                        <a:pt x="34" y="91"/>
                        <a:pt x="34" y="91"/>
                        <a:pt x="34" y="91"/>
                      </a:cubicBezTo>
                      <a:cubicBezTo>
                        <a:pt x="33" y="91"/>
                        <a:pt x="33" y="91"/>
                        <a:pt x="33" y="92"/>
                      </a:cubicBezTo>
                      <a:cubicBezTo>
                        <a:pt x="33" y="122"/>
                        <a:pt x="33" y="122"/>
                        <a:pt x="33" y="122"/>
                      </a:cubicBezTo>
                      <a:cubicBezTo>
                        <a:pt x="33" y="123"/>
                        <a:pt x="33" y="123"/>
                        <a:pt x="34" y="123"/>
                      </a:cubicBezTo>
                      <a:cubicBezTo>
                        <a:pt x="53" y="123"/>
                        <a:pt x="53" y="123"/>
                        <a:pt x="53" y="123"/>
                      </a:cubicBezTo>
                      <a:cubicBezTo>
                        <a:pt x="69" y="107"/>
                        <a:pt x="69" y="107"/>
                        <a:pt x="69" y="107"/>
                      </a:cubicBezTo>
                      <a:lnTo>
                        <a:pt x="53" y="91"/>
                      </a:lnTo>
                      <a:close/>
                      <a:moveTo>
                        <a:pt x="434" y="107"/>
                      </a:moveTo>
                      <a:cubicBezTo>
                        <a:pt x="434" y="77"/>
                        <a:pt x="418" y="50"/>
                        <a:pt x="394" y="36"/>
                      </a:cubicBezTo>
                      <a:cubicBezTo>
                        <a:pt x="394" y="31"/>
                        <a:pt x="394" y="24"/>
                        <a:pt x="392" y="17"/>
                      </a:cubicBezTo>
                      <a:cubicBezTo>
                        <a:pt x="391" y="13"/>
                        <a:pt x="389" y="9"/>
                        <a:pt x="386" y="6"/>
                      </a:cubicBezTo>
                      <a:cubicBezTo>
                        <a:pt x="384" y="3"/>
                        <a:pt x="379" y="0"/>
                        <a:pt x="373" y="0"/>
                      </a:cubicBezTo>
                      <a:cubicBezTo>
                        <a:pt x="330" y="0"/>
                        <a:pt x="330" y="0"/>
                        <a:pt x="330" y="0"/>
                      </a:cubicBezTo>
                      <a:cubicBezTo>
                        <a:pt x="324" y="0"/>
                        <a:pt x="318" y="4"/>
                        <a:pt x="316" y="8"/>
                      </a:cubicBezTo>
                      <a:cubicBezTo>
                        <a:pt x="312" y="14"/>
                        <a:pt x="310" y="21"/>
                        <a:pt x="309" y="27"/>
                      </a:cubicBezTo>
                      <a:cubicBezTo>
                        <a:pt x="309" y="30"/>
                        <a:pt x="309" y="33"/>
                        <a:pt x="309" y="35"/>
                      </a:cubicBezTo>
                      <a:cubicBezTo>
                        <a:pt x="305" y="38"/>
                        <a:pt x="301" y="40"/>
                        <a:pt x="298" y="43"/>
                      </a:cubicBezTo>
                      <a:cubicBezTo>
                        <a:pt x="137" y="43"/>
                        <a:pt x="137" y="43"/>
                        <a:pt x="137" y="43"/>
                      </a:cubicBezTo>
                      <a:cubicBezTo>
                        <a:pt x="133" y="40"/>
                        <a:pt x="130" y="38"/>
                        <a:pt x="126" y="36"/>
                      </a:cubicBezTo>
                      <a:cubicBezTo>
                        <a:pt x="126" y="31"/>
                        <a:pt x="126" y="24"/>
                        <a:pt x="124" y="17"/>
                      </a:cubicBezTo>
                      <a:cubicBezTo>
                        <a:pt x="123" y="13"/>
                        <a:pt x="121" y="9"/>
                        <a:pt x="118" y="6"/>
                      </a:cubicBezTo>
                      <a:cubicBezTo>
                        <a:pt x="116" y="3"/>
                        <a:pt x="111" y="0"/>
                        <a:pt x="105" y="0"/>
                      </a:cubicBezTo>
                      <a:cubicBezTo>
                        <a:pt x="62" y="0"/>
                        <a:pt x="62" y="0"/>
                        <a:pt x="62" y="0"/>
                      </a:cubicBezTo>
                      <a:cubicBezTo>
                        <a:pt x="55" y="0"/>
                        <a:pt x="50" y="4"/>
                        <a:pt x="48" y="8"/>
                      </a:cubicBezTo>
                      <a:cubicBezTo>
                        <a:pt x="44" y="14"/>
                        <a:pt x="42" y="21"/>
                        <a:pt x="41" y="27"/>
                      </a:cubicBezTo>
                      <a:cubicBezTo>
                        <a:pt x="41" y="30"/>
                        <a:pt x="41" y="33"/>
                        <a:pt x="41" y="35"/>
                      </a:cubicBezTo>
                      <a:cubicBezTo>
                        <a:pt x="16" y="50"/>
                        <a:pt x="0" y="76"/>
                        <a:pt x="0" y="107"/>
                      </a:cubicBezTo>
                      <a:cubicBezTo>
                        <a:pt x="0" y="107"/>
                        <a:pt x="0" y="107"/>
                        <a:pt x="0" y="107"/>
                      </a:cubicBezTo>
                      <a:cubicBezTo>
                        <a:pt x="0" y="107"/>
                        <a:pt x="0" y="107"/>
                        <a:pt x="0" y="107"/>
                      </a:cubicBezTo>
                      <a:cubicBezTo>
                        <a:pt x="0" y="107"/>
                        <a:pt x="0" y="108"/>
                        <a:pt x="0" y="108"/>
                      </a:cubicBezTo>
                      <a:cubicBezTo>
                        <a:pt x="0" y="111"/>
                        <a:pt x="0" y="114"/>
                        <a:pt x="1" y="117"/>
                      </a:cubicBezTo>
                      <a:cubicBezTo>
                        <a:pt x="3" y="148"/>
                        <a:pt x="9" y="253"/>
                        <a:pt x="11" y="264"/>
                      </a:cubicBezTo>
                      <a:cubicBezTo>
                        <a:pt x="11" y="270"/>
                        <a:pt x="13" y="281"/>
                        <a:pt x="20" y="290"/>
                      </a:cubicBezTo>
                      <a:cubicBezTo>
                        <a:pt x="27" y="300"/>
                        <a:pt x="39" y="307"/>
                        <a:pt x="58" y="307"/>
                      </a:cubicBezTo>
                      <a:cubicBezTo>
                        <a:pt x="76" y="307"/>
                        <a:pt x="90" y="299"/>
                        <a:pt x="99" y="289"/>
                      </a:cubicBezTo>
                      <a:cubicBezTo>
                        <a:pt x="108" y="280"/>
                        <a:pt x="113" y="270"/>
                        <a:pt x="115" y="266"/>
                      </a:cubicBezTo>
                      <a:cubicBezTo>
                        <a:pt x="117" y="262"/>
                        <a:pt x="122" y="252"/>
                        <a:pt x="127" y="240"/>
                      </a:cubicBezTo>
                      <a:cubicBezTo>
                        <a:pt x="132" y="229"/>
                        <a:pt x="137" y="217"/>
                        <a:pt x="141" y="208"/>
                      </a:cubicBezTo>
                      <a:cubicBezTo>
                        <a:pt x="145" y="200"/>
                        <a:pt x="148" y="197"/>
                        <a:pt x="150" y="196"/>
                      </a:cubicBezTo>
                      <a:cubicBezTo>
                        <a:pt x="152" y="195"/>
                        <a:pt x="156" y="194"/>
                        <a:pt x="164" y="194"/>
                      </a:cubicBezTo>
                      <a:cubicBezTo>
                        <a:pt x="270" y="194"/>
                        <a:pt x="270" y="194"/>
                        <a:pt x="270" y="194"/>
                      </a:cubicBezTo>
                      <a:cubicBezTo>
                        <a:pt x="278" y="194"/>
                        <a:pt x="282" y="195"/>
                        <a:pt x="284" y="196"/>
                      </a:cubicBezTo>
                      <a:cubicBezTo>
                        <a:pt x="286" y="197"/>
                        <a:pt x="289" y="200"/>
                        <a:pt x="293" y="208"/>
                      </a:cubicBezTo>
                      <a:cubicBezTo>
                        <a:pt x="297" y="217"/>
                        <a:pt x="303" y="229"/>
                        <a:pt x="308" y="240"/>
                      </a:cubicBezTo>
                      <a:cubicBezTo>
                        <a:pt x="313" y="252"/>
                        <a:pt x="317" y="262"/>
                        <a:pt x="319" y="266"/>
                      </a:cubicBezTo>
                      <a:cubicBezTo>
                        <a:pt x="321" y="270"/>
                        <a:pt x="326" y="280"/>
                        <a:pt x="335" y="289"/>
                      </a:cubicBezTo>
                      <a:cubicBezTo>
                        <a:pt x="344" y="299"/>
                        <a:pt x="358" y="307"/>
                        <a:pt x="377" y="307"/>
                      </a:cubicBezTo>
                      <a:cubicBezTo>
                        <a:pt x="377" y="307"/>
                        <a:pt x="377" y="307"/>
                        <a:pt x="377" y="307"/>
                      </a:cubicBezTo>
                      <a:cubicBezTo>
                        <a:pt x="395" y="307"/>
                        <a:pt x="408" y="300"/>
                        <a:pt x="414" y="290"/>
                      </a:cubicBezTo>
                      <a:cubicBezTo>
                        <a:pt x="421" y="281"/>
                        <a:pt x="423" y="270"/>
                        <a:pt x="424" y="264"/>
                      </a:cubicBezTo>
                      <a:cubicBezTo>
                        <a:pt x="424" y="263"/>
                        <a:pt x="425" y="256"/>
                        <a:pt x="425" y="252"/>
                      </a:cubicBezTo>
                      <a:cubicBezTo>
                        <a:pt x="425" y="248"/>
                        <a:pt x="422" y="244"/>
                        <a:pt x="418" y="243"/>
                      </a:cubicBezTo>
                      <a:cubicBezTo>
                        <a:pt x="413" y="243"/>
                        <a:pt x="410" y="246"/>
                        <a:pt x="409" y="251"/>
                      </a:cubicBezTo>
                      <a:cubicBezTo>
                        <a:pt x="409" y="254"/>
                        <a:pt x="408" y="260"/>
                        <a:pt x="408" y="262"/>
                      </a:cubicBezTo>
                      <a:cubicBezTo>
                        <a:pt x="407" y="267"/>
                        <a:pt x="406" y="275"/>
                        <a:pt x="401" y="281"/>
                      </a:cubicBezTo>
                      <a:cubicBezTo>
                        <a:pt x="397" y="286"/>
                        <a:pt x="391" y="291"/>
                        <a:pt x="377" y="291"/>
                      </a:cubicBezTo>
                      <a:cubicBezTo>
                        <a:pt x="363" y="291"/>
                        <a:pt x="354" y="285"/>
                        <a:pt x="347" y="278"/>
                      </a:cubicBezTo>
                      <a:cubicBezTo>
                        <a:pt x="340" y="271"/>
                        <a:pt x="336" y="263"/>
                        <a:pt x="334" y="259"/>
                      </a:cubicBezTo>
                      <a:cubicBezTo>
                        <a:pt x="332" y="256"/>
                        <a:pt x="327" y="245"/>
                        <a:pt x="322" y="234"/>
                      </a:cubicBezTo>
                      <a:cubicBezTo>
                        <a:pt x="317" y="222"/>
                        <a:pt x="312" y="210"/>
                        <a:pt x="307" y="201"/>
                      </a:cubicBezTo>
                      <a:cubicBezTo>
                        <a:pt x="303" y="193"/>
                        <a:pt x="299" y="186"/>
                        <a:pt x="292" y="182"/>
                      </a:cubicBezTo>
                      <a:cubicBezTo>
                        <a:pt x="286" y="178"/>
                        <a:pt x="279" y="178"/>
                        <a:pt x="270" y="178"/>
                      </a:cubicBezTo>
                      <a:cubicBezTo>
                        <a:pt x="164" y="178"/>
                        <a:pt x="164" y="178"/>
                        <a:pt x="164" y="178"/>
                      </a:cubicBezTo>
                      <a:cubicBezTo>
                        <a:pt x="156" y="178"/>
                        <a:pt x="149" y="178"/>
                        <a:pt x="142" y="182"/>
                      </a:cubicBezTo>
                      <a:cubicBezTo>
                        <a:pt x="135" y="186"/>
                        <a:pt x="132" y="193"/>
                        <a:pt x="127" y="201"/>
                      </a:cubicBezTo>
                      <a:cubicBezTo>
                        <a:pt x="123" y="210"/>
                        <a:pt x="117" y="222"/>
                        <a:pt x="112" y="234"/>
                      </a:cubicBezTo>
                      <a:cubicBezTo>
                        <a:pt x="107" y="245"/>
                        <a:pt x="103" y="256"/>
                        <a:pt x="101" y="259"/>
                      </a:cubicBezTo>
                      <a:cubicBezTo>
                        <a:pt x="99" y="263"/>
                        <a:pt x="95" y="271"/>
                        <a:pt x="88" y="278"/>
                      </a:cubicBezTo>
                      <a:cubicBezTo>
                        <a:pt x="81" y="285"/>
                        <a:pt x="71" y="291"/>
                        <a:pt x="58" y="291"/>
                      </a:cubicBezTo>
                      <a:cubicBezTo>
                        <a:pt x="43" y="291"/>
                        <a:pt x="37" y="286"/>
                        <a:pt x="33" y="281"/>
                      </a:cubicBezTo>
                      <a:cubicBezTo>
                        <a:pt x="29" y="275"/>
                        <a:pt x="27" y="267"/>
                        <a:pt x="27" y="262"/>
                      </a:cubicBezTo>
                      <a:cubicBezTo>
                        <a:pt x="26" y="256"/>
                        <a:pt x="23" y="217"/>
                        <a:pt x="21" y="180"/>
                      </a:cubicBezTo>
                      <a:cubicBezTo>
                        <a:pt x="20" y="173"/>
                        <a:pt x="20" y="167"/>
                        <a:pt x="19" y="160"/>
                      </a:cubicBezTo>
                      <a:cubicBezTo>
                        <a:pt x="35" y="179"/>
                        <a:pt x="58" y="190"/>
                        <a:pt x="83" y="190"/>
                      </a:cubicBezTo>
                      <a:cubicBezTo>
                        <a:pt x="129" y="190"/>
                        <a:pt x="166" y="153"/>
                        <a:pt x="166" y="107"/>
                      </a:cubicBezTo>
                      <a:cubicBezTo>
                        <a:pt x="166" y="89"/>
                        <a:pt x="161" y="73"/>
                        <a:pt x="151" y="59"/>
                      </a:cubicBezTo>
                      <a:cubicBezTo>
                        <a:pt x="283" y="59"/>
                        <a:pt x="283" y="59"/>
                        <a:pt x="283" y="59"/>
                      </a:cubicBezTo>
                      <a:cubicBezTo>
                        <a:pt x="283" y="59"/>
                        <a:pt x="283" y="59"/>
                        <a:pt x="283" y="59"/>
                      </a:cubicBezTo>
                      <a:cubicBezTo>
                        <a:pt x="274" y="73"/>
                        <a:pt x="268" y="89"/>
                        <a:pt x="268" y="107"/>
                      </a:cubicBezTo>
                      <a:cubicBezTo>
                        <a:pt x="268" y="153"/>
                        <a:pt x="305" y="190"/>
                        <a:pt x="351" y="190"/>
                      </a:cubicBezTo>
                      <a:cubicBezTo>
                        <a:pt x="377" y="190"/>
                        <a:pt x="399" y="179"/>
                        <a:pt x="415" y="161"/>
                      </a:cubicBezTo>
                      <a:cubicBezTo>
                        <a:pt x="413" y="178"/>
                        <a:pt x="413" y="190"/>
                        <a:pt x="411" y="219"/>
                      </a:cubicBezTo>
                      <a:cubicBezTo>
                        <a:pt x="410" y="223"/>
                        <a:pt x="414" y="227"/>
                        <a:pt x="418" y="227"/>
                      </a:cubicBezTo>
                      <a:cubicBezTo>
                        <a:pt x="422" y="227"/>
                        <a:pt x="426" y="224"/>
                        <a:pt x="427" y="220"/>
                      </a:cubicBezTo>
                      <a:cubicBezTo>
                        <a:pt x="430" y="174"/>
                        <a:pt x="430" y="171"/>
                        <a:pt x="434" y="117"/>
                      </a:cubicBezTo>
                      <a:cubicBezTo>
                        <a:pt x="434" y="117"/>
                        <a:pt x="434" y="117"/>
                        <a:pt x="434" y="117"/>
                      </a:cubicBezTo>
                      <a:cubicBezTo>
                        <a:pt x="434" y="114"/>
                        <a:pt x="434" y="111"/>
                        <a:pt x="434" y="107"/>
                      </a:cubicBezTo>
                      <a:cubicBezTo>
                        <a:pt x="434" y="107"/>
                        <a:pt x="434" y="107"/>
                        <a:pt x="434" y="107"/>
                      </a:cubicBezTo>
                      <a:cubicBezTo>
                        <a:pt x="434" y="107"/>
                        <a:pt x="434" y="107"/>
                        <a:pt x="434" y="107"/>
                      </a:cubicBezTo>
                      <a:cubicBezTo>
                        <a:pt x="434" y="107"/>
                        <a:pt x="434" y="107"/>
                        <a:pt x="434" y="107"/>
                      </a:cubicBezTo>
                      <a:close/>
                      <a:moveTo>
                        <a:pt x="83" y="174"/>
                      </a:moveTo>
                      <a:cubicBezTo>
                        <a:pt x="46" y="174"/>
                        <a:pt x="16" y="144"/>
                        <a:pt x="16" y="107"/>
                      </a:cubicBezTo>
                      <a:cubicBezTo>
                        <a:pt x="16" y="81"/>
                        <a:pt x="31" y="58"/>
                        <a:pt x="52" y="47"/>
                      </a:cubicBezTo>
                      <a:cubicBezTo>
                        <a:pt x="55" y="46"/>
                        <a:pt x="56" y="44"/>
                        <a:pt x="56" y="41"/>
                      </a:cubicBezTo>
                      <a:cubicBezTo>
                        <a:pt x="57" y="41"/>
                        <a:pt x="57" y="40"/>
                        <a:pt x="57" y="40"/>
                      </a:cubicBezTo>
                      <a:cubicBezTo>
                        <a:pt x="57" y="38"/>
                        <a:pt x="57" y="31"/>
                        <a:pt x="58" y="24"/>
                      </a:cubicBezTo>
                      <a:cubicBezTo>
                        <a:pt x="59" y="21"/>
                        <a:pt x="60" y="18"/>
                        <a:pt x="61" y="17"/>
                      </a:cubicBezTo>
                      <a:cubicBezTo>
                        <a:pt x="61" y="16"/>
                        <a:pt x="62" y="16"/>
                        <a:pt x="62" y="16"/>
                      </a:cubicBezTo>
                      <a:cubicBezTo>
                        <a:pt x="62" y="16"/>
                        <a:pt x="62" y="16"/>
                        <a:pt x="62" y="16"/>
                      </a:cubicBezTo>
                      <a:cubicBezTo>
                        <a:pt x="105" y="16"/>
                        <a:pt x="105" y="16"/>
                        <a:pt x="105" y="16"/>
                      </a:cubicBezTo>
                      <a:cubicBezTo>
                        <a:pt x="106" y="16"/>
                        <a:pt x="106" y="16"/>
                        <a:pt x="106" y="16"/>
                      </a:cubicBezTo>
                      <a:cubicBezTo>
                        <a:pt x="106" y="16"/>
                        <a:pt x="106" y="16"/>
                        <a:pt x="106" y="16"/>
                      </a:cubicBezTo>
                      <a:cubicBezTo>
                        <a:pt x="107" y="17"/>
                        <a:pt x="109" y="21"/>
                        <a:pt x="109" y="25"/>
                      </a:cubicBezTo>
                      <a:cubicBezTo>
                        <a:pt x="110" y="29"/>
                        <a:pt x="110" y="34"/>
                        <a:pt x="110" y="37"/>
                      </a:cubicBezTo>
                      <a:cubicBezTo>
                        <a:pt x="110" y="38"/>
                        <a:pt x="110" y="39"/>
                        <a:pt x="110" y="39"/>
                      </a:cubicBezTo>
                      <a:cubicBezTo>
                        <a:pt x="110" y="43"/>
                        <a:pt x="111" y="46"/>
                        <a:pt x="114" y="47"/>
                      </a:cubicBezTo>
                      <a:cubicBezTo>
                        <a:pt x="136" y="59"/>
                        <a:pt x="150" y="81"/>
                        <a:pt x="150" y="107"/>
                      </a:cubicBezTo>
                      <a:cubicBezTo>
                        <a:pt x="150" y="144"/>
                        <a:pt x="120" y="174"/>
                        <a:pt x="83" y="174"/>
                      </a:cubicBezTo>
                      <a:close/>
                      <a:moveTo>
                        <a:pt x="351" y="174"/>
                      </a:moveTo>
                      <a:cubicBezTo>
                        <a:pt x="314" y="174"/>
                        <a:pt x="284" y="144"/>
                        <a:pt x="284" y="107"/>
                      </a:cubicBezTo>
                      <a:cubicBezTo>
                        <a:pt x="284" y="81"/>
                        <a:pt x="299" y="58"/>
                        <a:pt x="320" y="47"/>
                      </a:cubicBezTo>
                      <a:cubicBezTo>
                        <a:pt x="322" y="46"/>
                        <a:pt x="324" y="44"/>
                        <a:pt x="324" y="42"/>
                      </a:cubicBezTo>
                      <a:cubicBezTo>
                        <a:pt x="325" y="41"/>
                        <a:pt x="325" y="40"/>
                        <a:pt x="325" y="40"/>
                      </a:cubicBezTo>
                      <a:cubicBezTo>
                        <a:pt x="325" y="38"/>
                        <a:pt x="325" y="31"/>
                        <a:pt x="326" y="24"/>
                      </a:cubicBezTo>
                      <a:cubicBezTo>
                        <a:pt x="327" y="21"/>
                        <a:pt x="328" y="18"/>
                        <a:pt x="329" y="17"/>
                      </a:cubicBezTo>
                      <a:cubicBezTo>
                        <a:pt x="329" y="16"/>
                        <a:pt x="330" y="16"/>
                        <a:pt x="330" y="16"/>
                      </a:cubicBezTo>
                      <a:cubicBezTo>
                        <a:pt x="373" y="16"/>
                        <a:pt x="373" y="16"/>
                        <a:pt x="373" y="16"/>
                      </a:cubicBezTo>
                      <a:cubicBezTo>
                        <a:pt x="374" y="16"/>
                        <a:pt x="374" y="16"/>
                        <a:pt x="374" y="16"/>
                      </a:cubicBezTo>
                      <a:cubicBezTo>
                        <a:pt x="374" y="16"/>
                        <a:pt x="374" y="16"/>
                        <a:pt x="374" y="16"/>
                      </a:cubicBezTo>
                      <a:cubicBezTo>
                        <a:pt x="375" y="17"/>
                        <a:pt x="377" y="21"/>
                        <a:pt x="377" y="25"/>
                      </a:cubicBezTo>
                      <a:cubicBezTo>
                        <a:pt x="378" y="29"/>
                        <a:pt x="378" y="34"/>
                        <a:pt x="378" y="37"/>
                      </a:cubicBezTo>
                      <a:cubicBezTo>
                        <a:pt x="378" y="38"/>
                        <a:pt x="378" y="39"/>
                        <a:pt x="378" y="39"/>
                      </a:cubicBezTo>
                      <a:cubicBezTo>
                        <a:pt x="378" y="40"/>
                        <a:pt x="378" y="41"/>
                        <a:pt x="378" y="42"/>
                      </a:cubicBezTo>
                      <a:cubicBezTo>
                        <a:pt x="379" y="44"/>
                        <a:pt x="380" y="46"/>
                        <a:pt x="382" y="47"/>
                      </a:cubicBezTo>
                      <a:cubicBezTo>
                        <a:pt x="404" y="59"/>
                        <a:pt x="418" y="81"/>
                        <a:pt x="418" y="107"/>
                      </a:cubicBezTo>
                      <a:cubicBezTo>
                        <a:pt x="418" y="144"/>
                        <a:pt x="388" y="174"/>
                        <a:pt x="351" y="174"/>
                      </a:cubicBezTo>
                      <a:close/>
                      <a:moveTo>
                        <a:pt x="225" y="147"/>
                      </a:moveTo>
                      <a:cubicBezTo>
                        <a:pt x="225" y="154"/>
                        <a:pt x="231" y="160"/>
                        <a:pt x="238" y="160"/>
                      </a:cubicBezTo>
                      <a:cubicBezTo>
                        <a:pt x="245" y="160"/>
                        <a:pt x="250" y="154"/>
                        <a:pt x="250" y="147"/>
                      </a:cubicBezTo>
                      <a:cubicBezTo>
                        <a:pt x="250" y="141"/>
                        <a:pt x="245" y="135"/>
                        <a:pt x="238" y="135"/>
                      </a:cubicBezTo>
                      <a:cubicBezTo>
                        <a:pt x="231" y="135"/>
                        <a:pt x="225" y="141"/>
                        <a:pt x="225" y="147"/>
                      </a:cubicBezTo>
                      <a:close/>
                      <a:moveTo>
                        <a:pt x="351" y="125"/>
                      </a:moveTo>
                      <a:cubicBezTo>
                        <a:pt x="342" y="125"/>
                        <a:pt x="335" y="132"/>
                        <a:pt x="335" y="141"/>
                      </a:cubicBezTo>
                      <a:cubicBezTo>
                        <a:pt x="335" y="150"/>
                        <a:pt x="342" y="157"/>
                        <a:pt x="351" y="157"/>
                      </a:cubicBezTo>
                      <a:cubicBezTo>
                        <a:pt x="360" y="157"/>
                        <a:pt x="367" y="150"/>
                        <a:pt x="367" y="141"/>
                      </a:cubicBezTo>
                      <a:cubicBezTo>
                        <a:pt x="367" y="132"/>
                        <a:pt x="360" y="125"/>
                        <a:pt x="351" y="125"/>
                      </a:cubicBezTo>
                      <a:close/>
                      <a:moveTo>
                        <a:pt x="182" y="147"/>
                      </a:moveTo>
                      <a:cubicBezTo>
                        <a:pt x="182" y="154"/>
                        <a:pt x="187" y="160"/>
                        <a:pt x="194" y="160"/>
                      </a:cubicBezTo>
                      <a:cubicBezTo>
                        <a:pt x="201" y="160"/>
                        <a:pt x="207" y="154"/>
                        <a:pt x="207" y="147"/>
                      </a:cubicBezTo>
                      <a:cubicBezTo>
                        <a:pt x="207" y="141"/>
                        <a:pt x="201" y="135"/>
                        <a:pt x="194" y="135"/>
                      </a:cubicBezTo>
                      <a:cubicBezTo>
                        <a:pt x="187" y="135"/>
                        <a:pt x="182" y="141"/>
                        <a:pt x="182" y="147"/>
                      </a:cubicBezTo>
                      <a:close/>
                      <a:moveTo>
                        <a:pt x="351" y="57"/>
                      </a:moveTo>
                      <a:cubicBezTo>
                        <a:pt x="342" y="57"/>
                        <a:pt x="335" y="64"/>
                        <a:pt x="335" y="73"/>
                      </a:cubicBezTo>
                      <a:cubicBezTo>
                        <a:pt x="335" y="82"/>
                        <a:pt x="342" y="89"/>
                        <a:pt x="351" y="89"/>
                      </a:cubicBezTo>
                      <a:cubicBezTo>
                        <a:pt x="360" y="89"/>
                        <a:pt x="367" y="82"/>
                        <a:pt x="367" y="73"/>
                      </a:cubicBezTo>
                      <a:cubicBezTo>
                        <a:pt x="367" y="64"/>
                        <a:pt x="360" y="57"/>
                        <a:pt x="351" y="57"/>
                      </a:cubicBezTo>
                      <a:close/>
                      <a:moveTo>
                        <a:pt x="385" y="91"/>
                      </a:moveTo>
                      <a:cubicBezTo>
                        <a:pt x="377" y="91"/>
                        <a:pt x="369" y="98"/>
                        <a:pt x="369" y="107"/>
                      </a:cubicBezTo>
                      <a:cubicBezTo>
                        <a:pt x="369" y="116"/>
                        <a:pt x="377" y="123"/>
                        <a:pt x="385" y="123"/>
                      </a:cubicBezTo>
                      <a:cubicBezTo>
                        <a:pt x="394" y="123"/>
                        <a:pt x="402" y="116"/>
                        <a:pt x="402" y="107"/>
                      </a:cubicBezTo>
                      <a:cubicBezTo>
                        <a:pt x="402" y="98"/>
                        <a:pt x="394" y="91"/>
                        <a:pt x="385" y="91"/>
                      </a:cubicBezTo>
                      <a:close/>
                    </a:path>
                  </a:pathLst>
                </a:custGeom>
                <a:grpFill/>
                <a:ln>
                  <a:noFill/>
                </a:ln>
              </p:spPr>
              <p:txBody>
                <a:bodyPr/>
                <a:lstStyle/>
                <a:p>
                  <a:endParaRPr lang="sv-SE" dirty="0">
                    <a:solidFill>
                      <a:srgbClr val="58585A"/>
                    </a:solidFill>
                  </a:endParaRPr>
                </a:p>
              </p:txBody>
            </p:sp>
            <p:sp>
              <p:nvSpPr>
                <p:cNvPr id="117" name="Freeform 3">
                  <a:extLst>
                    <a:ext uri="{FF2B5EF4-FFF2-40B4-BE49-F238E27FC236}">
                      <a16:creationId xmlns:a16="http://schemas.microsoft.com/office/drawing/2014/main" id="{DD22F76A-8E0D-4FF2-913A-829F6AEBCACA}"/>
                    </a:ext>
                  </a:extLst>
                </p:cNvPr>
                <p:cNvSpPr>
                  <a:spLocks noChangeAspect="1" noEditPoints="1"/>
                </p:cNvSpPr>
                <p:nvPr/>
              </p:nvSpPr>
              <p:spPr bwMode="auto">
                <a:xfrm>
                  <a:off x="1466850" y="1614488"/>
                  <a:ext cx="438149" cy="491242"/>
                </a:xfrm>
                <a:custGeom>
                  <a:avLst/>
                  <a:gdLst>
                    <a:gd name="T0" fmla="*/ 2147483647 w 346"/>
                    <a:gd name="T1" fmla="*/ 2147483647 h 388"/>
                    <a:gd name="T2" fmla="*/ 2147483647 w 346"/>
                    <a:gd name="T3" fmla="*/ 2147483647 h 388"/>
                    <a:gd name="T4" fmla="*/ 2147483647 w 346"/>
                    <a:gd name="T5" fmla="*/ 2147483647 h 388"/>
                    <a:gd name="T6" fmla="*/ 2147483647 w 346"/>
                    <a:gd name="T7" fmla="*/ 2147483647 h 388"/>
                    <a:gd name="T8" fmla="*/ 2147483647 w 346"/>
                    <a:gd name="T9" fmla="*/ 2147483647 h 388"/>
                    <a:gd name="T10" fmla="*/ 2147483647 w 346"/>
                    <a:gd name="T11" fmla="*/ 2147483647 h 388"/>
                    <a:gd name="T12" fmla="*/ 2147483647 w 346"/>
                    <a:gd name="T13" fmla="*/ 2147483647 h 388"/>
                    <a:gd name="T14" fmla="*/ 2147483647 w 346"/>
                    <a:gd name="T15" fmla="*/ 2147483647 h 388"/>
                    <a:gd name="T16" fmla="*/ 2147483647 w 346"/>
                    <a:gd name="T17" fmla="*/ 2147483647 h 388"/>
                    <a:gd name="T18" fmla="*/ 2147483647 w 346"/>
                    <a:gd name="T19" fmla="*/ 2147483647 h 388"/>
                    <a:gd name="T20" fmla="*/ 2147483647 w 346"/>
                    <a:gd name="T21" fmla="*/ 2147483647 h 388"/>
                    <a:gd name="T22" fmla="*/ 2147483647 w 346"/>
                    <a:gd name="T23" fmla="*/ 2147483647 h 388"/>
                    <a:gd name="T24" fmla="*/ 2147483647 w 346"/>
                    <a:gd name="T25" fmla="*/ 2147483647 h 388"/>
                    <a:gd name="T26" fmla="*/ 2147483647 w 346"/>
                    <a:gd name="T27" fmla="*/ 2147483647 h 388"/>
                    <a:gd name="T28" fmla="*/ 2147483647 w 346"/>
                    <a:gd name="T29" fmla="*/ 2147483647 h 388"/>
                    <a:gd name="T30" fmla="*/ 2147483647 w 346"/>
                    <a:gd name="T31" fmla="*/ 2147483647 h 388"/>
                    <a:gd name="T32" fmla="*/ 2147483647 w 346"/>
                    <a:gd name="T33" fmla="*/ 2147483647 h 388"/>
                    <a:gd name="T34" fmla="*/ 2147483647 w 346"/>
                    <a:gd name="T35" fmla="*/ 2147483647 h 388"/>
                    <a:gd name="T36" fmla="*/ 2147483647 w 346"/>
                    <a:gd name="T37" fmla="*/ 2147483647 h 388"/>
                    <a:gd name="T38" fmla="*/ 2147483647 w 346"/>
                    <a:gd name="T39" fmla="*/ 2147483647 h 388"/>
                    <a:gd name="T40" fmla="*/ 2147483647 w 346"/>
                    <a:gd name="T41" fmla="*/ 2147483647 h 388"/>
                    <a:gd name="T42" fmla="*/ 2147483647 w 346"/>
                    <a:gd name="T43" fmla="*/ 2147483647 h 388"/>
                    <a:gd name="T44" fmla="*/ 2147483647 w 346"/>
                    <a:gd name="T45" fmla="*/ 2147483647 h 388"/>
                    <a:gd name="T46" fmla="*/ 2147483647 w 346"/>
                    <a:gd name="T47" fmla="*/ 2147483647 h 388"/>
                    <a:gd name="T48" fmla="*/ 2147483647 w 346"/>
                    <a:gd name="T49" fmla="*/ 2147483647 h 388"/>
                    <a:gd name="T50" fmla="*/ 2147483647 w 346"/>
                    <a:gd name="T51" fmla="*/ 2147483647 h 388"/>
                    <a:gd name="T52" fmla="*/ 2147483647 w 346"/>
                    <a:gd name="T53" fmla="*/ 2147483647 h 388"/>
                    <a:gd name="T54" fmla="*/ 2147483647 w 346"/>
                    <a:gd name="T55" fmla="*/ 2147483647 h 388"/>
                    <a:gd name="T56" fmla="*/ 2147483647 w 346"/>
                    <a:gd name="T57" fmla="*/ 2147483647 h 388"/>
                    <a:gd name="T58" fmla="*/ 2147483647 w 346"/>
                    <a:gd name="T59" fmla="*/ 2147483647 h 388"/>
                    <a:gd name="T60" fmla="*/ 2147483647 w 346"/>
                    <a:gd name="T61" fmla="*/ 2147483647 h 388"/>
                    <a:gd name="T62" fmla="*/ 2147483647 w 346"/>
                    <a:gd name="T63" fmla="*/ 2147483647 h 388"/>
                    <a:gd name="T64" fmla="*/ 2147483647 w 346"/>
                    <a:gd name="T65" fmla="*/ 2147483647 h 388"/>
                    <a:gd name="T66" fmla="*/ 2147483647 w 346"/>
                    <a:gd name="T67" fmla="*/ 2147483647 h 388"/>
                    <a:gd name="T68" fmla="*/ 2147483647 w 346"/>
                    <a:gd name="T69" fmla="*/ 2147483647 h 388"/>
                    <a:gd name="T70" fmla="*/ 2147483647 w 346"/>
                    <a:gd name="T71" fmla="*/ 2147483647 h 388"/>
                    <a:gd name="T72" fmla="*/ 2147483647 w 346"/>
                    <a:gd name="T73" fmla="*/ 2147483647 h 38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46" h="388">
                      <a:moveTo>
                        <a:pt x="99" y="274"/>
                      </a:moveTo>
                      <a:cubicBezTo>
                        <a:pt x="124" y="274"/>
                        <a:pt x="145" y="253"/>
                        <a:pt x="145" y="228"/>
                      </a:cubicBezTo>
                      <a:cubicBezTo>
                        <a:pt x="145" y="228"/>
                        <a:pt x="145" y="228"/>
                        <a:pt x="145" y="228"/>
                      </a:cubicBezTo>
                      <a:cubicBezTo>
                        <a:pt x="145" y="48"/>
                        <a:pt x="145" y="48"/>
                        <a:pt x="145" y="48"/>
                      </a:cubicBezTo>
                      <a:cubicBezTo>
                        <a:pt x="277" y="18"/>
                        <a:pt x="277" y="18"/>
                        <a:pt x="277" y="18"/>
                      </a:cubicBezTo>
                      <a:cubicBezTo>
                        <a:pt x="277" y="41"/>
                        <a:pt x="277" y="41"/>
                        <a:pt x="277" y="41"/>
                      </a:cubicBezTo>
                      <a:cubicBezTo>
                        <a:pt x="277" y="45"/>
                        <a:pt x="281" y="49"/>
                        <a:pt x="285" y="49"/>
                      </a:cubicBezTo>
                      <a:cubicBezTo>
                        <a:pt x="289" y="49"/>
                        <a:pt x="293" y="45"/>
                        <a:pt x="293" y="41"/>
                      </a:cubicBezTo>
                      <a:cubicBezTo>
                        <a:pt x="293" y="8"/>
                        <a:pt x="293" y="8"/>
                        <a:pt x="293" y="8"/>
                      </a:cubicBezTo>
                      <a:cubicBezTo>
                        <a:pt x="293" y="6"/>
                        <a:pt x="292" y="3"/>
                        <a:pt x="290" y="2"/>
                      </a:cubicBezTo>
                      <a:cubicBezTo>
                        <a:pt x="288" y="0"/>
                        <a:pt x="286" y="0"/>
                        <a:pt x="283" y="0"/>
                      </a:cubicBezTo>
                      <a:cubicBezTo>
                        <a:pt x="135" y="34"/>
                        <a:pt x="135" y="34"/>
                        <a:pt x="135" y="34"/>
                      </a:cubicBezTo>
                      <a:cubicBezTo>
                        <a:pt x="131" y="35"/>
                        <a:pt x="129" y="38"/>
                        <a:pt x="129" y="42"/>
                      </a:cubicBezTo>
                      <a:cubicBezTo>
                        <a:pt x="129" y="194"/>
                        <a:pt x="129" y="194"/>
                        <a:pt x="129" y="194"/>
                      </a:cubicBezTo>
                      <a:cubicBezTo>
                        <a:pt x="121" y="187"/>
                        <a:pt x="110" y="183"/>
                        <a:pt x="99" y="183"/>
                      </a:cubicBezTo>
                      <a:cubicBezTo>
                        <a:pt x="74" y="183"/>
                        <a:pt x="53" y="203"/>
                        <a:pt x="53" y="228"/>
                      </a:cubicBezTo>
                      <a:cubicBezTo>
                        <a:pt x="53" y="253"/>
                        <a:pt x="74" y="274"/>
                        <a:pt x="99" y="274"/>
                      </a:cubicBezTo>
                      <a:close/>
                      <a:moveTo>
                        <a:pt x="285" y="65"/>
                      </a:moveTo>
                      <a:cubicBezTo>
                        <a:pt x="281" y="65"/>
                        <a:pt x="277" y="69"/>
                        <a:pt x="277" y="73"/>
                      </a:cubicBezTo>
                      <a:cubicBezTo>
                        <a:pt x="277" y="160"/>
                        <a:pt x="277" y="160"/>
                        <a:pt x="277" y="160"/>
                      </a:cubicBezTo>
                      <a:cubicBezTo>
                        <a:pt x="269" y="153"/>
                        <a:pt x="259" y="149"/>
                        <a:pt x="247" y="149"/>
                      </a:cubicBezTo>
                      <a:cubicBezTo>
                        <a:pt x="222" y="149"/>
                        <a:pt x="202" y="169"/>
                        <a:pt x="202" y="195"/>
                      </a:cubicBezTo>
                      <a:cubicBezTo>
                        <a:pt x="202" y="220"/>
                        <a:pt x="222" y="240"/>
                        <a:pt x="247" y="240"/>
                      </a:cubicBezTo>
                      <a:cubicBezTo>
                        <a:pt x="272" y="240"/>
                        <a:pt x="293" y="220"/>
                        <a:pt x="293" y="195"/>
                      </a:cubicBezTo>
                      <a:cubicBezTo>
                        <a:pt x="293" y="195"/>
                        <a:pt x="293" y="195"/>
                        <a:pt x="293" y="195"/>
                      </a:cubicBezTo>
                      <a:cubicBezTo>
                        <a:pt x="293" y="73"/>
                        <a:pt x="293" y="73"/>
                        <a:pt x="293" y="73"/>
                      </a:cubicBezTo>
                      <a:cubicBezTo>
                        <a:pt x="293" y="69"/>
                        <a:pt x="289" y="65"/>
                        <a:pt x="285" y="65"/>
                      </a:cubicBezTo>
                      <a:close/>
                      <a:moveTo>
                        <a:pt x="2" y="309"/>
                      </a:moveTo>
                      <a:cubicBezTo>
                        <a:pt x="2" y="310"/>
                        <a:pt x="6" y="319"/>
                        <a:pt x="17" y="328"/>
                      </a:cubicBezTo>
                      <a:cubicBezTo>
                        <a:pt x="28" y="337"/>
                        <a:pt x="45" y="346"/>
                        <a:pt x="71" y="346"/>
                      </a:cubicBezTo>
                      <a:cubicBezTo>
                        <a:pt x="72" y="346"/>
                        <a:pt x="72" y="346"/>
                        <a:pt x="72" y="346"/>
                      </a:cubicBezTo>
                      <a:cubicBezTo>
                        <a:pt x="98" y="346"/>
                        <a:pt x="132" y="337"/>
                        <a:pt x="177" y="313"/>
                      </a:cubicBezTo>
                      <a:cubicBezTo>
                        <a:pt x="221" y="290"/>
                        <a:pt x="252" y="282"/>
                        <a:pt x="275" y="282"/>
                      </a:cubicBezTo>
                      <a:cubicBezTo>
                        <a:pt x="297" y="282"/>
                        <a:pt x="311" y="289"/>
                        <a:pt x="319" y="296"/>
                      </a:cubicBezTo>
                      <a:cubicBezTo>
                        <a:pt x="323" y="300"/>
                        <a:pt x="326" y="303"/>
                        <a:pt x="327" y="305"/>
                      </a:cubicBezTo>
                      <a:cubicBezTo>
                        <a:pt x="328" y="307"/>
                        <a:pt x="329" y="308"/>
                        <a:pt x="329" y="308"/>
                      </a:cubicBezTo>
                      <a:cubicBezTo>
                        <a:pt x="329" y="309"/>
                        <a:pt x="329" y="309"/>
                        <a:pt x="330" y="309"/>
                      </a:cubicBezTo>
                      <a:cubicBezTo>
                        <a:pt x="330" y="309"/>
                        <a:pt x="330" y="309"/>
                        <a:pt x="330" y="309"/>
                      </a:cubicBezTo>
                      <a:cubicBezTo>
                        <a:pt x="331" y="313"/>
                        <a:pt x="336" y="315"/>
                        <a:pt x="340" y="313"/>
                      </a:cubicBezTo>
                      <a:cubicBezTo>
                        <a:pt x="344" y="312"/>
                        <a:pt x="346" y="307"/>
                        <a:pt x="344" y="303"/>
                      </a:cubicBezTo>
                      <a:cubicBezTo>
                        <a:pt x="344" y="302"/>
                        <a:pt x="340" y="293"/>
                        <a:pt x="329" y="284"/>
                      </a:cubicBezTo>
                      <a:cubicBezTo>
                        <a:pt x="319" y="275"/>
                        <a:pt x="301" y="266"/>
                        <a:pt x="275" y="266"/>
                      </a:cubicBezTo>
                      <a:cubicBezTo>
                        <a:pt x="249" y="266"/>
                        <a:pt x="215" y="275"/>
                        <a:pt x="169" y="299"/>
                      </a:cubicBezTo>
                      <a:cubicBezTo>
                        <a:pt x="126" y="322"/>
                        <a:pt x="94" y="330"/>
                        <a:pt x="72" y="330"/>
                      </a:cubicBezTo>
                      <a:cubicBezTo>
                        <a:pt x="49" y="330"/>
                        <a:pt x="36" y="323"/>
                        <a:pt x="27" y="316"/>
                      </a:cubicBezTo>
                      <a:cubicBezTo>
                        <a:pt x="23" y="312"/>
                        <a:pt x="21" y="309"/>
                        <a:pt x="19" y="306"/>
                      </a:cubicBezTo>
                      <a:cubicBezTo>
                        <a:pt x="18" y="305"/>
                        <a:pt x="18" y="304"/>
                        <a:pt x="17" y="304"/>
                      </a:cubicBezTo>
                      <a:cubicBezTo>
                        <a:pt x="17" y="303"/>
                        <a:pt x="17" y="303"/>
                        <a:pt x="17" y="303"/>
                      </a:cubicBezTo>
                      <a:cubicBezTo>
                        <a:pt x="17" y="303"/>
                        <a:pt x="17" y="303"/>
                        <a:pt x="17" y="303"/>
                      </a:cubicBezTo>
                      <a:cubicBezTo>
                        <a:pt x="15" y="299"/>
                        <a:pt x="10" y="297"/>
                        <a:pt x="6" y="299"/>
                      </a:cubicBezTo>
                      <a:cubicBezTo>
                        <a:pt x="2" y="300"/>
                        <a:pt x="0" y="305"/>
                        <a:pt x="2" y="309"/>
                      </a:cubicBezTo>
                      <a:close/>
                      <a:moveTo>
                        <a:pt x="329" y="326"/>
                      </a:moveTo>
                      <a:cubicBezTo>
                        <a:pt x="319" y="317"/>
                        <a:pt x="301" y="308"/>
                        <a:pt x="275" y="308"/>
                      </a:cubicBezTo>
                      <a:cubicBezTo>
                        <a:pt x="249" y="308"/>
                        <a:pt x="215" y="316"/>
                        <a:pt x="169" y="341"/>
                      </a:cubicBezTo>
                      <a:cubicBezTo>
                        <a:pt x="126" y="364"/>
                        <a:pt x="94" y="372"/>
                        <a:pt x="72" y="372"/>
                      </a:cubicBezTo>
                      <a:cubicBezTo>
                        <a:pt x="49" y="372"/>
                        <a:pt x="36" y="364"/>
                        <a:pt x="27" y="358"/>
                      </a:cubicBezTo>
                      <a:cubicBezTo>
                        <a:pt x="23" y="354"/>
                        <a:pt x="21" y="351"/>
                        <a:pt x="19" y="348"/>
                      </a:cubicBezTo>
                      <a:cubicBezTo>
                        <a:pt x="18" y="347"/>
                        <a:pt x="18" y="346"/>
                        <a:pt x="17" y="345"/>
                      </a:cubicBezTo>
                      <a:cubicBezTo>
                        <a:pt x="17" y="345"/>
                        <a:pt x="17" y="345"/>
                        <a:pt x="17" y="345"/>
                      </a:cubicBezTo>
                      <a:cubicBezTo>
                        <a:pt x="17" y="345"/>
                        <a:pt x="17" y="345"/>
                        <a:pt x="17" y="345"/>
                      </a:cubicBezTo>
                      <a:cubicBezTo>
                        <a:pt x="15" y="341"/>
                        <a:pt x="10" y="339"/>
                        <a:pt x="6" y="340"/>
                      </a:cubicBezTo>
                      <a:cubicBezTo>
                        <a:pt x="2" y="342"/>
                        <a:pt x="0" y="347"/>
                        <a:pt x="2" y="351"/>
                      </a:cubicBezTo>
                      <a:cubicBezTo>
                        <a:pt x="2" y="352"/>
                        <a:pt x="6" y="361"/>
                        <a:pt x="17" y="370"/>
                      </a:cubicBezTo>
                      <a:cubicBezTo>
                        <a:pt x="28" y="379"/>
                        <a:pt x="45" y="388"/>
                        <a:pt x="71" y="388"/>
                      </a:cubicBezTo>
                      <a:cubicBezTo>
                        <a:pt x="72" y="388"/>
                        <a:pt x="72" y="388"/>
                        <a:pt x="72" y="388"/>
                      </a:cubicBezTo>
                      <a:cubicBezTo>
                        <a:pt x="98" y="388"/>
                        <a:pt x="132" y="379"/>
                        <a:pt x="177" y="355"/>
                      </a:cubicBezTo>
                      <a:cubicBezTo>
                        <a:pt x="221" y="331"/>
                        <a:pt x="252" y="324"/>
                        <a:pt x="275" y="324"/>
                      </a:cubicBezTo>
                      <a:cubicBezTo>
                        <a:pt x="297" y="324"/>
                        <a:pt x="311" y="331"/>
                        <a:pt x="319" y="338"/>
                      </a:cubicBezTo>
                      <a:cubicBezTo>
                        <a:pt x="323" y="341"/>
                        <a:pt x="326" y="345"/>
                        <a:pt x="327" y="347"/>
                      </a:cubicBezTo>
                      <a:cubicBezTo>
                        <a:pt x="328" y="348"/>
                        <a:pt x="329" y="349"/>
                        <a:pt x="329" y="350"/>
                      </a:cubicBezTo>
                      <a:cubicBezTo>
                        <a:pt x="329" y="350"/>
                        <a:pt x="329" y="351"/>
                        <a:pt x="330" y="351"/>
                      </a:cubicBezTo>
                      <a:cubicBezTo>
                        <a:pt x="330" y="351"/>
                        <a:pt x="330" y="351"/>
                        <a:pt x="330" y="351"/>
                      </a:cubicBezTo>
                      <a:cubicBezTo>
                        <a:pt x="331" y="355"/>
                        <a:pt x="336" y="357"/>
                        <a:pt x="340" y="355"/>
                      </a:cubicBezTo>
                      <a:cubicBezTo>
                        <a:pt x="344" y="353"/>
                        <a:pt x="346" y="349"/>
                        <a:pt x="344" y="345"/>
                      </a:cubicBezTo>
                      <a:cubicBezTo>
                        <a:pt x="344" y="344"/>
                        <a:pt x="340" y="335"/>
                        <a:pt x="329" y="326"/>
                      </a:cubicBezTo>
                      <a:close/>
                    </a:path>
                  </a:pathLst>
                </a:custGeom>
                <a:grpFill/>
                <a:ln>
                  <a:noFill/>
                </a:ln>
              </p:spPr>
              <p:txBody>
                <a:bodyPr/>
                <a:lstStyle/>
                <a:p>
                  <a:endParaRPr lang="sv-SE" dirty="0">
                    <a:solidFill>
                      <a:srgbClr val="58585A"/>
                    </a:solidFill>
                  </a:endParaRPr>
                </a:p>
              </p:txBody>
            </p:sp>
            <p:sp>
              <p:nvSpPr>
                <p:cNvPr id="118" name="Freeform 6">
                  <a:extLst>
                    <a:ext uri="{FF2B5EF4-FFF2-40B4-BE49-F238E27FC236}">
                      <a16:creationId xmlns:a16="http://schemas.microsoft.com/office/drawing/2014/main" id="{DBC6B637-CBC9-4DDC-BD8D-9C85EDA8B18F}"/>
                    </a:ext>
                  </a:extLst>
                </p:cNvPr>
                <p:cNvSpPr>
                  <a:spLocks noChangeAspect="1" noEditPoints="1"/>
                </p:cNvSpPr>
                <p:nvPr/>
              </p:nvSpPr>
              <p:spPr bwMode="auto">
                <a:xfrm>
                  <a:off x="1905000" y="969289"/>
                  <a:ext cx="326031" cy="535661"/>
                </a:xfrm>
                <a:custGeom>
                  <a:avLst/>
                  <a:gdLst>
                    <a:gd name="T0" fmla="*/ 2147483647 w 250"/>
                    <a:gd name="T1" fmla="*/ 2147483647 h 411"/>
                    <a:gd name="T2" fmla="*/ 2147483647 w 250"/>
                    <a:gd name="T3" fmla="*/ 2147483647 h 411"/>
                    <a:gd name="T4" fmla="*/ 2147483647 w 250"/>
                    <a:gd name="T5" fmla="*/ 2147483647 h 411"/>
                    <a:gd name="T6" fmla="*/ 2147483647 w 250"/>
                    <a:gd name="T7" fmla="*/ 2147483647 h 411"/>
                    <a:gd name="T8" fmla="*/ 2147483647 w 250"/>
                    <a:gd name="T9" fmla="*/ 2147483647 h 411"/>
                    <a:gd name="T10" fmla="*/ 2147483647 w 250"/>
                    <a:gd name="T11" fmla="*/ 2147483647 h 411"/>
                    <a:gd name="T12" fmla="*/ 2147483647 w 250"/>
                    <a:gd name="T13" fmla="*/ 2147483647 h 411"/>
                    <a:gd name="T14" fmla="*/ 2147483647 w 250"/>
                    <a:gd name="T15" fmla="*/ 2147483647 h 411"/>
                    <a:gd name="T16" fmla="*/ 2147483647 w 250"/>
                    <a:gd name="T17" fmla="*/ 2147483647 h 411"/>
                    <a:gd name="T18" fmla="*/ 2147483647 w 250"/>
                    <a:gd name="T19" fmla="*/ 2147483647 h 411"/>
                    <a:gd name="T20" fmla="*/ 2147483647 w 250"/>
                    <a:gd name="T21" fmla="*/ 2147483647 h 411"/>
                    <a:gd name="T22" fmla="*/ 2147483647 w 250"/>
                    <a:gd name="T23" fmla="*/ 2147483647 h 411"/>
                    <a:gd name="T24" fmla="*/ 2147483647 w 250"/>
                    <a:gd name="T25" fmla="*/ 2147483647 h 411"/>
                    <a:gd name="T26" fmla="*/ 2147483647 w 250"/>
                    <a:gd name="T27" fmla="*/ 2147483647 h 411"/>
                    <a:gd name="T28" fmla="*/ 2147483647 w 250"/>
                    <a:gd name="T29" fmla="*/ 2147483647 h 411"/>
                    <a:gd name="T30" fmla="*/ 2147483647 w 250"/>
                    <a:gd name="T31" fmla="*/ 2147483647 h 411"/>
                    <a:gd name="T32" fmla="*/ 2147483647 w 250"/>
                    <a:gd name="T33" fmla="*/ 2147483647 h 411"/>
                    <a:gd name="T34" fmla="*/ 2147483647 w 250"/>
                    <a:gd name="T35" fmla="*/ 2147483647 h 411"/>
                    <a:gd name="T36" fmla="*/ 2147483647 w 250"/>
                    <a:gd name="T37" fmla="*/ 2147483647 h 411"/>
                    <a:gd name="T38" fmla="*/ 2147483647 w 250"/>
                    <a:gd name="T39" fmla="*/ 0 h 411"/>
                    <a:gd name="T40" fmla="*/ 2147483647 w 250"/>
                    <a:gd name="T41" fmla="*/ 0 h 411"/>
                    <a:gd name="T42" fmla="*/ 0 w 250"/>
                    <a:gd name="T43" fmla="*/ 2147483647 h 411"/>
                    <a:gd name="T44" fmla="*/ 0 w 250"/>
                    <a:gd name="T45" fmla="*/ 2147483647 h 411"/>
                    <a:gd name="T46" fmla="*/ 2147483647 w 250"/>
                    <a:gd name="T47" fmla="*/ 2147483647 h 411"/>
                    <a:gd name="T48" fmla="*/ 2147483647 w 250"/>
                    <a:gd name="T49" fmla="*/ 2147483647 h 411"/>
                    <a:gd name="T50" fmla="*/ 2147483647 w 250"/>
                    <a:gd name="T51" fmla="*/ 2147483647 h 411"/>
                    <a:gd name="T52" fmla="*/ 2147483647 w 250"/>
                    <a:gd name="T53" fmla="*/ 2147483647 h 411"/>
                    <a:gd name="T54" fmla="*/ 2147483647 w 250"/>
                    <a:gd name="T55" fmla="*/ 2147483647 h 411"/>
                    <a:gd name="T56" fmla="*/ 2147483647 w 250"/>
                    <a:gd name="T57" fmla="*/ 2147483647 h 411"/>
                    <a:gd name="T58" fmla="*/ 2147483647 w 250"/>
                    <a:gd name="T59" fmla="*/ 2147483647 h 411"/>
                    <a:gd name="T60" fmla="*/ 2147483647 w 250"/>
                    <a:gd name="T61" fmla="*/ 2147483647 h 411"/>
                    <a:gd name="T62" fmla="*/ 2147483647 w 250"/>
                    <a:gd name="T63" fmla="*/ 2147483647 h 411"/>
                    <a:gd name="T64" fmla="*/ 2147483647 w 250"/>
                    <a:gd name="T65" fmla="*/ 2147483647 h 411"/>
                    <a:gd name="T66" fmla="*/ 2147483647 w 250"/>
                    <a:gd name="T67" fmla="*/ 2147483647 h 411"/>
                    <a:gd name="T68" fmla="*/ 2147483647 w 250"/>
                    <a:gd name="T69" fmla="*/ 2147483647 h 411"/>
                    <a:gd name="T70" fmla="*/ 2147483647 w 250"/>
                    <a:gd name="T71" fmla="*/ 2147483647 h 411"/>
                    <a:gd name="T72" fmla="*/ 2147483647 w 250"/>
                    <a:gd name="T73" fmla="*/ 2147483647 h 411"/>
                    <a:gd name="T74" fmla="*/ 2147483647 w 250"/>
                    <a:gd name="T75" fmla="*/ 2147483647 h 411"/>
                    <a:gd name="T76" fmla="*/ 2147483647 w 250"/>
                    <a:gd name="T77" fmla="*/ 2147483647 h 411"/>
                    <a:gd name="T78" fmla="*/ 2147483647 w 250"/>
                    <a:gd name="T79" fmla="*/ 2147483647 h 411"/>
                    <a:gd name="T80" fmla="*/ 2147483647 w 250"/>
                    <a:gd name="T81" fmla="*/ 2147483647 h 411"/>
                    <a:gd name="T82" fmla="*/ 2147483647 w 250"/>
                    <a:gd name="T83" fmla="*/ 2147483647 h 4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50" h="411">
                      <a:moveTo>
                        <a:pt x="43" y="279"/>
                      </a:moveTo>
                      <a:cubicBezTo>
                        <a:pt x="47" y="279"/>
                        <a:pt x="51" y="276"/>
                        <a:pt x="51" y="271"/>
                      </a:cubicBezTo>
                      <a:cubicBezTo>
                        <a:pt x="51" y="235"/>
                        <a:pt x="51" y="235"/>
                        <a:pt x="51" y="235"/>
                      </a:cubicBezTo>
                      <a:cubicBezTo>
                        <a:pt x="51" y="231"/>
                        <a:pt x="47" y="227"/>
                        <a:pt x="43" y="227"/>
                      </a:cubicBezTo>
                      <a:cubicBezTo>
                        <a:pt x="39" y="227"/>
                        <a:pt x="35" y="231"/>
                        <a:pt x="35" y="235"/>
                      </a:cubicBezTo>
                      <a:cubicBezTo>
                        <a:pt x="35" y="271"/>
                        <a:pt x="35" y="271"/>
                        <a:pt x="35" y="271"/>
                      </a:cubicBezTo>
                      <a:cubicBezTo>
                        <a:pt x="35" y="276"/>
                        <a:pt x="39" y="279"/>
                        <a:pt x="43" y="279"/>
                      </a:cubicBezTo>
                      <a:close/>
                      <a:moveTo>
                        <a:pt x="242" y="74"/>
                      </a:moveTo>
                      <a:cubicBezTo>
                        <a:pt x="238" y="74"/>
                        <a:pt x="234" y="78"/>
                        <a:pt x="234" y="82"/>
                      </a:cubicBezTo>
                      <a:cubicBezTo>
                        <a:pt x="234" y="198"/>
                        <a:pt x="234" y="198"/>
                        <a:pt x="234" y="198"/>
                      </a:cubicBezTo>
                      <a:cubicBezTo>
                        <a:pt x="16" y="198"/>
                        <a:pt x="16" y="198"/>
                        <a:pt x="16" y="198"/>
                      </a:cubicBezTo>
                      <a:cubicBezTo>
                        <a:pt x="16" y="30"/>
                        <a:pt x="16" y="30"/>
                        <a:pt x="16" y="30"/>
                      </a:cubicBezTo>
                      <a:cubicBezTo>
                        <a:pt x="16" y="22"/>
                        <a:pt x="23" y="16"/>
                        <a:pt x="31" y="16"/>
                      </a:cubicBezTo>
                      <a:cubicBezTo>
                        <a:pt x="219" y="16"/>
                        <a:pt x="219" y="16"/>
                        <a:pt x="219" y="16"/>
                      </a:cubicBezTo>
                      <a:cubicBezTo>
                        <a:pt x="227" y="16"/>
                        <a:pt x="234" y="22"/>
                        <a:pt x="234" y="30"/>
                      </a:cubicBezTo>
                      <a:cubicBezTo>
                        <a:pt x="234" y="50"/>
                        <a:pt x="234" y="50"/>
                        <a:pt x="234" y="50"/>
                      </a:cubicBezTo>
                      <a:cubicBezTo>
                        <a:pt x="234" y="55"/>
                        <a:pt x="238" y="58"/>
                        <a:pt x="242" y="58"/>
                      </a:cubicBezTo>
                      <a:cubicBezTo>
                        <a:pt x="246" y="58"/>
                        <a:pt x="250" y="55"/>
                        <a:pt x="250" y="50"/>
                      </a:cubicBezTo>
                      <a:cubicBezTo>
                        <a:pt x="250" y="30"/>
                        <a:pt x="250" y="30"/>
                        <a:pt x="250" y="30"/>
                      </a:cubicBezTo>
                      <a:cubicBezTo>
                        <a:pt x="250" y="14"/>
                        <a:pt x="236" y="0"/>
                        <a:pt x="219" y="0"/>
                      </a:cubicBezTo>
                      <a:cubicBezTo>
                        <a:pt x="31" y="0"/>
                        <a:pt x="31" y="0"/>
                        <a:pt x="31" y="0"/>
                      </a:cubicBezTo>
                      <a:cubicBezTo>
                        <a:pt x="14" y="0"/>
                        <a:pt x="0" y="14"/>
                        <a:pt x="0" y="30"/>
                      </a:cubicBezTo>
                      <a:cubicBezTo>
                        <a:pt x="0" y="381"/>
                        <a:pt x="0" y="381"/>
                        <a:pt x="0" y="381"/>
                      </a:cubicBezTo>
                      <a:cubicBezTo>
                        <a:pt x="0" y="398"/>
                        <a:pt x="14" y="411"/>
                        <a:pt x="31" y="411"/>
                      </a:cubicBezTo>
                      <a:cubicBezTo>
                        <a:pt x="219" y="411"/>
                        <a:pt x="219" y="411"/>
                        <a:pt x="219" y="411"/>
                      </a:cubicBezTo>
                      <a:cubicBezTo>
                        <a:pt x="236" y="411"/>
                        <a:pt x="250" y="398"/>
                        <a:pt x="250" y="381"/>
                      </a:cubicBezTo>
                      <a:cubicBezTo>
                        <a:pt x="250" y="82"/>
                        <a:pt x="250" y="82"/>
                        <a:pt x="250" y="82"/>
                      </a:cubicBezTo>
                      <a:cubicBezTo>
                        <a:pt x="250" y="78"/>
                        <a:pt x="246" y="74"/>
                        <a:pt x="242" y="74"/>
                      </a:cubicBezTo>
                      <a:close/>
                      <a:moveTo>
                        <a:pt x="234" y="381"/>
                      </a:moveTo>
                      <a:cubicBezTo>
                        <a:pt x="234" y="389"/>
                        <a:pt x="227" y="395"/>
                        <a:pt x="219" y="395"/>
                      </a:cubicBezTo>
                      <a:cubicBezTo>
                        <a:pt x="31" y="395"/>
                        <a:pt x="31" y="395"/>
                        <a:pt x="31" y="395"/>
                      </a:cubicBezTo>
                      <a:cubicBezTo>
                        <a:pt x="23" y="395"/>
                        <a:pt x="16" y="389"/>
                        <a:pt x="16" y="381"/>
                      </a:cubicBezTo>
                      <a:cubicBezTo>
                        <a:pt x="16" y="214"/>
                        <a:pt x="16" y="214"/>
                        <a:pt x="16" y="214"/>
                      </a:cubicBezTo>
                      <a:cubicBezTo>
                        <a:pt x="234" y="214"/>
                        <a:pt x="234" y="214"/>
                        <a:pt x="234" y="214"/>
                      </a:cubicBezTo>
                      <a:lnTo>
                        <a:pt x="234" y="381"/>
                      </a:lnTo>
                      <a:close/>
                      <a:moveTo>
                        <a:pt x="35" y="138"/>
                      </a:moveTo>
                      <a:cubicBezTo>
                        <a:pt x="35" y="174"/>
                        <a:pt x="35" y="174"/>
                        <a:pt x="35" y="174"/>
                      </a:cubicBezTo>
                      <a:cubicBezTo>
                        <a:pt x="35" y="179"/>
                        <a:pt x="39" y="182"/>
                        <a:pt x="43" y="182"/>
                      </a:cubicBezTo>
                      <a:cubicBezTo>
                        <a:pt x="47" y="182"/>
                        <a:pt x="51" y="179"/>
                        <a:pt x="51" y="174"/>
                      </a:cubicBezTo>
                      <a:cubicBezTo>
                        <a:pt x="51" y="138"/>
                        <a:pt x="51" y="138"/>
                        <a:pt x="51" y="138"/>
                      </a:cubicBezTo>
                      <a:cubicBezTo>
                        <a:pt x="51" y="134"/>
                        <a:pt x="47" y="130"/>
                        <a:pt x="43" y="130"/>
                      </a:cubicBezTo>
                      <a:cubicBezTo>
                        <a:pt x="39" y="130"/>
                        <a:pt x="35" y="134"/>
                        <a:pt x="35" y="138"/>
                      </a:cubicBezTo>
                      <a:close/>
                    </a:path>
                  </a:pathLst>
                </a:custGeom>
                <a:grpFill/>
                <a:ln>
                  <a:noFill/>
                </a:ln>
              </p:spPr>
              <p:txBody>
                <a:bodyPr/>
                <a:lstStyle/>
                <a:p>
                  <a:endParaRPr lang="sv-SE" dirty="0">
                    <a:solidFill>
                      <a:srgbClr val="58585A"/>
                    </a:solidFill>
                  </a:endParaRPr>
                </a:p>
              </p:txBody>
            </p:sp>
            <p:sp>
              <p:nvSpPr>
                <p:cNvPr id="119" name="Freeform 3">
                  <a:extLst>
                    <a:ext uri="{FF2B5EF4-FFF2-40B4-BE49-F238E27FC236}">
                      <a16:creationId xmlns:a16="http://schemas.microsoft.com/office/drawing/2014/main" id="{9997F5B9-D3B2-45C8-9B9E-8663FCBE1933}"/>
                    </a:ext>
                  </a:extLst>
                </p:cNvPr>
                <p:cNvSpPr>
                  <a:spLocks noChangeAspect="1" noEditPoints="1"/>
                </p:cNvSpPr>
                <p:nvPr/>
              </p:nvSpPr>
              <p:spPr bwMode="auto">
                <a:xfrm>
                  <a:off x="2090739" y="1614488"/>
                  <a:ext cx="442911" cy="374345"/>
                </a:xfrm>
                <a:custGeom>
                  <a:avLst/>
                  <a:gdLst>
                    <a:gd name="T0" fmla="*/ 2147483647 w 339"/>
                    <a:gd name="T1" fmla="*/ 2147483647 h 287"/>
                    <a:gd name="T2" fmla="*/ 2147483647 w 339"/>
                    <a:gd name="T3" fmla="*/ 2147483647 h 287"/>
                    <a:gd name="T4" fmla="*/ 2147483647 w 339"/>
                    <a:gd name="T5" fmla="*/ 2147483647 h 287"/>
                    <a:gd name="T6" fmla="*/ 2147483647 w 339"/>
                    <a:gd name="T7" fmla="*/ 2147483647 h 287"/>
                    <a:gd name="T8" fmla="*/ 2147483647 w 339"/>
                    <a:gd name="T9" fmla="*/ 2147483647 h 287"/>
                    <a:gd name="T10" fmla="*/ 2147483647 w 339"/>
                    <a:gd name="T11" fmla="*/ 2147483647 h 287"/>
                    <a:gd name="T12" fmla="*/ 2147483647 w 339"/>
                    <a:gd name="T13" fmla="*/ 2147483647 h 287"/>
                    <a:gd name="T14" fmla="*/ 2147483647 w 339"/>
                    <a:gd name="T15" fmla="*/ 2147483647 h 287"/>
                    <a:gd name="T16" fmla="*/ 2147483647 w 339"/>
                    <a:gd name="T17" fmla="*/ 2147483647 h 287"/>
                    <a:gd name="T18" fmla="*/ 2147483647 w 339"/>
                    <a:gd name="T19" fmla="*/ 2147483647 h 287"/>
                    <a:gd name="T20" fmla="*/ 2147483647 w 339"/>
                    <a:gd name="T21" fmla="*/ 2147483647 h 287"/>
                    <a:gd name="T22" fmla="*/ 2147483647 w 339"/>
                    <a:gd name="T23" fmla="*/ 2147483647 h 287"/>
                    <a:gd name="T24" fmla="*/ 2147483647 w 339"/>
                    <a:gd name="T25" fmla="*/ 2147483647 h 287"/>
                    <a:gd name="T26" fmla="*/ 2147483647 w 339"/>
                    <a:gd name="T27" fmla="*/ 2147483647 h 287"/>
                    <a:gd name="T28" fmla="*/ 2147483647 w 339"/>
                    <a:gd name="T29" fmla="*/ 2147483647 h 287"/>
                    <a:gd name="T30" fmla="*/ 2147483647 w 339"/>
                    <a:gd name="T31" fmla="*/ 2147483647 h 287"/>
                    <a:gd name="T32" fmla="*/ 2147483647 w 339"/>
                    <a:gd name="T33" fmla="*/ 2147483647 h 287"/>
                    <a:gd name="T34" fmla="*/ 2147483647 w 339"/>
                    <a:gd name="T35" fmla="*/ 2147483647 h 287"/>
                    <a:gd name="T36" fmla="*/ 2147483647 w 339"/>
                    <a:gd name="T37" fmla="*/ 2147483647 h 287"/>
                    <a:gd name="T38" fmla="*/ 2147483647 w 339"/>
                    <a:gd name="T39" fmla="*/ 2147483647 h 287"/>
                    <a:gd name="T40" fmla="*/ 2147483647 w 339"/>
                    <a:gd name="T41" fmla="*/ 2147483647 h 287"/>
                    <a:gd name="T42" fmla="*/ 2147483647 w 339"/>
                    <a:gd name="T43" fmla="*/ 2147483647 h 287"/>
                    <a:gd name="T44" fmla="*/ 2147483647 w 339"/>
                    <a:gd name="T45" fmla="*/ 2147483647 h 287"/>
                    <a:gd name="T46" fmla="*/ 2147483647 w 339"/>
                    <a:gd name="T47" fmla="*/ 2147483647 h 287"/>
                    <a:gd name="T48" fmla="*/ 2147483647 w 339"/>
                    <a:gd name="T49" fmla="*/ 2147483647 h 287"/>
                    <a:gd name="T50" fmla="*/ 2147483647 w 339"/>
                    <a:gd name="T51" fmla="*/ 2147483647 h 287"/>
                    <a:gd name="T52" fmla="*/ 2147483647 w 339"/>
                    <a:gd name="T53" fmla="*/ 2147483647 h 287"/>
                    <a:gd name="T54" fmla="*/ 2147483647 w 339"/>
                    <a:gd name="T55" fmla="*/ 2147483647 h 287"/>
                    <a:gd name="T56" fmla="*/ 2147483647 w 339"/>
                    <a:gd name="T57" fmla="*/ 0 h 287"/>
                    <a:gd name="T58" fmla="*/ 2147483647 w 339"/>
                    <a:gd name="T59" fmla="*/ 0 h 287"/>
                    <a:gd name="T60" fmla="*/ 2147483647 w 339"/>
                    <a:gd name="T61" fmla="*/ 2147483647 h 287"/>
                    <a:gd name="T62" fmla="*/ 2147483647 w 339"/>
                    <a:gd name="T63" fmla="*/ 2147483647 h 287"/>
                    <a:gd name="T64" fmla="*/ 2147483647 w 339"/>
                    <a:gd name="T65" fmla="*/ 2147483647 h 287"/>
                    <a:gd name="T66" fmla="*/ 2147483647 w 339"/>
                    <a:gd name="T67" fmla="*/ 2147483647 h 287"/>
                    <a:gd name="T68" fmla="*/ 0 w 339"/>
                    <a:gd name="T69" fmla="*/ 2147483647 h 287"/>
                    <a:gd name="T70" fmla="*/ 0 w 339"/>
                    <a:gd name="T71" fmla="*/ 2147483647 h 287"/>
                    <a:gd name="T72" fmla="*/ 2147483647 w 339"/>
                    <a:gd name="T73" fmla="*/ 2147483647 h 287"/>
                    <a:gd name="T74" fmla="*/ 2147483647 w 339"/>
                    <a:gd name="T75" fmla="*/ 2147483647 h 287"/>
                    <a:gd name="T76" fmla="*/ 2147483647 w 339"/>
                    <a:gd name="T77" fmla="*/ 2147483647 h 287"/>
                    <a:gd name="T78" fmla="*/ 2147483647 w 339"/>
                    <a:gd name="T79" fmla="*/ 2147483647 h 287"/>
                    <a:gd name="T80" fmla="*/ 2147483647 w 339"/>
                    <a:gd name="T81" fmla="*/ 2147483647 h 28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39" h="287">
                      <a:moveTo>
                        <a:pt x="84" y="162"/>
                      </a:moveTo>
                      <a:cubicBezTo>
                        <a:pt x="84" y="209"/>
                        <a:pt x="122" y="247"/>
                        <a:pt x="169" y="247"/>
                      </a:cubicBezTo>
                      <a:cubicBezTo>
                        <a:pt x="216" y="247"/>
                        <a:pt x="254" y="209"/>
                        <a:pt x="254" y="162"/>
                      </a:cubicBezTo>
                      <a:cubicBezTo>
                        <a:pt x="254" y="115"/>
                        <a:pt x="216" y="77"/>
                        <a:pt x="169" y="77"/>
                      </a:cubicBezTo>
                      <a:cubicBezTo>
                        <a:pt x="122" y="77"/>
                        <a:pt x="84" y="115"/>
                        <a:pt x="84" y="162"/>
                      </a:cubicBezTo>
                      <a:close/>
                      <a:moveTo>
                        <a:pt x="238" y="162"/>
                      </a:moveTo>
                      <a:cubicBezTo>
                        <a:pt x="238" y="200"/>
                        <a:pt x="207" y="231"/>
                        <a:pt x="169" y="231"/>
                      </a:cubicBezTo>
                      <a:cubicBezTo>
                        <a:pt x="131" y="231"/>
                        <a:pt x="100" y="200"/>
                        <a:pt x="100" y="162"/>
                      </a:cubicBezTo>
                      <a:cubicBezTo>
                        <a:pt x="100" y="124"/>
                        <a:pt x="131" y="93"/>
                        <a:pt x="169" y="93"/>
                      </a:cubicBezTo>
                      <a:cubicBezTo>
                        <a:pt x="207" y="93"/>
                        <a:pt x="238" y="124"/>
                        <a:pt x="238" y="162"/>
                      </a:cubicBezTo>
                      <a:close/>
                      <a:moveTo>
                        <a:pt x="331" y="118"/>
                      </a:moveTo>
                      <a:cubicBezTo>
                        <a:pt x="326" y="118"/>
                        <a:pt x="323" y="121"/>
                        <a:pt x="323" y="126"/>
                      </a:cubicBezTo>
                      <a:cubicBezTo>
                        <a:pt x="323" y="240"/>
                        <a:pt x="323" y="240"/>
                        <a:pt x="323" y="240"/>
                      </a:cubicBezTo>
                      <a:cubicBezTo>
                        <a:pt x="323" y="257"/>
                        <a:pt x="309" y="271"/>
                        <a:pt x="292" y="271"/>
                      </a:cubicBezTo>
                      <a:cubicBezTo>
                        <a:pt x="47" y="271"/>
                        <a:pt x="47" y="271"/>
                        <a:pt x="47" y="271"/>
                      </a:cubicBezTo>
                      <a:cubicBezTo>
                        <a:pt x="30" y="271"/>
                        <a:pt x="16" y="257"/>
                        <a:pt x="16" y="240"/>
                      </a:cubicBezTo>
                      <a:cubicBezTo>
                        <a:pt x="16" y="84"/>
                        <a:pt x="16" y="84"/>
                        <a:pt x="16" y="84"/>
                      </a:cubicBezTo>
                      <a:cubicBezTo>
                        <a:pt x="16" y="67"/>
                        <a:pt x="30" y="54"/>
                        <a:pt x="47" y="53"/>
                      </a:cubicBezTo>
                      <a:cubicBezTo>
                        <a:pt x="292" y="53"/>
                        <a:pt x="292" y="53"/>
                        <a:pt x="292" y="53"/>
                      </a:cubicBezTo>
                      <a:cubicBezTo>
                        <a:pt x="309" y="54"/>
                        <a:pt x="323" y="67"/>
                        <a:pt x="323" y="84"/>
                      </a:cubicBezTo>
                      <a:cubicBezTo>
                        <a:pt x="323" y="94"/>
                        <a:pt x="323" y="94"/>
                        <a:pt x="323" y="94"/>
                      </a:cubicBezTo>
                      <a:cubicBezTo>
                        <a:pt x="323" y="99"/>
                        <a:pt x="326" y="102"/>
                        <a:pt x="331" y="102"/>
                      </a:cubicBezTo>
                      <a:cubicBezTo>
                        <a:pt x="335" y="102"/>
                        <a:pt x="339" y="99"/>
                        <a:pt x="339" y="94"/>
                      </a:cubicBezTo>
                      <a:cubicBezTo>
                        <a:pt x="339" y="84"/>
                        <a:pt x="339" y="84"/>
                        <a:pt x="339" y="84"/>
                      </a:cubicBezTo>
                      <a:cubicBezTo>
                        <a:pt x="339" y="58"/>
                        <a:pt x="318" y="37"/>
                        <a:pt x="292" y="37"/>
                      </a:cubicBezTo>
                      <a:cubicBezTo>
                        <a:pt x="96" y="37"/>
                        <a:pt x="96" y="37"/>
                        <a:pt x="96" y="37"/>
                      </a:cubicBezTo>
                      <a:cubicBezTo>
                        <a:pt x="98" y="35"/>
                        <a:pt x="98" y="33"/>
                        <a:pt x="98" y="30"/>
                      </a:cubicBezTo>
                      <a:cubicBezTo>
                        <a:pt x="98" y="16"/>
                        <a:pt x="98" y="16"/>
                        <a:pt x="98" y="16"/>
                      </a:cubicBezTo>
                      <a:cubicBezTo>
                        <a:pt x="98" y="7"/>
                        <a:pt x="91" y="0"/>
                        <a:pt x="83" y="0"/>
                      </a:cubicBezTo>
                      <a:cubicBezTo>
                        <a:pt x="62" y="0"/>
                        <a:pt x="62" y="0"/>
                        <a:pt x="62" y="0"/>
                      </a:cubicBezTo>
                      <a:cubicBezTo>
                        <a:pt x="53" y="0"/>
                        <a:pt x="46" y="7"/>
                        <a:pt x="46" y="16"/>
                      </a:cubicBezTo>
                      <a:cubicBezTo>
                        <a:pt x="46" y="30"/>
                        <a:pt x="46" y="30"/>
                        <a:pt x="46" y="30"/>
                      </a:cubicBezTo>
                      <a:cubicBezTo>
                        <a:pt x="46" y="33"/>
                        <a:pt x="47" y="35"/>
                        <a:pt x="48" y="37"/>
                      </a:cubicBezTo>
                      <a:cubicBezTo>
                        <a:pt x="47" y="37"/>
                        <a:pt x="47" y="37"/>
                        <a:pt x="47" y="37"/>
                      </a:cubicBezTo>
                      <a:cubicBezTo>
                        <a:pt x="21" y="37"/>
                        <a:pt x="0" y="58"/>
                        <a:pt x="0" y="84"/>
                      </a:cubicBezTo>
                      <a:cubicBezTo>
                        <a:pt x="0" y="240"/>
                        <a:pt x="0" y="240"/>
                        <a:pt x="0" y="240"/>
                      </a:cubicBezTo>
                      <a:cubicBezTo>
                        <a:pt x="0" y="266"/>
                        <a:pt x="21" y="287"/>
                        <a:pt x="47" y="287"/>
                      </a:cubicBezTo>
                      <a:cubicBezTo>
                        <a:pt x="292" y="287"/>
                        <a:pt x="292" y="287"/>
                        <a:pt x="292" y="287"/>
                      </a:cubicBezTo>
                      <a:cubicBezTo>
                        <a:pt x="318" y="287"/>
                        <a:pt x="339" y="266"/>
                        <a:pt x="339" y="240"/>
                      </a:cubicBezTo>
                      <a:cubicBezTo>
                        <a:pt x="339" y="126"/>
                        <a:pt x="339" y="126"/>
                        <a:pt x="339" y="126"/>
                      </a:cubicBezTo>
                      <a:cubicBezTo>
                        <a:pt x="339" y="121"/>
                        <a:pt x="335" y="118"/>
                        <a:pt x="331" y="118"/>
                      </a:cubicBezTo>
                      <a:close/>
                    </a:path>
                  </a:pathLst>
                </a:custGeom>
                <a:grpFill/>
                <a:ln>
                  <a:noFill/>
                </a:ln>
              </p:spPr>
              <p:txBody>
                <a:bodyPr/>
                <a:lstStyle/>
                <a:p>
                  <a:endParaRPr lang="sv-SE" dirty="0">
                    <a:solidFill>
                      <a:srgbClr val="58585A"/>
                    </a:solidFill>
                  </a:endParaRPr>
                </a:p>
              </p:txBody>
            </p:sp>
          </p:grpSp>
          <p:sp>
            <p:nvSpPr>
              <p:cNvPr id="115" name="Freeform 3">
                <a:extLst>
                  <a:ext uri="{FF2B5EF4-FFF2-40B4-BE49-F238E27FC236}">
                    <a16:creationId xmlns:a16="http://schemas.microsoft.com/office/drawing/2014/main" id="{B905CB4F-F525-4050-B828-22EB95584A53}"/>
                  </a:ext>
                </a:extLst>
              </p:cNvPr>
              <p:cNvSpPr>
                <a:spLocks noChangeAspect="1" noEditPoints="1"/>
              </p:cNvSpPr>
              <p:nvPr/>
            </p:nvSpPr>
            <p:spPr bwMode="auto">
              <a:xfrm>
                <a:off x="-2479675" y="641350"/>
                <a:ext cx="498475" cy="475017"/>
              </a:xfrm>
              <a:custGeom>
                <a:avLst/>
                <a:gdLst>
                  <a:gd name="T0" fmla="*/ 2147483647 w 396"/>
                  <a:gd name="T1" fmla="*/ 2147483647 h 377"/>
                  <a:gd name="T2" fmla="*/ 2147483647 w 396"/>
                  <a:gd name="T3" fmla="*/ 2147483647 h 377"/>
                  <a:gd name="T4" fmla="*/ 2147483647 w 396"/>
                  <a:gd name="T5" fmla="*/ 2147483647 h 377"/>
                  <a:gd name="T6" fmla="*/ 2147483647 w 396"/>
                  <a:gd name="T7" fmla="*/ 2147483647 h 377"/>
                  <a:gd name="T8" fmla="*/ 2147483647 w 396"/>
                  <a:gd name="T9" fmla="*/ 2147483647 h 377"/>
                  <a:gd name="T10" fmla="*/ 2147483647 w 396"/>
                  <a:gd name="T11" fmla="*/ 2147483647 h 377"/>
                  <a:gd name="T12" fmla="*/ 2147483647 w 396"/>
                  <a:gd name="T13" fmla="*/ 2147483647 h 377"/>
                  <a:gd name="T14" fmla="*/ 2147483647 w 396"/>
                  <a:gd name="T15" fmla="*/ 2147483647 h 377"/>
                  <a:gd name="T16" fmla="*/ 2147483647 w 396"/>
                  <a:gd name="T17" fmla="*/ 2147483647 h 377"/>
                  <a:gd name="T18" fmla="*/ 2147483647 w 396"/>
                  <a:gd name="T19" fmla="*/ 2147483647 h 377"/>
                  <a:gd name="T20" fmla="*/ 2147483647 w 396"/>
                  <a:gd name="T21" fmla="*/ 2147483647 h 377"/>
                  <a:gd name="T22" fmla="*/ 2147483647 w 396"/>
                  <a:gd name="T23" fmla="*/ 2147483647 h 377"/>
                  <a:gd name="T24" fmla="*/ 2147483647 w 396"/>
                  <a:gd name="T25" fmla="*/ 2147483647 h 377"/>
                  <a:gd name="T26" fmla="*/ 2147483647 w 396"/>
                  <a:gd name="T27" fmla="*/ 2147483647 h 377"/>
                  <a:gd name="T28" fmla="*/ 2147483647 w 396"/>
                  <a:gd name="T29" fmla="*/ 2147483647 h 377"/>
                  <a:gd name="T30" fmla="*/ 2147483647 w 396"/>
                  <a:gd name="T31" fmla="*/ 2147483647 h 377"/>
                  <a:gd name="T32" fmla="*/ 2147483647 w 396"/>
                  <a:gd name="T33" fmla="*/ 2147483647 h 377"/>
                  <a:gd name="T34" fmla="*/ 2147483647 w 396"/>
                  <a:gd name="T35" fmla="*/ 2147483647 h 377"/>
                  <a:gd name="T36" fmla="*/ 2147483647 w 396"/>
                  <a:gd name="T37" fmla="*/ 2147483647 h 377"/>
                  <a:gd name="T38" fmla="*/ 2147483647 w 396"/>
                  <a:gd name="T39" fmla="*/ 2147483647 h 377"/>
                  <a:gd name="T40" fmla="*/ 2147483647 w 396"/>
                  <a:gd name="T41" fmla="*/ 2147483647 h 377"/>
                  <a:gd name="T42" fmla="*/ 2147483647 w 396"/>
                  <a:gd name="T43" fmla="*/ 2147483647 h 377"/>
                  <a:gd name="T44" fmla="*/ 2147483647 w 396"/>
                  <a:gd name="T45" fmla="*/ 2147483647 h 377"/>
                  <a:gd name="T46" fmla="*/ 2147483647 w 396"/>
                  <a:gd name="T47" fmla="*/ 2147483647 h 377"/>
                  <a:gd name="T48" fmla="*/ 2147483647 w 396"/>
                  <a:gd name="T49" fmla="*/ 2147483647 h 377"/>
                  <a:gd name="T50" fmla="*/ 2147483647 w 396"/>
                  <a:gd name="T51" fmla="*/ 2147483647 h 377"/>
                  <a:gd name="T52" fmla="*/ 2147483647 w 396"/>
                  <a:gd name="T53" fmla="*/ 2147483647 h 377"/>
                  <a:gd name="T54" fmla="*/ 2147483647 w 396"/>
                  <a:gd name="T55" fmla="*/ 2147483647 h 377"/>
                  <a:gd name="T56" fmla="*/ 2147483647 w 396"/>
                  <a:gd name="T57" fmla="*/ 2147483647 h 377"/>
                  <a:gd name="T58" fmla="*/ 2147483647 w 396"/>
                  <a:gd name="T59" fmla="*/ 2147483647 h 377"/>
                  <a:gd name="T60" fmla="*/ 2147483647 w 396"/>
                  <a:gd name="T61" fmla="*/ 2147483647 h 377"/>
                  <a:gd name="T62" fmla="*/ 2147483647 w 396"/>
                  <a:gd name="T63" fmla="*/ 2147483647 h 377"/>
                  <a:gd name="T64" fmla="*/ 2147483647 w 396"/>
                  <a:gd name="T65" fmla="*/ 2147483647 h 377"/>
                  <a:gd name="T66" fmla="*/ 2147483647 w 396"/>
                  <a:gd name="T67" fmla="*/ 2147483647 h 377"/>
                  <a:gd name="T68" fmla="*/ 2147483647 w 396"/>
                  <a:gd name="T69" fmla="*/ 2147483647 h 377"/>
                  <a:gd name="T70" fmla="*/ 2147483647 w 396"/>
                  <a:gd name="T71" fmla="*/ 2147483647 h 377"/>
                  <a:gd name="T72" fmla="*/ 2147483647 w 396"/>
                  <a:gd name="T73" fmla="*/ 2147483647 h 377"/>
                  <a:gd name="T74" fmla="*/ 2147483647 w 396"/>
                  <a:gd name="T75" fmla="*/ 2147483647 h 377"/>
                  <a:gd name="T76" fmla="*/ 2147483647 w 396"/>
                  <a:gd name="T77" fmla="*/ 2147483647 h 377"/>
                  <a:gd name="T78" fmla="*/ 2147483647 w 396"/>
                  <a:gd name="T79" fmla="*/ 2147483647 h 377"/>
                  <a:gd name="T80" fmla="*/ 2147483647 w 396"/>
                  <a:gd name="T81" fmla="*/ 2147483647 h 377"/>
                  <a:gd name="T82" fmla="*/ 2147483647 w 396"/>
                  <a:gd name="T83" fmla="*/ 2147483647 h 377"/>
                  <a:gd name="T84" fmla="*/ 2147483647 w 396"/>
                  <a:gd name="T85" fmla="*/ 2147483647 h 377"/>
                  <a:gd name="T86" fmla="*/ 2147483647 w 396"/>
                  <a:gd name="T87" fmla="*/ 2147483647 h 377"/>
                  <a:gd name="T88" fmla="*/ 2147483647 w 396"/>
                  <a:gd name="T89" fmla="*/ 2147483647 h 377"/>
                  <a:gd name="T90" fmla="*/ 2147483647 w 396"/>
                  <a:gd name="T91" fmla="*/ 2147483647 h 377"/>
                  <a:gd name="T92" fmla="*/ 2147483647 w 396"/>
                  <a:gd name="T93" fmla="*/ 2147483647 h 377"/>
                  <a:gd name="T94" fmla="*/ 2147483647 w 396"/>
                  <a:gd name="T95" fmla="*/ 2147483647 h 377"/>
                  <a:gd name="T96" fmla="*/ 2147483647 w 396"/>
                  <a:gd name="T97" fmla="*/ 2147483647 h 377"/>
                  <a:gd name="T98" fmla="*/ 2147483647 w 396"/>
                  <a:gd name="T99" fmla="*/ 2147483647 h 377"/>
                  <a:gd name="T100" fmla="*/ 2147483647 w 396"/>
                  <a:gd name="T101" fmla="*/ 2147483647 h 377"/>
                  <a:gd name="T102" fmla="*/ 2147483647 w 396"/>
                  <a:gd name="T103" fmla="*/ 2147483647 h 377"/>
                  <a:gd name="T104" fmla="*/ 2147483647 w 396"/>
                  <a:gd name="T105" fmla="*/ 2147483647 h 377"/>
                  <a:gd name="T106" fmla="*/ 2147483647 w 396"/>
                  <a:gd name="T107" fmla="*/ 2147483647 h 37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96" h="377">
                    <a:moveTo>
                      <a:pt x="388" y="64"/>
                    </a:moveTo>
                    <a:cubicBezTo>
                      <a:pt x="392" y="64"/>
                      <a:pt x="396" y="60"/>
                      <a:pt x="396" y="56"/>
                    </a:cubicBezTo>
                    <a:cubicBezTo>
                      <a:pt x="396" y="39"/>
                      <a:pt x="396" y="39"/>
                      <a:pt x="396" y="39"/>
                    </a:cubicBezTo>
                    <a:cubicBezTo>
                      <a:pt x="396" y="28"/>
                      <a:pt x="389" y="19"/>
                      <a:pt x="377" y="17"/>
                    </a:cubicBezTo>
                    <a:cubicBezTo>
                      <a:pt x="279" y="0"/>
                      <a:pt x="211" y="31"/>
                      <a:pt x="204" y="35"/>
                    </a:cubicBezTo>
                    <a:cubicBezTo>
                      <a:pt x="201" y="36"/>
                      <a:pt x="200" y="37"/>
                      <a:pt x="198" y="37"/>
                    </a:cubicBezTo>
                    <a:cubicBezTo>
                      <a:pt x="197" y="37"/>
                      <a:pt x="195" y="36"/>
                      <a:pt x="193" y="35"/>
                    </a:cubicBezTo>
                    <a:cubicBezTo>
                      <a:pt x="185" y="31"/>
                      <a:pt x="118" y="0"/>
                      <a:pt x="19" y="17"/>
                    </a:cubicBezTo>
                    <a:cubicBezTo>
                      <a:pt x="7" y="19"/>
                      <a:pt x="1" y="28"/>
                      <a:pt x="1" y="39"/>
                    </a:cubicBezTo>
                    <a:cubicBezTo>
                      <a:pt x="1" y="254"/>
                      <a:pt x="1" y="254"/>
                      <a:pt x="1" y="254"/>
                    </a:cubicBezTo>
                    <a:cubicBezTo>
                      <a:pt x="1" y="261"/>
                      <a:pt x="3" y="267"/>
                      <a:pt x="7" y="270"/>
                    </a:cubicBezTo>
                    <a:cubicBezTo>
                      <a:pt x="9" y="273"/>
                      <a:pt x="14" y="275"/>
                      <a:pt x="21" y="275"/>
                    </a:cubicBezTo>
                    <a:cubicBezTo>
                      <a:pt x="109" y="270"/>
                      <a:pt x="178" y="292"/>
                      <a:pt x="190" y="296"/>
                    </a:cubicBezTo>
                    <a:cubicBezTo>
                      <a:pt x="193" y="297"/>
                      <a:pt x="196" y="297"/>
                      <a:pt x="198" y="297"/>
                    </a:cubicBezTo>
                    <a:cubicBezTo>
                      <a:pt x="201" y="297"/>
                      <a:pt x="203" y="297"/>
                      <a:pt x="206" y="296"/>
                    </a:cubicBezTo>
                    <a:cubicBezTo>
                      <a:pt x="219" y="292"/>
                      <a:pt x="287" y="270"/>
                      <a:pt x="375" y="275"/>
                    </a:cubicBezTo>
                    <a:cubicBezTo>
                      <a:pt x="382" y="275"/>
                      <a:pt x="387" y="273"/>
                      <a:pt x="390" y="270"/>
                    </a:cubicBezTo>
                    <a:cubicBezTo>
                      <a:pt x="394" y="267"/>
                      <a:pt x="396" y="261"/>
                      <a:pt x="396" y="254"/>
                    </a:cubicBezTo>
                    <a:cubicBezTo>
                      <a:pt x="396" y="88"/>
                      <a:pt x="396" y="88"/>
                      <a:pt x="396" y="88"/>
                    </a:cubicBezTo>
                    <a:cubicBezTo>
                      <a:pt x="396" y="83"/>
                      <a:pt x="392" y="80"/>
                      <a:pt x="388" y="80"/>
                    </a:cubicBezTo>
                    <a:cubicBezTo>
                      <a:pt x="383" y="80"/>
                      <a:pt x="380" y="83"/>
                      <a:pt x="380" y="88"/>
                    </a:cubicBezTo>
                    <a:cubicBezTo>
                      <a:pt x="380" y="254"/>
                      <a:pt x="380" y="254"/>
                      <a:pt x="380" y="254"/>
                    </a:cubicBezTo>
                    <a:cubicBezTo>
                      <a:pt x="380" y="257"/>
                      <a:pt x="379" y="258"/>
                      <a:pt x="379" y="258"/>
                    </a:cubicBezTo>
                    <a:cubicBezTo>
                      <a:pt x="379" y="258"/>
                      <a:pt x="378" y="259"/>
                      <a:pt x="376" y="259"/>
                    </a:cubicBezTo>
                    <a:cubicBezTo>
                      <a:pt x="285" y="254"/>
                      <a:pt x="214" y="276"/>
                      <a:pt x="201" y="281"/>
                    </a:cubicBezTo>
                    <a:cubicBezTo>
                      <a:pt x="199" y="282"/>
                      <a:pt x="197" y="282"/>
                      <a:pt x="196" y="281"/>
                    </a:cubicBezTo>
                    <a:cubicBezTo>
                      <a:pt x="182" y="276"/>
                      <a:pt x="111" y="254"/>
                      <a:pt x="20" y="259"/>
                    </a:cubicBezTo>
                    <a:cubicBezTo>
                      <a:pt x="18" y="259"/>
                      <a:pt x="17" y="258"/>
                      <a:pt x="17" y="258"/>
                    </a:cubicBezTo>
                    <a:cubicBezTo>
                      <a:pt x="17" y="258"/>
                      <a:pt x="17" y="257"/>
                      <a:pt x="17" y="254"/>
                    </a:cubicBezTo>
                    <a:cubicBezTo>
                      <a:pt x="17" y="39"/>
                      <a:pt x="17" y="39"/>
                      <a:pt x="17" y="39"/>
                    </a:cubicBezTo>
                    <a:cubicBezTo>
                      <a:pt x="17" y="35"/>
                      <a:pt x="18" y="34"/>
                      <a:pt x="22" y="33"/>
                    </a:cubicBezTo>
                    <a:cubicBezTo>
                      <a:pt x="115" y="16"/>
                      <a:pt x="179" y="46"/>
                      <a:pt x="186" y="49"/>
                    </a:cubicBezTo>
                    <a:cubicBezTo>
                      <a:pt x="192" y="52"/>
                      <a:pt x="195" y="53"/>
                      <a:pt x="195" y="53"/>
                    </a:cubicBezTo>
                    <a:cubicBezTo>
                      <a:pt x="197" y="54"/>
                      <a:pt x="199" y="54"/>
                      <a:pt x="201" y="53"/>
                    </a:cubicBezTo>
                    <a:cubicBezTo>
                      <a:pt x="201" y="53"/>
                      <a:pt x="205" y="52"/>
                      <a:pt x="211" y="49"/>
                    </a:cubicBezTo>
                    <a:cubicBezTo>
                      <a:pt x="217" y="46"/>
                      <a:pt x="281" y="16"/>
                      <a:pt x="375" y="33"/>
                    </a:cubicBezTo>
                    <a:cubicBezTo>
                      <a:pt x="378" y="34"/>
                      <a:pt x="380" y="35"/>
                      <a:pt x="380" y="39"/>
                    </a:cubicBezTo>
                    <a:cubicBezTo>
                      <a:pt x="380" y="56"/>
                      <a:pt x="380" y="56"/>
                      <a:pt x="380" y="56"/>
                    </a:cubicBezTo>
                    <a:cubicBezTo>
                      <a:pt x="380" y="60"/>
                      <a:pt x="383" y="64"/>
                      <a:pt x="388" y="64"/>
                    </a:cubicBezTo>
                    <a:moveTo>
                      <a:pt x="389" y="299"/>
                    </a:moveTo>
                    <a:cubicBezTo>
                      <a:pt x="295" y="291"/>
                      <a:pt x="221" y="314"/>
                      <a:pt x="201" y="321"/>
                    </a:cubicBezTo>
                    <a:cubicBezTo>
                      <a:pt x="199" y="321"/>
                      <a:pt x="197" y="321"/>
                      <a:pt x="196" y="321"/>
                    </a:cubicBezTo>
                    <a:cubicBezTo>
                      <a:pt x="175" y="314"/>
                      <a:pt x="101" y="291"/>
                      <a:pt x="8" y="299"/>
                    </a:cubicBezTo>
                    <a:cubicBezTo>
                      <a:pt x="3" y="300"/>
                      <a:pt x="0" y="304"/>
                      <a:pt x="1" y="308"/>
                    </a:cubicBezTo>
                    <a:cubicBezTo>
                      <a:pt x="1" y="313"/>
                      <a:pt x="5" y="316"/>
                      <a:pt x="9" y="315"/>
                    </a:cubicBezTo>
                    <a:cubicBezTo>
                      <a:pt x="99" y="307"/>
                      <a:pt x="171" y="329"/>
                      <a:pt x="190" y="336"/>
                    </a:cubicBezTo>
                    <a:cubicBezTo>
                      <a:pt x="193" y="337"/>
                      <a:pt x="196" y="337"/>
                      <a:pt x="198" y="337"/>
                    </a:cubicBezTo>
                    <a:cubicBezTo>
                      <a:pt x="201" y="337"/>
                      <a:pt x="203" y="337"/>
                      <a:pt x="206" y="336"/>
                    </a:cubicBezTo>
                    <a:cubicBezTo>
                      <a:pt x="226" y="329"/>
                      <a:pt x="297" y="307"/>
                      <a:pt x="387" y="315"/>
                    </a:cubicBezTo>
                    <a:cubicBezTo>
                      <a:pt x="392" y="316"/>
                      <a:pt x="395" y="313"/>
                      <a:pt x="396" y="308"/>
                    </a:cubicBezTo>
                    <a:cubicBezTo>
                      <a:pt x="396" y="304"/>
                      <a:pt x="393" y="300"/>
                      <a:pt x="389" y="299"/>
                    </a:cubicBezTo>
                    <a:moveTo>
                      <a:pt x="389" y="339"/>
                    </a:moveTo>
                    <a:cubicBezTo>
                      <a:pt x="295" y="331"/>
                      <a:pt x="221" y="354"/>
                      <a:pt x="200" y="361"/>
                    </a:cubicBezTo>
                    <a:cubicBezTo>
                      <a:pt x="199" y="361"/>
                      <a:pt x="197" y="361"/>
                      <a:pt x="196" y="361"/>
                    </a:cubicBezTo>
                    <a:cubicBezTo>
                      <a:pt x="176" y="354"/>
                      <a:pt x="101" y="331"/>
                      <a:pt x="8" y="339"/>
                    </a:cubicBezTo>
                    <a:cubicBezTo>
                      <a:pt x="3" y="340"/>
                      <a:pt x="0" y="344"/>
                      <a:pt x="1" y="348"/>
                    </a:cubicBezTo>
                    <a:cubicBezTo>
                      <a:pt x="1" y="352"/>
                      <a:pt x="5" y="356"/>
                      <a:pt x="9" y="355"/>
                    </a:cubicBezTo>
                    <a:cubicBezTo>
                      <a:pt x="100" y="347"/>
                      <a:pt x="171" y="369"/>
                      <a:pt x="191" y="376"/>
                    </a:cubicBezTo>
                    <a:cubicBezTo>
                      <a:pt x="193" y="377"/>
                      <a:pt x="196" y="377"/>
                      <a:pt x="198" y="377"/>
                    </a:cubicBezTo>
                    <a:cubicBezTo>
                      <a:pt x="201" y="377"/>
                      <a:pt x="203" y="377"/>
                      <a:pt x="206" y="376"/>
                    </a:cubicBezTo>
                    <a:cubicBezTo>
                      <a:pt x="225" y="369"/>
                      <a:pt x="297" y="347"/>
                      <a:pt x="387" y="355"/>
                    </a:cubicBezTo>
                    <a:cubicBezTo>
                      <a:pt x="392" y="356"/>
                      <a:pt x="395" y="352"/>
                      <a:pt x="396" y="348"/>
                    </a:cubicBezTo>
                    <a:cubicBezTo>
                      <a:pt x="396" y="344"/>
                      <a:pt x="393" y="340"/>
                      <a:pt x="389" y="339"/>
                    </a:cubicBezTo>
                    <a:moveTo>
                      <a:pt x="180" y="210"/>
                    </a:moveTo>
                    <a:cubicBezTo>
                      <a:pt x="170" y="220"/>
                      <a:pt x="170" y="236"/>
                      <a:pt x="180" y="246"/>
                    </a:cubicBezTo>
                    <a:cubicBezTo>
                      <a:pt x="190" y="256"/>
                      <a:pt x="206" y="256"/>
                      <a:pt x="216" y="246"/>
                    </a:cubicBezTo>
                    <a:cubicBezTo>
                      <a:pt x="226" y="236"/>
                      <a:pt x="226" y="220"/>
                      <a:pt x="216" y="210"/>
                    </a:cubicBezTo>
                    <a:cubicBezTo>
                      <a:pt x="206" y="200"/>
                      <a:pt x="190" y="200"/>
                      <a:pt x="180" y="210"/>
                    </a:cubicBezTo>
                    <a:moveTo>
                      <a:pt x="237" y="190"/>
                    </a:moveTo>
                    <a:cubicBezTo>
                      <a:pt x="239" y="190"/>
                      <a:pt x="241" y="189"/>
                      <a:pt x="243" y="187"/>
                    </a:cubicBezTo>
                    <a:cubicBezTo>
                      <a:pt x="246" y="184"/>
                      <a:pt x="246" y="179"/>
                      <a:pt x="243" y="176"/>
                    </a:cubicBezTo>
                    <a:cubicBezTo>
                      <a:pt x="230" y="164"/>
                      <a:pt x="214" y="158"/>
                      <a:pt x="198" y="158"/>
                    </a:cubicBezTo>
                    <a:cubicBezTo>
                      <a:pt x="182" y="158"/>
                      <a:pt x="166" y="164"/>
                      <a:pt x="154" y="176"/>
                    </a:cubicBezTo>
                    <a:cubicBezTo>
                      <a:pt x="151" y="179"/>
                      <a:pt x="151" y="184"/>
                      <a:pt x="154" y="187"/>
                    </a:cubicBezTo>
                    <a:cubicBezTo>
                      <a:pt x="157" y="191"/>
                      <a:pt x="162" y="191"/>
                      <a:pt x="165" y="187"/>
                    </a:cubicBezTo>
                    <a:cubicBezTo>
                      <a:pt x="174" y="178"/>
                      <a:pt x="186" y="174"/>
                      <a:pt x="198" y="174"/>
                    </a:cubicBezTo>
                    <a:cubicBezTo>
                      <a:pt x="210" y="174"/>
                      <a:pt x="222" y="178"/>
                      <a:pt x="231" y="187"/>
                    </a:cubicBezTo>
                    <a:cubicBezTo>
                      <a:pt x="233" y="189"/>
                      <a:pt x="235" y="190"/>
                      <a:pt x="237" y="190"/>
                    </a:cubicBezTo>
                    <a:moveTo>
                      <a:pt x="290" y="129"/>
                    </a:moveTo>
                    <a:cubicBezTo>
                      <a:pt x="291" y="131"/>
                      <a:pt x="293" y="132"/>
                      <a:pt x="295" y="132"/>
                    </a:cubicBezTo>
                    <a:cubicBezTo>
                      <a:pt x="298" y="132"/>
                      <a:pt x="300" y="131"/>
                      <a:pt x="301" y="129"/>
                    </a:cubicBezTo>
                    <a:cubicBezTo>
                      <a:pt x="304" y="126"/>
                      <a:pt x="304" y="121"/>
                      <a:pt x="301" y="118"/>
                    </a:cubicBezTo>
                    <a:cubicBezTo>
                      <a:pt x="296" y="113"/>
                      <a:pt x="291" y="109"/>
                      <a:pt x="286" y="105"/>
                    </a:cubicBezTo>
                    <a:cubicBezTo>
                      <a:pt x="284" y="103"/>
                      <a:pt x="282" y="102"/>
                      <a:pt x="281" y="101"/>
                    </a:cubicBezTo>
                    <a:cubicBezTo>
                      <a:pt x="277" y="98"/>
                      <a:pt x="272" y="99"/>
                      <a:pt x="269" y="103"/>
                    </a:cubicBezTo>
                    <a:cubicBezTo>
                      <a:pt x="267" y="106"/>
                      <a:pt x="268" y="111"/>
                      <a:pt x="272" y="114"/>
                    </a:cubicBezTo>
                    <a:cubicBezTo>
                      <a:pt x="273" y="115"/>
                      <a:pt x="275" y="116"/>
                      <a:pt x="276" y="118"/>
                    </a:cubicBezTo>
                    <a:cubicBezTo>
                      <a:pt x="281" y="121"/>
                      <a:pt x="286" y="125"/>
                      <a:pt x="290" y="129"/>
                    </a:cubicBezTo>
                    <a:moveTo>
                      <a:pt x="245" y="100"/>
                    </a:moveTo>
                    <a:cubicBezTo>
                      <a:pt x="249" y="102"/>
                      <a:pt x="254" y="100"/>
                      <a:pt x="255" y="95"/>
                    </a:cubicBezTo>
                    <a:cubicBezTo>
                      <a:pt x="257" y="91"/>
                      <a:pt x="255" y="87"/>
                      <a:pt x="251" y="85"/>
                    </a:cubicBezTo>
                    <a:cubicBezTo>
                      <a:pt x="234" y="79"/>
                      <a:pt x="216" y="75"/>
                      <a:pt x="198" y="75"/>
                    </a:cubicBezTo>
                    <a:cubicBezTo>
                      <a:pt x="159" y="75"/>
                      <a:pt x="123" y="90"/>
                      <a:pt x="95" y="118"/>
                    </a:cubicBezTo>
                    <a:cubicBezTo>
                      <a:pt x="92" y="121"/>
                      <a:pt x="92" y="126"/>
                      <a:pt x="95" y="129"/>
                    </a:cubicBezTo>
                    <a:cubicBezTo>
                      <a:pt x="97" y="131"/>
                      <a:pt x="99" y="132"/>
                      <a:pt x="101" y="132"/>
                    </a:cubicBezTo>
                    <a:cubicBezTo>
                      <a:pt x="103" y="132"/>
                      <a:pt x="105" y="131"/>
                      <a:pt x="107" y="129"/>
                    </a:cubicBezTo>
                    <a:cubicBezTo>
                      <a:pt x="131" y="105"/>
                      <a:pt x="164" y="91"/>
                      <a:pt x="198" y="91"/>
                    </a:cubicBezTo>
                    <a:cubicBezTo>
                      <a:pt x="214" y="91"/>
                      <a:pt x="230" y="94"/>
                      <a:pt x="245" y="100"/>
                    </a:cubicBezTo>
                    <a:moveTo>
                      <a:pt x="266" y="161"/>
                    </a:moveTo>
                    <a:cubicBezTo>
                      <a:pt x="268" y="161"/>
                      <a:pt x="270" y="160"/>
                      <a:pt x="272" y="159"/>
                    </a:cubicBezTo>
                    <a:cubicBezTo>
                      <a:pt x="275" y="155"/>
                      <a:pt x="275" y="150"/>
                      <a:pt x="272" y="147"/>
                    </a:cubicBezTo>
                    <a:cubicBezTo>
                      <a:pt x="251" y="127"/>
                      <a:pt x="225" y="117"/>
                      <a:pt x="198" y="117"/>
                    </a:cubicBezTo>
                    <a:cubicBezTo>
                      <a:pt x="172" y="117"/>
                      <a:pt x="145" y="127"/>
                      <a:pt x="125" y="147"/>
                    </a:cubicBezTo>
                    <a:cubicBezTo>
                      <a:pt x="122" y="150"/>
                      <a:pt x="122" y="155"/>
                      <a:pt x="125" y="159"/>
                    </a:cubicBezTo>
                    <a:cubicBezTo>
                      <a:pt x="128" y="162"/>
                      <a:pt x="133" y="162"/>
                      <a:pt x="136" y="159"/>
                    </a:cubicBezTo>
                    <a:cubicBezTo>
                      <a:pt x="136" y="159"/>
                      <a:pt x="136" y="159"/>
                      <a:pt x="136" y="159"/>
                    </a:cubicBezTo>
                    <a:cubicBezTo>
                      <a:pt x="153" y="141"/>
                      <a:pt x="176" y="133"/>
                      <a:pt x="198" y="133"/>
                    </a:cubicBezTo>
                    <a:cubicBezTo>
                      <a:pt x="221" y="133"/>
                      <a:pt x="243" y="141"/>
                      <a:pt x="260" y="159"/>
                    </a:cubicBezTo>
                    <a:cubicBezTo>
                      <a:pt x="262" y="160"/>
                      <a:pt x="264" y="161"/>
                      <a:pt x="266" y="161"/>
                    </a:cubicBezTo>
                  </a:path>
                </a:pathLst>
              </a:custGeom>
              <a:grpFill/>
              <a:ln>
                <a:noFill/>
              </a:ln>
            </p:spPr>
            <p:txBody>
              <a:bodyPr/>
              <a:lstStyle/>
              <a:p>
                <a:endParaRPr lang="sv-SE" dirty="0">
                  <a:solidFill>
                    <a:srgbClr val="58585A"/>
                  </a:solidFill>
                </a:endParaRPr>
              </a:p>
            </p:txBody>
          </p:sp>
        </p:grpSp>
        <p:sp>
          <p:nvSpPr>
            <p:cNvPr id="88" name="Freeform 3">
              <a:extLst>
                <a:ext uri="{FF2B5EF4-FFF2-40B4-BE49-F238E27FC236}">
                  <a16:creationId xmlns:a16="http://schemas.microsoft.com/office/drawing/2014/main" id="{B829AE68-B2F0-41B2-9FF5-9790A32F89A5}"/>
                </a:ext>
              </a:extLst>
            </p:cNvPr>
            <p:cNvSpPr>
              <a:spLocks noChangeAspect="1" noEditPoints="1"/>
            </p:cNvSpPr>
            <p:nvPr/>
          </p:nvSpPr>
          <p:spPr bwMode="auto">
            <a:xfrm>
              <a:off x="6734824" y="2362685"/>
              <a:ext cx="547312" cy="634176"/>
            </a:xfrm>
            <a:custGeom>
              <a:avLst/>
              <a:gdLst>
                <a:gd name="T0" fmla="*/ 2147483647 w 355"/>
                <a:gd name="T1" fmla="*/ 2147483647 h 411"/>
                <a:gd name="T2" fmla="*/ 2147483647 w 355"/>
                <a:gd name="T3" fmla="*/ 2147483647 h 411"/>
                <a:gd name="T4" fmla="*/ 2147483647 w 355"/>
                <a:gd name="T5" fmla="*/ 2147483647 h 411"/>
                <a:gd name="T6" fmla="*/ 2147483647 w 355"/>
                <a:gd name="T7" fmla="*/ 2147483647 h 411"/>
                <a:gd name="T8" fmla="*/ 2147483647 w 355"/>
                <a:gd name="T9" fmla="*/ 2147483647 h 411"/>
                <a:gd name="T10" fmla="*/ 2147483647 w 355"/>
                <a:gd name="T11" fmla="*/ 2147483647 h 411"/>
                <a:gd name="T12" fmla="*/ 2147483647 w 355"/>
                <a:gd name="T13" fmla="*/ 2147483647 h 411"/>
                <a:gd name="T14" fmla="*/ 2147483647 w 355"/>
                <a:gd name="T15" fmla="*/ 2147483647 h 411"/>
                <a:gd name="T16" fmla="*/ 2147483647 w 355"/>
                <a:gd name="T17" fmla="*/ 2147483647 h 411"/>
                <a:gd name="T18" fmla="*/ 2147483647 w 355"/>
                <a:gd name="T19" fmla="*/ 2147483647 h 411"/>
                <a:gd name="T20" fmla="*/ 2147483647 w 355"/>
                <a:gd name="T21" fmla="*/ 2147483647 h 411"/>
                <a:gd name="T22" fmla="*/ 2147483647 w 355"/>
                <a:gd name="T23" fmla="*/ 2147483647 h 411"/>
                <a:gd name="T24" fmla="*/ 2147483647 w 355"/>
                <a:gd name="T25" fmla="*/ 2147483647 h 411"/>
                <a:gd name="T26" fmla="*/ 2147483647 w 355"/>
                <a:gd name="T27" fmla="*/ 2147483647 h 411"/>
                <a:gd name="T28" fmla="*/ 2147483647 w 355"/>
                <a:gd name="T29" fmla="*/ 2147483647 h 411"/>
                <a:gd name="T30" fmla="*/ 2147483647 w 355"/>
                <a:gd name="T31" fmla="*/ 2147483647 h 411"/>
                <a:gd name="T32" fmla="*/ 2147483647 w 355"/>
                <a:gd name="T33" fmla="*/ 2147483647 h 411"/>
                <a:gd name="T34" fmla="*/ 2147483647 w 355"/>
                <a:gd name="T35" fmla="*/ 2147483647 h 411"/>
                <a:gd name="T36" fmla="*/ 2147483647 w 355"/>
                <a:gd name="T37" fmla="*/ 2147483647 h 411"/>
                <a:gd name="T38" fmla="*/ 2147483647 w 355"/>
                <a:gd name="T39" fmla="*/ 2147483647 h 411"/>
                <a:gd name="T40" fmla="*/ 2147483647 w 355"/>
                <a:gd name="T41" fmla="*/ 2147483647 h 411"/>
                <a:gd name="T42" fmla="*/ 2147483647 w 355"/>
                <a:gd name="T43" fmla="*/ 2147483647 h 411"/>
                <a:gd name="T44" fmla="*/ 2147483647 w 355"/>
                <a:gd name="T45" fmla="*/ 2147483647 h 411"/>
                <a:gd name="T46" fmla="*/ 2147483647 w 355"/>
                <a:gd name="T47" fmla="*/ 2147483647 h 411"/>
                <a:gd name="T48" fmla="*/ 2147483647 w 355"/>
                <a:gd name="T49" fmla="*/ 2147483647 h 411"/>
                <a:gd name="T50" fmla="*/ 2147483647 w 355"/>
                <a:gd name="T51" fmla="*/ 2147483647 h 411"/>
                <a:gd name="T52" fmla="*/ 2147483647 w 355"/>
                <a:gd name="T53" fmla="*/ 2147483647 h 411"/>
                <a:gd name="T54" fmla="*/ 2147483647 w 355"/>
                <a:gd name="T55" fmla="*/ 2147483647 h 411"/>
                <a:gd name="T56" fmla="*/ 2147483647 w 355"/>
                <a:gd name="T57" fmla="*/ 2147483647 h 411"/>
                <a:gd name="T58" fmla="*/ 2147483647 w 355"/>
                <a:gd name="T59" fmla="*/ 2147483647 h 411"/>
                <a:gd name="T60" fmla="*/ 2147483647 w 355"/>
                <a:gd name="T61" fmla="*/ 2147483647 h 411"/>
                <a:gd name="T62" fmla="*/ 2147483647 w 355"/>
                <a:gd name="T63" fmla="*/ 2147483647 h 411"/>
                <a:gd name="T64" fmla="*/ 2147483647 w 355"/>
                <a:gd name="T65" fmla="*/ 2147483647 h 411"/>
                <a:gd name="T66" fmla="*/ 2147483647 w 355"/>
                <a:gd name="T67" fmla="*/ 2147483647 h 411"/>
                <a:gd name="T68" fmla="*/ 2147483647 w 355"/>
                <a:gd name="T69" fmla="*/ 2147483647 h 411"/>
                <a:gd name="T70" fmla="*/ 2147483647 w 355"/>
                <a:gd name="T71" fmla="*/ 2147483647 h 411"/>
                <a:gd name="T72" fmla="*/ 2147483647 w 355"/>
                <a:gd name="T73" fmla="*/ 2147483647 h 411"/>
                <a:gd name="T74" fmla="*/ 2147483647 w 355"/>
                <a:gd name="T75" fmla="*/ 2147483647 h 411"/>
                <a:gd name="T76" fmla="*/ 2147483647 w 355"/>
                <a:gd name="T77" fmla="*/ 2147483647 h 411"/>
                <a:gd name="T78" fmla="*/ 2147483647 w 355"/>
                <a:gd name="T79" fmla="*/ 2147483647 h 411"/>
                <a:gd name="T80" fmla="*/ 2147483647 w 355"/>
                <a:gd name="T81" fmla="*/ 2147483647 h 411"/>
                <a:gd name="T82" fmla="*/ 2147483647 w 355"/>
                <a:gd name="T83" fmla="*/ 2147483647 h 411"/>
                <a:gd name="T84" fmla="*/ 2147483647 w 355"/>
                <a:gd name="T85" fmla="*/ 2147483647 h 411"/>
                <a:gd name="T86" fmla="*/ 2147483647 w 355"/>
                <a:gd name="T87" fmla="*/ 2147483647 h 411"/>
                <a:gd name="T88" fmla="*/ 2147483647 w 355"/>
                <a:gd name="T89" fmla="*/ 2147483647 h 411"/>
                <a:gd name="T90" fmla="*/ 2147483647 w 355"/>
                <a:gd name="T91" fmla="*/ 2147483647 h 411"/>
                <a:gd name="T92" fmla="*/ 2147483647 w 355"/>
                <a:gd name="T93" fmla="*/ 2147483647 h 411"/>
                <a:gd name="T94" fmla="*/ 2147483647 w 355"/>
                <a:gd name="T95" fmla="*/ 2147483647 h 411"/>
                <a:gd name="T96" fmla="*/ 2147483647 w 355"/>
                <a:gd name="T97" fmla="*/ 2147483647 h 411"/>
                <a:gd name="T98" fmla="*/ 2147483647 w 355"/>
                <a:gd name="T99" fmla="*/ 2147483647 h 4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55" h="411">
                  <a:moveTo>
                    <a:pt x="204" y="143"/>
                  </a:moveTo>
                  <a:cubicBezTo>
                    <a:pt x="204" y="144"/>
                    <a:pt x="206" y="146"/>
                    <a:pt x="208" y="146"/>
                  </a:cubicBezTo>
                  <a:cubicBezTo>
                    <a:pt x="215" y="146"/>
                    <a:pt x="229" y="145"/>
                    <a:pt x="243" y="136"/>
                  </a:cubicBezTo>
                  <a:cubicBezTo>
                    <a:pt x="264" y="121"/>
                    <a:pt x="268" y="97"/>
                    <a:pt x="269" y="98"/>
                  </a:cubicBezTo>
                  <a:cubicBezTo>
                    <a:pt x="271" y="99"/>
                    <a:pt x="268" y="126"/>
                    <a:pt x="248" y="143"/>
                  </a:cubicBezTo>
                  <a:cubicBezTo>
                    <a:pt x="237" y="153"/>
                    <a:pt x="223" y="154"/>
                    <a:pt x="215" y="155"/>
                  </a:cubicBezTo>
                  <a:cubicBezTo>
                    <a:pt x="212" y="156"/>
                    <a:pt x="215" y="159"/>
                    <a:pt x="216" y="160"/>
                  </a:cubicBezTo>
                  <a:cubicBezTo>
                    <a:pt x="229" y="168"/>
                    <a:pt x="257" y="170"/>
                    <a:pt x="275" y="145"/>
                  </a:cubicBezTo>
                  <a:cubicBezTo>
                    <a:pt x="291" y="123"/>
                    <a:pt x="290" y="99"/>
                    <a:pt x="284" y="71"/>
                  </a:cubicBezTo>
                  <a:cubicBezTo>
                    <a:pt x="283" y="69"/>
                    <a:pt x="282" y="68"/>
                    <a:pt x="280" y="70"/>
                  </a:cubicBezTo>
                  <a:cubicBezTo>
                    <a:pt x="254" y="98"/>
                    <a:pt x="231" y="89"/>
                    <a:pt x="213" y="103"/>
                  </a:cubicBezTo>
                  <a:cubicBezTo>
                    <a:pt x="200" y="115"/>
                    <a:pt x="199" y="131"/>
                    <a:pt x="204" y="143"/>
                  </a:cubicBezTo>
                  <a:close/>
                  <a:moveTo>
                    <a:pt x="354" y="309"/>
                  </a:moveTo>
                  <a:cubicBezTo>
                    <a:pt x="353" y="304"/>
                    <a:pt x="349" y="301"/>
                    <a:pt x="344" y="302"/>
                  </a:cubicBezTo>
                  <a:cubicBezTo>
                    <a:pt x="340" y="303"/>
                    <a:pt x="337" y="307"/>
                    <a:pt x="338" y="311"/>
                  </a:cubicBezTo>
                  <a:cubicBezTo>
                    <a:pt x="338" y="315"/>
                    <a:pt x="339" y="316"/>
                    <a:pt x="339" y="319"/>
                  </a:cubicBezTo>
                  <a:cubicBezTo>
                    <a:pt x="338" y="333"/>
                    <a:pt x="334" y="344"/>
                    <a:pt x="325" y="354"/>
                  </a:cubicBezTo>
                  <a:cubicBezTo>
                    <a:pt x="317" y="364"/>
                    <a:pt x="305" y="372"/>
                    <a:pt x="292" y="378"/>
                  </a:cubicBezTo>
                  <a:cubicBezTo>
                    <a:pt x="272" y="388"/>
                    <a:pt x="227" y="395"/>
                    <a:pt x="192" y="395"/>
                  </a:cubicBezTo>
                  <a:cubicBezTo>
                    <a:pt x="180" y="395"/>
                    <a:pt x="169" y="394"/>
                    <a:pt x="161" y="393"/>
                  </a:cubicBezTo>
                  <a:cubicBezTo>
                    <a:pt x="132" y="387"/>
                    <a:pt x="77" y="350"/>
                    <a:pt x="56" y="328"/>
                  </a:cubicBezTo>
                  <a:cubicBezTo>
                    <a:pt x="47" y="319"/>
                    <a:pt x="36" y="298"/>
                    <a:pt x="29" y="277"/>
                  </a:cubicBezTo>
                  <a:cubicBezTo>
                    <a:pt x="21" y="257"/>
                    <a:pt x="16" y="235"/>
                    <a:pt x="16" y="227"/>
                  </a:cubicBezTo>
                  <a:cubicBezTo>
                    <a:pt x="16" y="227"/>
                    <a:pt x="16" y="226"/>
                    <a:pt x="16" y="226"/>
                  </a:cubicBezTo>
                  <a:cubicBezTo>
                    <a:pt x="16" y="226"/>
                    <a:pt x="16" y="226"/>
                    <a:pt x="16" y="226"/>
                  </a:cubicBezTo>
                  <a:cubicBezTo>
                    <a:pt x="17" y="220"/>
                    <a:pt x="27" y="213"/>
                    <a:pt x="34" y="213"/>
                  </a:cubicBezTo>
                  <a:cubicBezTo>
                    <a:pt x="37" y="213"/>
                    <a:pt x="40" y="214"/>
                    <a:pt x="43" y="217"/>
                  </a:cubicBezTo>
                  <a:cubicBezTo>
                    <a:pt x="55" y="229"/>
                    <a:pt x="60" y="240"/>
                    <a:pt x="67" y="257"/>
                  </a:cubicBezTo>
                  <a:cubicBezTo>
                    <a:pt x="68" y="258"/>
                    <a:pt x="68" y="258"/>
                    <a:pt x="68" y="259"/>
                  </a:cubicBezTo>
                  <a:cubicBezTo>
                    <a:pt x="63" y="261"/>
                    <a:pt x="59" y="264"/>
                    <a:pt x="56" y="267"/>
                  </a:cubicBezTo>
                  <a:cubicBezTo>
                    <a:pt x="51" y="272"/>
                    <a:pt x="48" y="278"/>
                    <a:pt x="47" y="285"/>
                  </a:cubicBezTo>
                  <a:cubicBezTo>
                    <a:pt x="46" y="287"/>
                    <a:pt x="46" y="289"/>
                    <a:pt x="46" y="291"/>
                  </a:cubicBezTo>
                  <a:cubicBezTo>
                    <a:pt x="46" y="292"/>
                    <a:pt x="46" y="293"/>
                    <a:pt x="46" y="294"/>
                  </a:cubicBezTo>
                  <a:cubicBezTo>
                    <a:pt x="47" y="303"/>
                    <a:pt x="53" y="311"/>
                    <a:pt x="60" y="317"/>
                  </a:cubicBezTo>
                  <a:cubicBezTo>
                    <a:pt x="63" y="320"/>
                    <a:pt x="66" y="323"/>
                    <a:pt x="70" y="326"/>
                  </a:cubicBezTo>
                  <a:cubicBezTo>
                    <a:pt x="72" y="327"/>
                    <a:pt x="73" y="329"/>
                    <a:pt x="75" y="330"/>
                  </a:cubicBezTo>
                  <a:cubicBezTo>
                    <a:pt x="79" y="333"/>
                    <a:pt x="83" y="336"/>
                    <a:pt x="88" y="339"/>
                  </a:cubicBezTo>
                  <a:cubicBezTo>
                    <a:pt x="100" y="347"/>
                    <a:pt x="119" y="352"/>
                    <a:pt x="138" y="356"/>
                  </a:cubicBezTo>
                  <a:cubicBezTo>
                    <a:pt x="146" y="358"/>
                    <a:pt x="154" y="359"/>
                    <a:pt x="162" y="360"/>
                  </a:cubicBezTo>
                  <a:cubicBezTo>
                    <a:pt x="170" y="361"/>
                    <a:pt x="177" y="362"/>
                    <a:pt x="184" y="362"/>
                  </a:cubicBezTo>
                  <a:cubicBezTo>
                    <a:pt x="185" y="362"/>
                    <a:pt x="187" y="362"/>
                    <a:pt x="188" y="362"/>
                  </a:cubicBezTo>
                  <a:cubicBezTo>
                    <a:pt x="190" y="362"/>
                    <a:pt x="191" y="362"/>
                    <a:pt x="192" y="362"/>
                  </a:cubicBezTo>
                  <a:cubicBezTo>
                    <a:pt x="196" y="362"/>
                    <a:pt x="200" y="358"/>
                    <a:pt x="200" y="354"/>
                  </a:cubicBezTo>
                  <a:cubicBezTo>
                    <a:pt x="199" y="352"/>
                    <a:pt x="199" y="350"/>
                    <a:pt x="198" y="349"/>
                  </a:cubicBezTo>
                  <a:cubicBezTo>
                    <a:pt x="197" y="348"/>
                    <a:pt x="196" y="347"/>
                    <a:pt x="194" y="346"/>
                  </a:cubicBezTo>
                  <a:cubicBezTo>
                    <a:pt x="193" y="346"/>
                    <a:pt x="192" y="346"/>
                    <a:pt x="191" y="346"/>
                  </a:cubicBezTo>
                  <a:cubicBezTo>
                    <a:pt x="190" y="346"/>
                    <a:pt x="189" y="346"/>
                    <a:pt x="188" y="346"/>
                  </a:cubicBezTo>
                  <a:cubicBezTo>
                    <a:pt x="186" y="346"/>
                    <a:pt x="183" y="346"/>
                    <a:pt x="180" y="346"/>
                  </a:cubicBezTo>
                  <a:cubicBezTo>
                    <a:pt x="170" y="345"/>
                    <a:pt x="156" y="344"/>
                    <a:pt x="143" y="341"/>
                  </a:cubicBezTo>
                  <a:cubicBezTo>
                    <a:pt x="142" y="341"/>
                    <a:pt x="142" y="341"/>
                    <a:pt x="141" y="340"/>
                  </a:cubicBezTo>
                  <a:cubicBezTo>
                    <a:pt x="123" y="337"/>
                    <a:pt x="106" y="331"/>
                    <a:pt x="97" y="325"/>
                  </a:cubicBezTo>
                  <a:cubicBezTo>
                    <a:pt x="92" y="322"/>
                    <a:pt x="88" y="320"/>
                    <a:pt x="84" y="317"/>
                  </a:cubicBezTo>
                  <a:cubicBezTo>
                    <a:pt x="82" y="315"/>
                    <a:pt x="79" y="313"/>
                    <a:pt x="77" y="311"/>
                  </a:cubicBezTo>
                  <a:cubicBezTo>
                    <a:pt x="75" y="309"/>
                    <a:pt x="73" y="308"/>
                    <a:pt x="71" y="306"/>
                  </a:cubicBezTo>
                  <a:cubicBezTo>
                    <a:pt x="70" y="305"/>
                    <a:pt x="69" y="304"/>
                    <a:pt x="68" y="303"/>
                  </a:cubicBezTo>
                  <a:cubicBezTo>
                    <a:pt x="64" y="298"/>
                    <a:pt x="62" y="295"/>
                    <a:pt x="62" y="292"/>
                  </a:cubicBezTo>
                  <a:cubicBezTo>
                    <a:pt x="62" y="291"/>
                    <a:pt x="62" y="291"/>
                    <a:pt x="62" y="291"/>
                  </a:cubicBezTo>
                  <a:cubicBezTo>
                    <a:pt x="62" y="290"/>
                    <a:pt x="62" y="289"/>
                    <a:pt x="62" y="288"/>
                  </a:cubicBezTo>
                  <a:cubicBezTo>
                    <a:pt x="62" y="287"/>
                    <a:pt x="63" y="286"/>
                    <a:pt x="63" y="284"/>
                  </a:cubicBezTo>
                  <a:cubicBezTo>
                    <a:pt x="65" y="280"/>
                    <a:pt x="68" y="278"/>
                    <a:pt x="71" y="276"/>
                  </a:cubicBezTo>
                  <a:cubicBezTo>
                    <a:pt x="74" y="273"/>
                    <a:pt x="78" y="272"/>
                    <a:pt x="83" y="272"/>
                  </a:cubicBezTo>
                  <a:cubicBezTo>
                    <a:pt x="83" y="272"/>
                    <a:pt x="83" y="272"/>
                    <a:pt x="84" y="272"/>
                  </a:cubicBezTo>
                  <a:cubicBezTo>
                    <a:pt x="84" y="272"/>
                    <a:pt x="84" y="272"/>
                    <a:pt x="84" y="272"/>
                  </a:cubicBezTo>
                  <a:cubicBezTo>
                    <a:pt x="86" y="272"/>
                    <a:pt x="88" y="272"/>
                    <a:pt x="89" y="273"/>
                  </a:cubicBezTo>
                  <a:cubicBezTo>
                    <a:pt x="90" y="273"/>
                    <a:pt x="91" y="273"/>
                    <a:pt x="93" y="274"/>
                  </a:cubicBezTo>
                  <a:cubicBezTo>
                    <a:pt x="97" y="275"/>
                    <a:pt x="105" y="278"/>
                    <a:pt x="113" y="282"/>
                  </a:cubicBezTo>
                  <a:cubicBezTo>
                    <a:pt x="116" y="282"/>
                    <a:pt x="118" y="283"/>
                    <a:pt x="121" y="284"/>
                  </a:cubicBezTo>
                  <a:cubicBezTo>
                    <a:pt x="132" y="288"/>
                    <a:pt x="145" y="293"/>
                    <a:pt x="161" y="296"/>
                  </a:cubicBezTo>
                  <a:cubicBezTo>
                    <a:pt x="165" y="297"/>
                    <a:pt x="169" y="297"/>
                    <a:pt x="173" y="297"/>
                  </a:cubicBezTo>
                  <a:cubicBezTo>
                    <a:pt x="183" y="297"/>
                    <a:pt x="193" y="296"/>
                    <a:pt x="203" y="293"/>
                  </a:cubicBezTo>
                  <a:cubicBezTo>
                    <a:pt x="215" y="291"/>
                    <a:pt x="226" y="287"/>
                    <a:pt x="238" y="284"/>
                  </a:cubicBezTo>
                  <a:cubicBezTo>
                    <a:pt x="248" y="281"/>
                    <a:pt x="257" y="279"/>
                    <a:pt x="266" y="276"/>
                  </a:cubicBezTo>
                  <a:cubicBezTo>
                    <a:pt x="278" y="273"/>
                    <a:pt x="289" y="271"/>
                    <a:pt x="299" y="271"/>
                  </a:cubicBezTo>
                  <a:cubicBezTo>
                    <a:pt x="302" y="271"/>
                    <a:pt x="306" y="272"/>
                    <a:pt x="309" y="272"/>
                  </a:cubicBezTo>
                  <a:cubicBezTo>
                    <a:pt x="317" y="274"/>
                    <a:pt x="319" y="276"/>
                    <a:pt x="327" y="286"/>
                  </a:cubicBezTo>
                  <a:cubicBezTo>
                    <a:pt x="330" y="290"/>
                    <a:pt x="335" y="290"/>
                    <a:pt x="338" y="288"/>
                  </a:cubicBezTo>
                  <a:cubicBezTo>
                    <a:pt x="342" y="285"/>
                    <a:pt x="343" y="280"/>
                    <a:pt x="340" y="276"/>
                  </a:cubicBezTo>
                  <a:cubicBezTo>
                    <a:pt x="340" y="276"/>
                    <a:pt x="340" y="276"/>
                    <a:pt x="340" y="276"/>
                  </a:cubicBezTo>
                  <a:cubicBezTo>
                    <a:pt x="332" y="266"/>
                    <a:pt x="324" y="259"/>
                    <a:pt x="312" y="257"/>
                  </a:cubicBezTo>
                  <a:cubicBezTo>
                    <a:pt x="308" y="256"/>
                    <a:pt x="303" y="255"/>
                    <a:pt x="299" y="255"/>
                  </a:cubicBezTo>
                  <a:cubicBezTo>
                    <a:pt x="286" y="255"/>
                    <a:pt x="272" y="258"/>
                    <a:pt x="258" y="262"/>
                  </a:cubicBezTo>
                  <a:cubicBezTo>
                    <a:pt x="256" y="258"/>
                    <a:pt x="254" y="255"/>
                    <a:pt x="249" y="251"/>
                  </a:cubicBezTo>
                  <a:cubicBezTo>
                    <a:pt x="237" y="243"/>
                    <a:pt x="230" y="249"/>
                    <a:pt x="221" y="243"/>
                  </a:cubicBezTo>
                  <a:cubicBezTo>
                    <a:pt x="216" y="240"/>
                    <a:pt x="211" y="236"/>
                    <a:pt x="204" y="233"/>
                  </a:cubicBezTo>
                  <a:cubicBezTo>
                    <a:pt x="205" y="216"/>
                    <a:pt x="205" y="180"/>
                    <a:pt x="196" y="153"/>
                  </a:cubicBezTo>
                  <a:cubicBezTo>
                    <a:pt x="192" y="139"/>
                    <a:pt x="183" y="125"/>
                    <a:pt x="176" y="115"/>
                  </a:cubicBezTo>
                  <a:cubicBezTo>
                    <a:pt x="174" y="112"/>
                    <a:pt x="173" y="112"/>
                    <a:pt x="175" y="117"/>
                  </a:cubicBezTo>
                  <a:cubicBezTo>
                    <a:pt x="179" y="128"/>
                    <a:pt x="186" y="143"/>
                    <a:pt x="187" y="158"/>
                  </a:cubicBezTo>
                  <a:cubicBezTo>
                    <a:pt x="188" y="187"/>
                    <a:pt x="182" y="216"/>
                    <a:pt x="178" y="232"/>
                  </a:cubicBezTo>
                  <a:cubicBezTo>
                    <a:pt x="169" y="234"/>
                    <a:pt x="167" y="240"/>
                    <a:pt x="158" y="243"/>
                  </a:cubicBezTo>
                  <a:cubicBezTo>
                    <a:pt x="151" y="246"/>
                    <a:pt x="144" y="244"/>
                    <a:pt x="138" y="244"/>
                  </a:cubicBezTo>
                  <a:cubicBezTo>
                    <a:pt x="134" y="235"/>
                    <a:pt x="126" y="221"/>
                    <a:pt x="123" y="216"/>
                  </a:cubicBezTo>
                  <a:cubicBezTo>
                    <a:pt x="119" y="210"/>
                    <a:pt x="113" y="208"/>
                    <a:pt x="108" y="208"/>
                  </a:cubicBezTo>
                  <a:cubicBezTo>
                    <a:pt x="101" y="208"/>
                    <a:pt x="95" y="211"/>
                    <a:pt x="93" y="213"/>
                  </a:cubicBezTo>
                  <a:cubicBezTo>
                    <a:pt x="92" y="212"/>
                    <a:pt x="92" y="212"/>
                    <a:pt x="91" y="211"/>
                  </a:cubicBezTo>
                  <a:cubicBezTo>
                    <a:pt x="87" y="206"/>
                    <a:pt x="81" y="204"/>
                    <a:pt x="76" y="204"/>
                  </a:cubicBezTo>
                  <a:cubicBezTo>
                    <a:pt x="68" y="205"/>
                    <a:pt x="61" y="208"/>
                    <a:pt x="58" y="210"/>
                  </a:cubicBezTo>
                  <a:cubicBezTo>
                    <a:pt x="57" y="208"/>
                    <a:pt x="56" y="207"/>
                    <a:pt x="54" y="206"/>
                  </a:cubicBezTo>
                  <a:cubicBezTo>
                    <a:pt x="48" y="200"/>
                    <a:pt x="41" y="197"/>
                    <a:pt x="34" y="197"/>
                  </a:cubicBezTo>
                  <a:cubicBezTo>
                    <a:pt x="18" y="198"/>
                    <a:pt x="5" y="208"/>
                    <a:pt x="1" y="221"/>
                  </a:cubicBezTo>
                  <a:cubicBezTo>
                    <a:pt x="0" y="223"/>
                    <a:pt x="0" y="225"/>
                    <a:pt x="0" y="227"/>
                  </a:cubicBezTo>
                  <a:cubicBezTo>
                    <a:pt x="0" y="240"/>
                    <a:pt x="6" y="261"/>
                    <a:pt x="14" y="283"/>
                  </a:cubicBezTo>
                  <a:cubicBezTo>
                    <a:pt x="22" y="304"/>
                    <a:pt x="32" y="326"/>
                    <a:pt x="44" y="339"/>
                  </a:cubicBezTo>
                  <a:cubicBezTo>
                    <a:pt x="68" y="364"/>
                    <a:pt x="122" y="400"/>
                    <a:pt x="158" y="408"/>
                  </a:cubicBezTo>
                  <a:cubicBezTo>
                    <a:pt x="167" y="410"/>
                    <a:pt x="179" y="411"/>
                    <a:pt x="192" y="411"/>
                  </a:cubicBezTo>
                  <a:cubicBezTo>
                    <a:pt x="229" y="411"/>
                    <a:pt x="275" y="404"/>
                    <a:pt x="299" y="392"/>
                  </a:cubicBezTo>
                  <a:cubicBezTo>
                    <a:pt x="314" y="385"/>
                    <a:pt x="327" y="376"/>
                    <a:pt x="338" y="364"/>
                  </a:cubicBezTo>
                  <a:cubicBezTo>
                    <a:pt x="348" y="352"/>
                    <a:pt x="355" y="337"/>
                    <a:pt x="355" y="319"/>
                  </a:cubicBezTo>
                  <a:cubicBezTo>
                    <a:pt x="355" y="316"/>
                    <a:pt x="354" y="313"/>
                    <a:pt x="354" y="309"/>
                  </a:cubicBezTo>
                  <a:close/>
                  <a:moveTo>
                    <a:pt x="108" y="224"/>
                  </a:moveTo>
                  <a:cubicBezTo>
                    <a:pt x="109" y="224"/>
                    <a:pt x="109" y="224"/>
                    <a:pt x="110" y="225"/>
                  </a:cubicBezTo>
                  <a:cubicBezTo>
                    <a:pt x="112" y="228"/>
                    <a:pt x="120" y="243"/>
                    <a:pt x="124" y="251"/>
                  </a:cubicBezTo>
                  <a:cubicBezTo>
                    <a:pt x="121" y="254"/>
                    <a:pt x="118" y="258"/>
                    <a:pt x="117" y="261"/>
                  </a:cubicBezTo>
                  <a:cubicBezTo>
                    <a:pt x="114" y="251"/>
                    <a:pt x="107" y="237"/>
                    <a:pt x="101" y="226"/>
                  </a:cubicBezTo>
                  <a:cubicBezTo>
                    <a:pt x="103" y="225"/>
                    <a:pt x="106" y="224"/>
                    <a:pt x="108" y="224"/>
                  </a:cubicBezTo>
                  <a:close/>
                  <a:moveTo>
                    <a:pt x="76" y="220"/>
                  </a:moveTo>
                  <a:cubicBezTo>
                    <a:pt x="78" y="221"/>
                    <a:pt x="78" y="221"/>
                    <a:pt x="79" y="222"/>
                  </a:cubicBezTo>
                  <a:cubicBezTo>
                    <a:pt x="84" y="227"/>
                    <a:pt x="94" y="245"/>
                    <a:pt x="99" y="259"/>
                  </a:cubicBezTo>
                  <a:cubicBezTo>
                    <a:pt x="97" y="258"/>
                    <a:pt x="94" y="257"/>
                    <a:pt x="92" y="257"/>
                  </a:cubicBezTo>
                  <a:cubicBezTo>
                    <a:pt x="89" y="256"/>
                    <a:pt x="87" y="256"/>
                    <a:pt x="84" y="256"/>
                  </a:cubicBezTo>
                  <a:cubicBezTo>
                    <a:pt x="84" y="254"/>
                    <a:pt x="83" y="253"/>
                    <a:pt x="82" y="250"/>
                  </a:cubicBezTo>
                  <a:cubicBezTo>
                    <a:pt x="78" y="240"/>
                    <a:pt x="74" y="231"/>
                    <a:pt x="68" y="223"/>
                  </a:cubicBezTo>
                  <a:cubicBezTo>
                    <a:pt x="71" y="222"/>
                    <a:pt x="74" y="220"/>
                    <a:pt x="76" y="220"/>
                  </a:cubicBezTo>
                  <a:close/>
                  <a:moveTo>
                    <a:pt x="163" y="118"/>
                  </a:moveTo>
                  <a:cubicBezTo>
                    <a:pt x="166" y="118"/>
                    <a:pt x="166" y="115"/>
                    <a:pt x="165" y="114"/>
                  </a:cubicBezTo>
                  <a:cubicBezTo>
                    <a:pt x="161" y="108"/>
                    <a:pt x="157" y="102"/>
                    <a:pt x="153" y="89"/>
                  </a:cubicBezTo>
                  <a:cubicBezTo>
                    <a:pt x="150" y="76"/>
                    <a:pt x="153" y="56"/>
                    <a:pt x="154" y="49"/>
                  </a:cubicBezTo>
                  <a:cubicBezTo>
                    <a:pt x="154" y="47"/>
                    <a:pt x="155" y="47"/>
                    <a:pt x="155" y="49"/>
                  </a:cubicBezTo>
                  <a:cubicBezTo>
                    <a:pt x="157" y="56"/>
                    <a:pt x="161" y="74"/>
                    <a:pt x="166" y="84"/>
                  </a:cubicBezTo>
                  <a:cubicBezTo>
                    <a:pt x="172" y="96"/>
                    <a:pt x="179" y="106"/>
                    <a:pt x="185" y="112"/>
                  </a:cubicBezTo>
                  <a:cubicBezTo>
                    <a:pt x="186" y="113"/>
                    <a:pt x="189" y="114"/>
                    <a:pt x="189" y="113"/>
                  </a:cubicBezTo>
                  <a:cubicBezTo>
                    <a:pt x="201" y="107"/>
                    <a:pt x="207" y="93"/>
                    <a:pt x="200" y="70"/>
                  </a:cubicBezTo>
                  <a:cubicBezTo>
                    <a:pt x="195" y="53"/>
                    <a:pt x="182" y="47"/>
                    <a:pt x="170" y="29"/>
                  </a:cubicBezTo>
                  <a:cubicBezTo>
                    <a:pt x="164" y="20"/>
                    <a:pt x="164" y="20"/>
                    <a:pt x="164" y="20"/>
                  </a:cubicBezTo>
                  <a:cubicBezTo>
                    <a:pt x="162" y="17"/>
                    <a:pt x="159" y="6"/>
                    <a:pt x="157" y="2"/>
                  </a:cubicBezTo>
                  <a:cubicBezTo>
                    <a:pt x="157" y="0"/>
                    <a:pt x="154" y="0"/>
                    <a:pt x="153" y="1"/>
                  </a:cubicBezTo>
                  <a:cubicBezTo>
                    <a:pt x="140" y="25"/>
                    <a:pt x="124" y="60"/>
                    <a:pt x="134" y="89"/>
                  </a:cubicBezTo>
                  <a:cubicBezTo>
                    <a:pt x="141" y="111"/>
                    <a:pt x="151" y="117"/>
                    <a:pt x="163" y="118"/>
                  </a:cubicBezTo>
                  <a:close/>
                  <a:moveTo>
                    <a:pt x="60" y="144"/>
                  </a:moveTo>
                  <a:cubicBezTo>
                    <a:pt x="66" y="147"/>
                    <a:pt x="71" y="149"/>
                    <a:pt x="76" y="152"/>
                  </a:cubicBezTo>
                  <a:cubicBezTo>
                    <a:pt x="84" y="159"/>
                    <a:pt x="84" y="159"/>
                    <a:pt x="84" y="159"/>
                  </a:cubicBezTo>
                  <a:cubicBezTo>
                    <a:pt x="100" y="171"/>
                    <a:pt x="109" y="184"/>
                    <a:pt x="125" y="189"/>
                  </a:cubicBezTo>
                  <a:cubicBezTo>
                    <a:pt x="146" y="196"/>
                    <a:pt x="160" y="189"/>
                    <a:pt x="167" y="182"/>
                  </a:cubicBezTo>
                  <a:cubicBezTo>
                    <a:pt x="168" y="180"/>
                    <a:pt x="169" y="176"/>
                    <a:pt x="168" y="174"/>
                  </a:cubicBezTo>
                  <a:cubicBezTo>
                    <a:pt x="163" y="167"/>
                    <a:pt x="151" y="155"/>
                    <a:pt x="136" y="147"/>
                  </a:cubicBezTo>
                  <a:cubicBezTo>
                    <a:pt x="114" y="136"/>
                    <a:pt x="91" y="142"/>
                    <a:pt x="92" y="140"/>
                  </a:cubicBezTo>
                  <a:cubicBezTo>
                    <a:pt x="92" y="139"/>
                    <a:pt x="116" y="130"/>
                    <a:pt x="139" y="138"/>
                  </a:cubicBezTo>
                  <a:cubicBezTo>
                    <a:pt x="154" y="143"/>
                    <a:pt x="165" y="157"/>
                    <a:pt x="171" y="163"/>
                  </a:cubicBezTo>
                  <a:cubicBezTo>
                    <a:pt x="172" y="164"/>
                    <a:pt x="174" y="163"/>
                    <a:pt x="174" y="162"/>
                  </a:cubicBezTo>
                  <a:cubicBezTo>
                    <a:pt x="174" y="148"/>
                    <a:pt x="169" y="133"/>
                    <a:pt x="147" y="125"/>
                  </a:cubicBezTo>
                  <a:cubicBezTo>
                    <a:pt x="119" y="114"/>
                    <a:pt x="83" y="128"/>
                    <a:pt x="59" y="140"/>
                  </a:cubicBezTo>
                  <a:cubicBezTo>
                    <a:pt x="58" y="140"/>
                    <a:pt x="58" y="143"/>
                    <a:pt x="60" y="144"/>
                  </a:cubicBezTo>
                  <a:close/>
                </a:path>
              </a:pathLst>
            </a:custGeom>
            <a:grpFill/>
            <a:ln>
              <a:noFill/>
            </a:ln>
          </p:spPr>
          <p:txBody>
            <a:bodyPr/>
            <a:lstStyle/>
            <a:p>
              <a:endParaRPr lang="sv-SE" dirty="0">
                <a:solidFill>
                  <a:srgbClr val="58585A"/>
                </a:solidFill>
              </a:endParaRPr>
            </a:p>
          </p:txBody>
        </p:sp>
        <p:sp>
          <p:nvSpPr>
            <p:cNvPr id="89" name="Freeform 3">
              <a:extLst>
                <a:ext uri="{FF2B5EF4-FFF2-40B4-BE49-F238E27FC236}">
                  <a16:creationId xmlns:a16="http://schemas.microsoft.com/office/drawing/2014/main" id="{CC0430F7-F5C4-4384-BC5E-99C5A1FCFD56}"/>
                </a:ext>
              </a:extLst>
            </p:cNvPr>
            <p:cNvSpPr>
              <a:spLocks noChangeAspect="1" noEditPoints="1"/>
            </p:cNvSpPr>
            <p:nvPr/>
          </p:nvSpPr>
          <p:spPr bwMode="auto">
            <a:xfrm>
              <a:off x="11065691" y="2410248"/>
              <a:ext cx="439762" cy="267227"/>
            </a:xfrm>
            <a:custGeom>
              <a:avLst/>
              <a:gdLst>
                <a:gd name="T0" fmla="*/ 2147483647 w 464"/>
                <a:gd name="T1" fmla="*/ 2147483647 h 282"/>
                <a:gd name="T2" fmla="*/ 2147483647 w 464"/>
                <a:gd name="T3" fmla="*/ 0 h 282"/>
                <a:gd name="T4" fmla="*/ 2147483647 w 464"/>
                <a:gd name="T5" fmla="*/ 2147483647 h 282"/>
                <a:gd name="T6" fmla="*/ 2147483647 w 464"/>
                <a:gd name="T7" fmla="*/ 2147483647 h 282"/>
                <a:gd name="T8" fmla="*/ 2147483647 w 464"/>
                <a:gd name="T9" fmla="*/ 2147483647 h 282"/>
                <a:gd name="T10" fmla="*/ 0 w 464"/>
                <a:gd name="T11" fmla="*/ 2147483647 h 282"/>
                <a:gd name="T12" fmla="*/ 2147483647 w 464"/>
                <a:gd name="T13" fmla="*/ 2147483647 h 282"/>
                <a:gd name="T14" fmla="*/ 2147483647 w 464"/>
                <a:gd name="T15" fmla="*/ 2147483647 h 282"/>
                <a:gd name="T16" fmla="*/ 2147483647 w 464"/>
                <a:gd name="T17" fmla="*/ 2147483647 h 282"/>
                <a:gd name="T18" fmla="*/ 2147483647 w 464"/>
                <a:gd name="T19" fmla="*/ 2147483647 h 282"/>
                <a:gd name="T20" fmla="*/ 2147483647 w 464"/>
                <a:gd name="T21" fmla="*/ 2147483647 h 282"/>
                <a:gd name="T22" fmla="*/ 2147483647 w 464"/>
                <a:gd name="T23" fmla="*/ 2147483647 h 282"/>
                <a:gd name="T24" fmla="*/ 2147483647 w 464"/>
                <a:gd name="T25" fmla="*/ 2147483647 h 282"/>
                <a:gd name="T26" fmla="*/ 2147483647 w 464"/>
                <a:gd name="T27" fmla="*/ 2147483647 h 282"/>
                <a:gd name="T28" fmla="*/ 2147483647 w 464"/>
                <a:gd name="T29" fmla="*/ 2147483647 h 282"/>
                <a:gd name="T30" fmla="*/ 2147483647 w 464"/>
                <a:gd name="T31" fmla="*/ 2147483647 h 282"/>
                <a:gd name="T32" fmla="*/ 2147483647 w 464"/>
                <a:gd name="T33" fmla="*/ 2147483647 h 282"/>
                <a:gd name="T34" fmla="*/ 2147483647 w 464"/>
                <a:gd name="T35" fmla="*/ 2147483647 h 282"/>
                <a:gd name="T36" fmla="*/ 2147483647 w 464"/>
                <a:gd name="T37" fmla="*/ 2147483647 h 282"/>
                <a:gd name="T38" fmla="*/ 2147483647 w 464"/>
                <a:gd name="T39" fmla="*/ 2147483647 h 282"/>
                <a:gd name="T40" fmla="*/ 2147483647 w 464"/>
                <a:gd name="T41" fmla="*/ 2147483647 h 282"/>
                <a:gd name="T42" fmla="*/ 2147483647 w 464"/>
                <a:gd name="T43" fmla="*/ 2147483647 h 282"/>
                <a:gd name="T44" fmla="*/ 2147483647 w 464"/>
                <a:gd name="T45" fmla="*/ 2147483647 h 282"/>
                <a:gd name="T46" fmla="*/ 2147483647 w 464"/>
                <a:gd name="T47" fmla="*/ 2147483647 h 282"/>
                <a:gd name="T48" fmla="*/ 2147483647 w 464"/>
                <a:gd name="T49" fmla="*/ 2147483647 h 282"/>
                <a:gd name="T50" fmla="*/ 2147483647 w 464"/>
                <a:gd name="T51" fmla="*/ 2147483647 h 282"/>
                <a:gd name="T52" fmla="*/ 2147483647 w 464"/>
                <a:gd name="T53" fmla="*/ 2147483647 h 282"/>
                <a:gd name="T54" fmla="*/ 2147483647 w 464"/>
                <a:gd name="T55" fmla="*/ 2147483647 h 282"/>
                <a:gd name="T56" fmla="*/ 2147483647 w 464"/>
                <a:gd name="T57" fmla="*/ 2147483647 h 282"/>
                <a:gd name="T58" fmla="*/ 2147483647 w 464"/>
                <a:gd name="T59" fmla="*/ 2147483647 h 282"/>
                <a:gd name="T60" fmla="*/ 2147483647 w 464"/>
                <a:gd name="T61" fmla="*/ 2147483647 h 282"/>
                <a:gd name="T62" fmla="*/ 2147483647 w 464"/>
                <a:gd name="T63" fmla="*/ 2147483647 h 282"/>
                <a:gd name="T64" fmla="*/ 2147483647 w 464"/>
                <a:gd name="T65" fmla="*/ 2147483647 h 282"/>
                <a:gd name="T66" fmla="*/ 2147483647 w 464"/>
                <a:gd name="T67" fmla="*/ 2147483647 h 282"/>
                <a:gd name="T68" fmla="*/ 2147483647 w 464"/>
                <a:gd name="T69" fmla="*/ 2147483647 h 282"/>
                <a:gd name="T70" fmla="*/ 2147483647 w 464"/>
                <a:gd name="T71" fmla="*/ 2147483647 h 282"/>
                <a:gd name="T72" fmla="*/ 2147483647 w 464"/>
                <a:gd name="T73" fmla="*/ 2147483647 h 282"/>
                <a:gd name="T74" fmla="*/ 2147483647 w 464"/>
                <a:gd name="T75" fmla="*/ 2147483647 h 282"/>
                <a:gd name="T76" fmla="*/ 2147483647 w 464"/>
                <a:gd name="T77" fmla="*/ 2147483647 h 282"/>
                <a:gd name="T78" fmla="*/ 2147483647 w 464"/>
                <a:gd name="T79" fmla="*/ 2147483647 h 2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282">
                  <a:moveTo>
                    <a:pt x="456" y="52"/>
                  </a:moveTo>
                  <a:cubicBezTo>
                    <a:pt x="461" y="52"/>
                    <a:pt x="464" y="49"/>
                    <a:pt x="464" y="44"/>
                  </a:cubicBezTo>
                  <a:cubicBezTo>
                    <a:pt x="464" y="17"/>
                    <a:pt x="464" y="17"/>
                    <a:pt x="464" y="17"/>
                  </a:cubicBezTo>
                  <a:cubicBezTo>
                    <a:pt x="464" y="8"/>
                    <a:pt x="456" y="0"/>
                    <a:pt x="447" y="0"/>
                  </a:cubicBezTo>
                  <a:cubicBezTo>
                    <a:pt x="196" y="0"/>
                    <a:pt x="196" y="0"/>
                    <a:pt x="196" y="0"/>
                  </a:cubicBezTo>
                  <a:cubicBezTo>
                    <a:pt x="187" y="0"/>
                    <a:pt x="179" y="8"/>
                    <a:pt x="179" y="17"/>
                  </a:cubicBezTo>
                  <a:cubicBezTo>
                    <a:pt x="179" y="71"/>
                    <a:pt x="179" y="71"/>
                    <a:pt x="179" y="71"/>
                  </a:cubicBezTo>
                  <a:cubicBezTo>
                    <a:pt x="156" y="71"/>
                    <a:pt x="156" y="71"/>
                    <a:pt x="156" y="71"/>
                  </a:cubicBezTo>
                  <a:cubicBezTo>
                    <a:pt x="156" y="63"/>
                    <a:pt x="156" y="63"/>
                    <a:pt x="156" y="63"/>
                  </a:cubicBezTo>
                  <a:cubicBezTo>
                    <a:pt x="156" y="53"/>
                    <a:pt x="148" y="45"/>
                    <a:pt x="138" y="45"/>
                  </a:cubicBezTo>
                  <a:cubicBezTo>
                    <a:pt x="59" y="45"/>
                    <a:pt x="59" y="45"/>
                    <a:pt x="59" y="45"/>
                  </a:cubicBezTo>
                  <a:cubicBezTo>
                    <a:pt x="24" y="45"/>
                    <a:pt x="0" y="101"/>
                    <a:pt x="0" y="153"/>
                  </a:cubicBezTo>
                  <a:cubicBezTo>
                    <a:pt x="0" y="240"/>
                    <a:pt x="0" y="240"/>
                    <a:pt x="0" y="240"/>
                  </a:cubicBezTo>
                  <a:cubicBezTo>
                    <a:pt x="0" y="242"/>
                    <a:pt x="1" y="244"/>
                    <a:pt x="2" y="246"/>
                  </a:cubicBezTo>
                  <a:cubicBezTo>
                    <a:pt x="4" y="247"/>
                    <a:pt x="6" y="248"/>
                    <a:pt x="8" y="248"/>
                  </a:cubicBezTo>
                  <a:cubicBezTo>
                    <a:pt x="40" y="248"/>
                    <a:pt x="40" y="248"/>
                    <a:pt x="40" y="248"/>
                  </a:cubicBezTo>
                  <a:cubicBezTo>
                    <a:pt x="44" y="267"/>
                    <a:pt x="61" y="282"/>
                    <a:pt x="81" y="282"/>
                  </a:cubicBezTo>
                  <a:cubicBezTo>
                    <a:pt x="101" y="282"/>
                    <a:pt x="118" y="267"/>
                    <a:pt x="122" y="248"/>
                  </a:cubicBezTo>
                  <a:cubicBezTo>
                    <a:pt x="148" y="248"/>
                    <a:pt x="148" y="248"/>
                    <a:pt x="148" y="248"/>
                  </a:cubicBezTo>
                  <a:cubicBezTo>
                    <a:pt x="152" y="248"/>
                    <a:pt x="155" y="245"/>
                    <a:pt x="156" y="241"/>
                  </a:cubicBezTo>
                  <a:cubicBezTo>
                    <a:pt x="319" y="241"/>
                    <a:pt x="319" y="241"/>
                    <a:pt x="319" y="241"/>
                  </a:cubicBezTo>
                  <a:cubicBezTo>
                    <a:pt x="319" y="263"/>
                    <a:pt x="338" y="282"/>
                    <a:pt x="360" y="282"/>
                  </a:cubicBezTo>
                  <a:cubicBezTo>
                    <a:pt x="383" y="282"/>
                    <a:pt x="402" y="263"/>
                    <a:pt x="402" y="241"/>
                  </a:cubicBezTo>
                  <a:cubicBezTo>
                    <a:pt x="447" y="241"/>
                    <a:pt x="447" y="241"/>
                    <a:pt x="447" y="241"/>
                  </a:cubicBezTo>
                  <a:cubicBezTo>
                    <a:pt x="456" y="241"/>
                    <a:pt x="464" y="233"/>
                    <a:pt x="464" y="223"/>
                  </a:cubicBezTo>
                  <a:cubicBezTo>
                    <a:pt x="464" y="76"/>
                    <a:pt x="464" y="76"/>
                    <a:pt x="464" y="76"/>
                  </a:cubicBezTo>
                  <a:cubicBezTo>
                    <a:pt x="464" y="71"/>
                    <a:pt x="461" y="68"/>
                    <a:pt x="456" y="68"/>
                  </a:cubicBezTo>
                  <a:cubicBezTo>
                    <a:pt x="452" y="68"/>
                    <a:pt x="448" y="71"/>
                    <a:pt x="448" y="76"/>
                  </a:cubicBezTo>
                  <a:cubicBezTo>
                    <a:pt x="448" y="168"/>
                    <a:pt x="448" y="168"/>
                    <a:pt x="448" y="168"/>
                  </a:cubicBezTo>
                  <a:cubicBezTo>
                    <a:pt x="195" y="168"/>
                    <a:pt x="195" y="168"/>
                    <a:pt x="195" y="168"/>
                  </a:cubicBezTo>
                  <a:cubicBezTo>
                    <a:pt x="195" y="17"/>
                    <a:pt x="195" y="17"/>
                    <a:pt x="195" y="17"/>
                  </a:cubicBezTo>
                  <a:cubicBezTo>
                    <a:pt x="195" y="17"/>
                    <a:pt x="195" y="16"/>
                    <a:pt x="196" y="16"/>
                  </a:cubicBezTo>
                  <a:cubicBezTo>
                    <a:pt x="447" y="16"/>
                    <a:pt x="447" y="16"/>
                    <a:pt x="447" y="16"/>
                  </a:cubicBezTo>
                  <a:cubicBezTo>
                    <a:pt x="448" y="16"/>
                    <a:pt x="448" y="17"/>
                    <a:pt x="448" y="17"/>
                  </a:cubicBezTo>
                  <a:cubicBezTo>
                    <a:pt x="448" y="44"/>
                    <a:pt x="448" y="44"/>
                    <a:pt x="448" y="44"/>
                  </a:cubicBezTo>
                  <a:cubicBezTo>
                    <a:pt x="448" y="49"/>
                    <a:pt x="452" y="52"/>
                    <a:pt x="456" y="52"/>
                  </a:cubicBezTo>
                  <a:close/>
                  <a:moveTo>
                    <a:pt x="27" y="95"/>
                  </a:moveTo>
                  <a:cubicBezTo>
                    <a:pt x="27" y="95"/>
                    <a:pt x="28" y="95"/>
                    <a:pt x="28" y="95"/>
                  </a:cubicBezTo>
                  <a:cubicBezTo>
                    <a:pt x="86" y="95"/>
                    <a:pt x="86" y="95"/>
                    <a:pt x="86" y="95"/>
                  </a:cubicBezTo>
                  <a:cubicBezTo>
                    <a:pt x="86" y="145"/>
                    <a:pt x="86" y="145"/>
                    <a:pt x="86" y="145"/>
                  </a:cubicBezTo>
                  <a:cubicBezTo>
                    <a:pt x="16" y="145"/>
                    <a:pt x="16" y="145"/>
                    <a:pt x="16" y="145"/>
                  </a:cubicBezTo>
                  <a:cubicBezTo>
                    <a:pt x="17" y="127"/>
                    <a:pt x="21" y="109"/>
                    <a:pt x="27" y="95"/>
                  </a:cubicBezTo>
                  <a:close/>
                  <a:moveTo>
                    <a:pt x="81" y="266"/>
                  </a:moveTo>
                  <a:cubicBezTo>
                    <a:pt x="67" y="266"/>
                    <a:pt x="55" y="254"/>
                    <a:pt x="55" y="240"/>
                  </a:cubicBezTo>
                  <a:cubicBezTo>
                    <a:pt x="55" y="226"/>
                    <a:pt x="67" y="214"/>
                    <a:pt x="81" y="214"/>
                  </a:cubicBezTo>
                  <a:cubicBezTo>
                    <a:pt x="95" y="214"/>
                    <a:pt x="107" y="226"/>
                    <a:pt x="107" y="240"/>
                  </a:cubicBezTo>
                  <a:cubicBezTo>
                    <a:pt x="107" y="254"/>
                    <a:pt x="95" y="266"/>
                    <a:pt x="81" y="266"/>
                  </a:cubicBezTo>
                  <a:close/>
                  <a:moveTo>
                    <a:pt x="140" y="232"/>
                  </a:moveTo>
                  <a:cubicBezTo>
                    <a:pt x="122" y="232"/>
                    <a:pt x="122" y="232"/>
                    <a:pt x="122" y="232"/>
                  </a:cubicBezTo>
                  <a:cubicBezTo>
                    <a:pt x="118" y="213"/>
                    <a:pt x="101" y="198"/>
                    <a:pt x="81" y="198"/>
                  </a:cubicBezTo>
                  <a:cubicBezTo>
                    <a:pt x="61" y="198"/>
                    <a:pt x="44" y="213"/>
                    <a:pt x="40" y="232"/>
                  </a:cubicBezTo>
                  <a:cubicBezTo>
                    <a:pt x="16" y="232"/>
                    <a:pt x="16" y="232"/>
                    <a:pt x="16" y="232"/>
                  </a:cubicBezTo>
                  <a:cubicBezTo>
                    <a:pt x="16" y="161"/>
                    <a:pt x="16" y="161"/>
                    <a:pt x="16" y="161"/>
                  </a:cubicBezTo>
                  <a:cubicBezTo>
                    <a:pt x="94" y="161"/>
                    <a:pt x="94" y="161"/>
                    <a:pt x="94" y="161"/>
                  </a:cubicBezTo>
                  <a:cubicBezTo>
                    <a:pt x="99" y="161"/>
                    <a:pt x="102" y="157"/>
                    <a:pt x="102" y="153"/>
                  </a:cubicBezTo>
                  <a:cubicBezTo>
                    <a:pt x="102" y="87"/>
                    <a:pt x="102" y="87"/>
                    <a:pt x="102" y="87"/>
                  </a:cubicBezTo>
                  <a:cubicBezTo>
                    <a:pt x="102" y="83"/>
                    <a:pt x="99" y="79"/>
                    <a:pt x="94" y="79"/>
                  </a:cubicBezTo>
                  <a:cubicBezTo>
                    <a:pt x="35" y="79"/>
                    <a:pt x="35" y="79"/>
                    <a:pt x="35" y="79"/>
                  </a:cubicBezTo>
                  <a:cubicBezTo>
                    <a:pt x="42" y="68"/>
                    <a:pt x="50" y="61"/>
                    <a:pt x="59" y="61"/>
                  </a:cubicBezTo>
                  <a:cubicBezTo>
                    <a:pt x="138" y="61"/>
                    <a:pt x="138" y="61"/>
                    <a:pt x="138" y="61"/>
                  </a:cubicBezTo>
                  <a:cubicBezTo>
                    <a:pt x="139" y="61"/>
                    <a:pt x="140" y="62"/>
                    <a:pt x="140" y="63"/>
                  </a:cubicBezTo>
                  <a:lnTo>
                    <a:pt x="140" y="232"/>
                  </a:lnTo>
                  <a:close/>
                  <a:moveTo>
                    <a:pt x="179" y="225"/>
                  </a:moveTo>
                  <a:cubicBezTo>
                    <a:pt x="156" y="225"/>
                    <a:pt x="156" y="225"/>
                    <a:pt x="156" y="225"/>
                  </a:cubicBezTo>
                  <a:cubicBezTo>
                    <a:pt x="156" y="87"/>
                    <a:pt x="156" y="87"/>
                    <a:pt x="156" y="87"/>
                  </a:cubicBezTo>
                  <a:cubicBezTo>
                    <a:pt x="179" y="87"/>
                    <a:pt x="179" y="87"/>
                    <a:pt x="179" y="87"/>
                  </a:cubicBezTo>
                  <a:lnTo>
                    <a:pt x="179" y="225"/>
                  </a:lnTo>
                  <a:close/>
                  <a:moveTo>
                    <a:pt x="360" y="266"/>
                  </a:moveTo>
                  <a:cubicBezTo>
                    <a:pt x="346" y="266"/>
                    <a:pt x="335" y="254"/>
                    <a:pt x="335" y="240"/>
                  </a:cubicBezTo>
                  <a:cubicBezTo>
                    <a:pt x="335" y="226"/>
                    <a:pt x="346" y="214"/>
                    <a:pt x="360" y="214"/>
                  </a:cubicBezTo>
                  <a:cubicBezTo>
                    <a:pt x="375" y="214"/>
                    <a:pt x="386" y="226"/>
                    <a:pt x="386" y="240"/>
                  </a:cubicBezTo>
                  <a:cubicBezTo>
                    <a:pt x="386" y="254"/>
                    <a:pt x="375" y="266"/>
                    <a:pt x="360" y="266"/>
                  </a:cubicBezTo>
                  <a:close/>
                  <a:moveTo>
                    <a:pt x="448" y="184"/>
                  </a:moveTo>
                  <a:cubicBezTo>
                    <a:pt x="448" y="223"/>
                    <a:pt x="448" y="223"/>
                    <a:pt x="448" y="223"/>
                  </a:cubicBezTo>
                  <a:cubicBezTo>
                    <a:pt x="448" y="224"/>
                    <a:pt x="448" y="225"/>
                    <a:pt x="447" y="225"/>
                  </a:cubicBezTo>
                  <a:cubicBezTo>
                    <a:pt x="399" y="225"/>
                    <a:pt x="399" y="225"/>
                    <a:pt x="399" y="225"/>
                  </a:cubicBezTo>
                  <a:cubicBezTo>
                    <a:pt x="393" y="209"/>
                    <a:pt x="378" y="198"/>
                    <a:pt x="360" y="198"/>
                  </a:cubicBezTo>
                  <a:cubicBezTo>
                    <a:pt x="343" y="198"/>
                    <a:pt x="327" y="209"/>
                    <a:pt x="321" y="225"/>
                  </a:cubicBezTo>
                  <a:cubicBezTo>
                    <a:pt x="195" y="225"/>
                    <a:pt x="195" y="225"/>
                    <a:pt x="195" y="225"/>
                  </a:cubicBezTo>
                  <a:cubicBezTo>
                    <a:pt x="195" y="184"/>
                    <a:pt x="195" y="184"/>
                    <a:pt x="195" y="184"/>
                  </a:cubicBezTo>
                  <a:lnTo>
                    <a:pt x="448" y="184"/>
                  </a:lnTo>
                  <a:close/>
                </a:path>
              </a:pathLst>
            </a:custGeom>
            <a:grpFill/>
            <a:ln>
              <a:noFill/>
            </a:ln>
          </p:spPr>
          <p:txBody>
            <a:bodyPr/>
            <a:lstStyle/>
            <a:p>
              <a:endParaRPr lang="sv-SE" dirty="0">
                <a:solidFill>
                  <a:srgbClr val="58585A"/>
                </a:solidFill>
              </a:endParaRPr>
            </a:p>
          </p:txBody>
        </p:sp>
        <p:sp>
          <p:nvSpPr>
            <p:cNvPr id="90" name="Freeform 2">
              <a:extLst>
                <a:ext uri="{FF2B5EF4-FFF2-40B4-BE49-F238E27FC236}">
                  <a16:creationId xmlns:a16="http://schemas.microsoft.com/office/drawing/2014/main" id="{ADA8A7F8-42C3-4D50-973E-5164A6782EE7}"/>
                </a:ext>
              </a:extLst>
            </p:cNvPr>
            <p:cNvSpPr>
              <a:spLocks noChangeAspect="1" noEditPoints="1"/>
            </p:cNvSpPr>
            <p:nvPr/>
          </p:nvSpPr>
          <p:spPr bwMode="auto">
            <a:xfrm>
              <a:off x="10679903" y="2389927"/>
              <a:ext cx="299853" cy="501218"/>
            </a:xfrm>
            <a:custGeom>
              <a:avLst/>
              <a:gdLst>
                <a:gd name="T0" fmla="*/ 2147483647 w 260"/>
                <a:gd name="T1" fmla="*/ 2147483647 h 435"/>
                <a:gd name="T2" fmla="*/ 2147483647 w 260"/>
                <a:gd name="T3" fmla="*/ 2147483647 h 435"/>
                <a:gd name="T4" fmla="*/ 2147483647 w 260"/>
                <a:gd name="T5" fmla="*/ 2147483647 h 435"/>
                <a:gd name="T6" fmla="*/ 2147483647 w 260"/>
                <a:gd name="T7" fmla="*/ 2147483647 h 435"/>
                <a:gd name="T8" fmla="*/ 2147483647 w 260"/>
                <a:gd name="T9" fmla="*/ 2147483647 h 435"/>
                <a:gd name="T10" fmla="*/ 2147483647 w 260"/>
                <a:gd name="T11" fmla="*/ 2147483647 h 435"/>
                <a:gd name="T12" fmla="*/ 2147483647 w 260"/>
                <a:gd name="T13" fmla="*/ 2147483647 h 435"/>
                <a:gd name="T14" fmla="*/ 2147483647 w 260"/>
                <a:gd name="T15" fmla="*/ 2147483647 h 435"/>
                <a:gd name="T16" fmla="*/ 2147483647 w 260"/>
                <a:gd name="T17" fmla="*/ 2147483647 h 435"/>
                <a:gd name="T18" fmla="*/ 2147483647 w 260"/>
                <a:gd name="T19" fmla="*/ 2147483647 h 435"/>
                <a:gd name="T20" fmla="*/ 2147483647 w 260"/>
                <a:gd name="T21" fmla="*/ 2147483647 h 435"/>
                <a:gd name="T22" fmla="*/ 2147483647 w 260"/>
                <a:gd name="T23" fmla="*/ 2147483647 h 435"/>
                <a:gd name="T24" fmla="*/ 2147483647 w 260"/>
                <a:gd name="T25" fmla="*/ 0 h 435"/>
                <a:gd name="T26" fmla="*/ 2147483647 w 260"/>
                <a:gd name="T27" fmla="*/ 2147483647 h 435"/>
                <a:gd name="T28" fmla="*/ 2147483647 w 260"/>
                <a:gd name="T29" fmla="*/ 2147483647 h 435"/>
                <a:gd name="T30" fmla="*/ 0 w 260"/>
                <a:gd name="T31" fmla="*/ 2147483647 h 435"/>
                <a:gd name="T32" fmla="*/ 0 w 260"/>
                <a:gd name="T33" fmla="*/ 2147483647 h 435"/>
                <a:gd name="T34" fmla="*/ 2147483647 w 260"/>
                <a:gd name="T35" fmla="*/ 2147483647 h 435"/>
                <a:gd name="T36" fmla="*/ 2147483647 w 260"/>
                <a:gd name="T37" fmla="*/ 2147483647 h 435"/>
                <a:gd name="T38" fmla="*/ 2147483647 w 260"/>
                <a:gd name="T39" fmla="*/ 2147483647 h 435"/>
                <a:gd name="T40" fmla="*/ 2147483647 w 260"/>
                <a:gd name="T41" fmla="*/ 2147483647 h 435"/>
                <a:gd name="T42" fmla="*/ 2147483647 w 260"/>
                <a:gd name="T43" fmla="*/ 2147483647 h 435"/>
                <a:gd name="T44" fmla="*/ 2147483647 w 260"/>
                <a:gd name="T45" fmla="*/ 2147483647 h 435"/>
                <a:gd name="T46" fmla="*/ 2147483647 w 260"/>
                <a:gd name="T47" fmla="*/ 2147483647 h 435"/>
                <a:gd name="T48" fmla="*/ 2147483647 w 260"/>
                <a:gd name="T49" fmla="*/ 2147483647 h 435"/>
                <a:gd name="T50" fmla="*/ 2147483647 w 260"/>
                <a:gd name="T51" fmla="*/ 2147483647 h 435"/>
                <a:gd name="T52" fmla="*/ 2147483647 w 260"/>
                <a:gd name="T53" fmla="*/ 2147483647 h 435"/>
                <a:gd name="T54" fmla="*/ 2147483647 w 260"/>
                <a:gd name="T55" fmla="*/ 2147483647 h 435"/>
                <a:gd name="T56" fmla="*/ 2147483647 w 260"/>
                <a:gd name="T57" fmla="*/ 2147483647 h 435"/>
                <a:gd name="T58" fmla="*/ 2147483647 w 260"/>
                <a:gd name="T59" fmla="*/ 2147483647 h 435"/>
                <a:gd name="T60" fmla="*/ 2147483647 w 260"/>
                <a:gd name="T61" fmla="*/ 2147483647 h 435"/>
                <a:gd name="T62" fmla="*/ 2147483647 w 260"/>
                <a:gd name="T63" fmla="*/ 2147483647 h 435"/>
                <a:gd name="T64" fmla="*/ 2147483647 w 260"/>
                <a:gd name="T65" fmla="*/ 2147483647 h 435"/>
                <a:gd name="T66" fmla="*/ 2147483647 w 260"/>
                <a:gd name="T67" fmla="*/ 2147483647 h 435"/>
                <a:gd name="T68" fmla="*/ 2147483647 w 260"/>
                <a:gd name="T69" fmla="*/ 2147483647 h 435"/>
                <a:gd name="T70" fmla="*/ 2147483647 w 260"/>
                <a:gd name="T71" fmla="*/ 2147483647 h 435"/>
                <a:gd name="T72" fmla="*/ 2147483647 w 260"/>
                <a:gd name="T73" fmla="*/ 2147483647 h 435"/>
                <a:gd name="T74" fmla="*/ 2147483647 w 260"/>
                <a:gd name="T75" fmla="*/ 2147483647 h 435"/>
                <a:gd name="T76" fmla="*/ 2147483647 w 260"/>
                <a:gd name="T77" fmla="*/ 2147483647 h 435"/>
                <a:gd name="T78" fmla="*/ 2147483647 w 260"/>
                <a:gd name="T79" fmla="*/ 2147483647 h 435"/>
                <a:gd name="T80" fmla="*/ 2147483647 w 260"/>
                <a:gd name="T81" fmla="*/ 2147483647 h 435"/>
                <a:gd name="T82" fmla="*/ 2147483647 w 260"/>
                <a:gd name="T83" fmla="*/ 2147483647 h 435"/>
                <a:gd name="T84" fmla="*/ 2147483647 w 260"/>
                <a:gd name="T85" fmla="*/ 2147483647 h 435"/>
                <a:gd name="T86" fmla="*/ 2147483647 w 260"/>
                <a:gd name="T87" fmla="*/ 2147483647 h 435"/>
                <a:gd name="T88" fmla="*/ 2147483647 w 260"/>
                <a:gd name="T89" fmla="*/ 2147483647 h 435"/>
                <a:gd name="T90" fmla="*/ 2147483647 w 260"/>
                <a:gd name="T91" fmla="*/ 2147483647 h 435"/>
                <a:gd name="T92" fmla="*/ 2147483647 w 260"/>
                <a:gd name="T93" fmla="*/ 2147483647 h 435"/>
                <a:gd name="T94" fmla="*/ 2147483647 w 260"/>
                <a:gd name="T95" fmla="*/ 2147483647 h 435"/>
                <a:gd name="T96" fmla="*/ 2147483647 w 260"/>
                <a:gd name="T97" fmla="*/ 2147483647 h 435"/>
                <a:gd name="T98" fmla="*/ 2147483647 w 260"/>
                <a:gd name="T99" fmla="*/ 2147483647 h 435"/>
                <a:gd name="T100" fmla="*/ 2147483647 w 260"/>
                <a:gd name="T101" fmla="*/ 2147483647 h 435"/>
                <a:gd name="T102" fmla="*/ 2147483647 w 260"/>
                <a:gd name="T103" fmla="*/ 2147483647 h 435"/>
                <a:gd name="T104" fmla="*/ 2147483647 w 260"/>
                <a:gd name="T105" fmla="*/ 2147483647 h 435"/>
                <a:gd name="T106" fmla="*/ 2147483647 w 260"/>
                <a:gd name="T107" fmla="*/ 2147483647 h 435"/>
                <a:gd name="T108" fmla="*/ 2147483647 w 260"/>
                <a:gd name="T109" fmla="*/ 2147483647 h 435"/>
                <a:gd name="T110" fmla="*/ 2147483647 w 260"/>
                <a:gd name="T111" fmla="*/ 2147483647 h 435"/>
                <a:gd name="T112" fmla="*/ 2147483647 w 260"/>
                <a:gd name="T113" fmla="*/ 2147483647 h 435"/>
                <a:gd name="T114" fmla="*/ 2147483647 w 260"/>
                <a:gd name="T115" fmla="*/ 2147483647 h 435"/>
                <a:gd name="T116" fmla="*/ 2147483647 w 260"/>
                <a:gd name="T117" fmla="*/ 2147483647 h 435"/>
                <a:gd name="T118" fmla="*/ 2147483647 w 260"/>
                <a:gd name="T119" fmla="*/ 2147483647 h 435"/>
                <a:gd name="T120" fmla="*/ 2147483647 w 260"/>
                <a:gd name="T121" fmla="*/ 2147483647 h 43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60" h="435">
                  <a:moveTo>
                    <a:pt x="200" y="184"/>
                  </a:moveTo>
                  <a:cubicBezTo>
                    <a:pt x="222" y="165"/>
                    <a:pt x="236" y="137"/>
                    <a:pt x="236" y="106"/>
                  </a:cubicBezTo>
                  <a:cubicBezTo>
                    <a:pt x="236" y="83"/>
                    <a:pt x="229" y="62"/>
                    <a:pt x="216" y="44"/>
                  </a:cubicBezTo>
                  <a:cubicBezTo>
                    <a:pt x="213" y="40"/>
                    <a:pt x="208" y="40"/>
                    <a:pt x="205" y="42"/>
                  </a:cubicBezTo>
                  <a:cubicBezTo>
                    <a:pt x="201" y="45"/>
                    <a:pt x="200" y="50"/>
                    <a:pt x="203" y="53"/>
                  </a:cubicBezTo>
                  <a:cubicBezTo>
                    <a:pt x="214" y="69"/>
                    <a:pt x="220" y="87"/>
                    <a:pt x="220" y="106"/>
                  </a:cubicBezTo>
                  <a:cubicBezTo>
                    <a:pt x="220" y="155"/>
                    <a:pt x="179" y="195"/>
                    <a:pt x="130" y="195"/>
                  </a:cubicBezTo>
                  <a:cubicBezTo>
                    <a:pt x="80" y="195"/>
                    <a:pt x="40" y="155"/>
                    <a:pt x="40" y="106"/>
                  </a:cubicBezTo>
                  <a:cubicBezTo>
                    <a:pt x="40" y="56"/>
                    <a:pt x="80" y="16"/>
                    <a:pt x="130" y="16"/>
                  </a:cubicBezTo>
                  <a:cubicBezTo>
                    <a:pt x="149" y="16"/>
                    <a:pt x="167" y="22"/>
                    <a:pt x="182" y="33"/>
                  </a:cubicBezTo>
                  <a:cubicBezTo>
                    <a:pt x="186" y="35"/>
                    <a:pt x="191" y="34"/>
                    <a:pt x="193" y="31"/>
                  </a:cubicBezTo>
                  <a:cubicBezTo>
                    <a:pt x="196" y="27"/>
                    <a:pt x="195" y="22"/>
                    <a:pt x="192" y="20"/>
                  </a:cubicBezTo>
                  <a:cubicBezTo>
                    <a:pt x="174" y="7"/>
                    <a:pt x="152" y="0"/>
                    <a:pt x="130" y="0"/>
                  </a:cubicBezTo>
                  <a:cubicBezTo>
                    <a:pt x="72" y="0"/>
                    <a:pt x="24" y="47"/>
                    <a:pt x="24" y="106"/>
                  </a:cubicBezTo>
                  <a:cubicBezTo>
                    <a:pt x="24" y="137"/>
                    <a:pt x="38" y="165"/>
                    <a:pt x="60" y="184"/>
                  </a:cubicBezTo>
                  <a:cubicBezTo>
                    <a:pt x="33" y="199"/>
                    <a:pt x="0" y="228"/>
                    <a:pt x="0" y="278"/>
                  </a:cubicBezTo>
                  <a:cubicBezTo>
                    <a:pt x="0" y="367"/>
                    <a:pt x="0" y="367"/>
                    <a:pt x="0" y="367"/>
                  </a:cubicBezTo>
                  <a:cubicBezTo>
                    <a:pt x="0" y="388"/>
                    <a:pt x="16" y="406"/>
                    <a:pt x="36" y="409"/>
                  </a:cubicBezTo>
                  <a:cubicBezTo>
                    <a:pt x="36" y="416"/>
                    <a:pt x="36" y="416"/>
                    <a:pt x="36" y="416"/>
                  </a:cubicBezTo>
                  <a:cubicBezTo>
                    <a:pt x="36" y="426"/>
                    <a:pt x="45" y="435"/>
                    <a:pt x="55" y="435"/>
                  </a:cubicBezTo>
                  <a:cubicBezTo>
                    <a:pt x="205" y="435"/>
                    <a:pt x="205" y="435"/>
                    <a:pt x="205" y="435"/>
                  </a:cubicBezTo>
                  <a:cubicBezTo>
                    <a:pt x="215" y="435"/>
                    <a:pt x="224" y="426"/>
                    <a:pt x="224" y="416"/>
                  </a:cubicBezTo>
                  <a:cubicBezTo>
                    <a:pt x="224" y="409"/>
                    <a:pt x="224" y="409"/>
                    <a:pt x="224" y="409"/>
                  </a:cubicBezTo>
                  <a:cubicBezTo>
                    <a:pt x="244" y="406"/>
                    <a:pt x="260" y="388"/>
                    <a:pt x="260" y="367"/>
                  </a:cubicBezTo>
                  <a:cubicBezTo>
                    <a:pt x="260" y="278"/>
                    <a:pt x="260" y="278"/>
                    <a:pt x="260" y="278"/>
                  </a:cubicBezTo>
                  <a:cubicBezTo>
                    <a:pt x="260" y="228"/>
                    <a:pt x="227" y="199"/>
                    <a:pt x="200" y="184"/>
                  </a:cubicBezTo>
                  <a:close/>
                  <a:moveTo>
                    <a:pt x="208" y="416"/>
                  </a:moveTo>
                  <a:cubicBezTo>
                    <a:pt x="208" y="417"/>
                    <a:pt x="206" y="419"/>
                    <a:pt x="205" y="419"/>
                  </a:cubicBezTo>
                  <a:cubicBezTo>
                    <a:pt x="55" y="419"/>
                    <a:pt x="55" y="419"/>
                    <a:pt x="55" y="419"/>
                  </a:cubicBezTo>
                  <a:cubicBezTo>
                    <a:pt x="54" y="419"/>
                    <a:pt x="52" y="417"/>
                    <a:pt x="52" y="416"/>
                  </a:cubicBezTo>
                  <a:cubicBezTo>
                    <a:pt x="52" y="408"/>
                    <a:pt x="52" y="408"/>
                    <a:pt x="52" y="408"/>
                  </a:cubicBezTo>
                  <a:cubicBezTo>
                    <a:pt x="71" y="404"/>
                    <a:pt x="85" y="387"/>
                    <a:pt x="85" y="367"/>
                  </a:cubicBezTo>
                  <a:cubicBezTo>
                    <a:pt x="85" y="346"/>
                    <a:pt x="71" y="329"/>
                    <a:pt x="52" y="325"/>
                  </a:cubicBezTo>
                  <a:cubicBezTo>
                    <a:pt x="52" y="267"/>
                    <a:pt x="52" y="267"/>
                    <a:pt x="52" y="267"/>
                  </a:cubicBezTo>
                  <a:cubicBezTo>
                    <a:pt x="52" y="265"/>
                    <a:pt x="54" y="264"/>
                    <a:pt x="55" y="264"/>
                  </a:cubicBezTo>
                  <a:cubicBezTo>
                    <a:pt x="205" y="264"/>
                    <a:pt x="205" y="264"/>
                    <a:pt x="205" y="264"/>
                  </a:cubicBezTo>
                  <a:cubicBezTo>
                    <a:pt x="206" y="264"/>
                    <a:pt x="208" y="265"/>
                    <a:pt x="208" y="267"/>
                  </a:cubicBezTo>
                  <a:cubicBezTo>
                    <a:pt x="208" y="325"/>
                    <a:pt x="208" y="325"/>
                    <a:pt x="208" y="325"/>
                  </a:cubicBezTo>
                  <a:cubicBezTo>
                    <a:pt x="189" y="329"/>
                    <a:pt x="175" y="346"/>
                    <a:pt x="175" y="367"/>
                  </a:cubicBezTo>
                  <a:cubicBezTo>
                    <a:pt x="175" y="387"/>
                    <a:pt x="189" y="404"/>
                    <a:pt x="208" y="408"/>
                  </a:cubicBezTo>
                  <a:lnTo>
                    <a:pt x="208" y="416"/>
                  </a:lnTo>
                  <a:close/>
                  <a:moveTo>
                    <a:pt x="244" y="367"/>
                  </a:moveTo>
                  <a:cubicBezTo>
                    <a:pt x="244" y="382"/>
                    <a:pt x="232" y="393"/>
                    <a:pt x="218" y="393"/>
                  </a:cubicBezTo>
                  <a:cubicBezTo>
                    <a:pt x="203" y="393"/>
                    <a:pt x="191" y="382"/>
                    <a:pt x="191" y="367"/>
                  </a:cubicBezTo>
                  <a:cubicBezTo>
                    <a:pt x="191" y="354"/>
                    <a:pt x="201" y="340"/>
                    <a:pt x="216" y="340"/>
                  </a:cubicBezTo>
                  <a:cubicBezTo>
                    <a:pt x="220" y="340"/>
                    <a:pt x="224" y="337"/>
                    <a:pt x="224" y="332"/>
                  </a:cubicBezTo>
                  <a:cubicBezTo>
                    <a:pt x="224" y="267"/>
                    <a:pt x="224" y="267"/>
                    <a:pt x="224" y="267"/>
                  </a:cubicBezTo>
                  <a:cubicBezTo>
                    <a:pt x="224" y="256"/>
                    <a:pt x="215" y="248"/>
                    <a:pt x="205" y="248"/>
                  </a:cubicBezTo>
                  <a:cubicBezTo>
                    <a:pt x="55" y="248"/>
                    <a:pt x="55" y="248"/>
                    <a:pt x="55" y="248"/>
                  </a:cubicBezTo>
                  <a:cubicBezTo>
                    <a:pt x="45" y="248"/>
                    <a:pt x="36" y="256"/>
                    <a:pt x="36" y="267"/>
                  </a:cubicBezTo>
                  <a:cubicBezTo>
                    <a:pt x="36" y="332"/>
                    <a:pt x="36" y="332"/>
                    <a:pt x="36" y="332"/>
                  </a:cubicBezTo>
                  <a:cubicBezTo>
                    <a:pt x="36" y="337"/>
                    <a:pt x="40" y="340"/>
                    <a:pt x="44" y="340"/>
                  </a:cubicBezTo>
                  <a:cubicBezTo>
                    <a:pt x="59" y="340"/>
                    <a:pt x="69" y="354"/>
                    <a:pt x="69" y="367"/>
                  </a:cubicBezTo>
                  <a:cubicBezTo>
                    <a:pt x="69" y="382"/>
                    <a:pt x="57" y="393"/>
                    <a:pt x="42" y="393"/>
                  </a:cubicBezTo>
                  <a:cubicBezTo>
                    <a:pt x="28" y="393"/>
                    <a:pt x="16" y="382"/>
                    <a:pt x="16" y="367"/>
                  </a:cubicBezTo>
                  <a:cubicBezTo>
                    <a:pt x="16" y="278"/>
                    <a:pt x="16" y="278"/>
                    <a:pt x="16" y="278"/>
                  </a:cubicBezTo>
                  <a:cubicBezTo>
                    <a:pt x="16" y="232"/>
                    <a:pt x="50" y="207"/>
                    <a:pt x="74" y="195"/>
                  </a:cubicBezTo>
                  <a:cubicBezTo>
                    <a:pt x="90" y="205"/>
                    <a:pt x="109" y="211"/>
                    <a:pt x="130" y="211"/>
                  </a:cubicBezTo>
                  <a:cubicBezTo>
                    <a:pt x="151" y="211"/>
                    <a:pt x="170" y="205"/>
                    <a:pt x="186" y="195"/>
                  </a:cubicBezTo>
                  <a:cubicBezTo>
                    <a:pt x="210" y="207"/>
                    <a:pt x="244" y="232"/>
                    <a:pt x="244" y="278"/>
                  </a:cubicBezTo>
                  <a:lnTo>
                    <a:pt x="244" y="367"/>
                  </a:lnTo>
                  <a:close/>
                </a:path>
              </a:pathLst>
            </a:custGeom>
            <a:grpFill/>
            <a:ln>
              <a:noFill/>
            </a:ln>
          </p:spPr>
          <p:txBody>
            <a:bodyPr/>
            <a:lstStyle/>
            <a:p>
              <a:endParaRPr lang="sv-SE" dirty="0">
                <a:solidFill>
                  <a:srgbClr val="58585A"/>
                </a:solidFill>
              </a:endParaRPr>
            </a:p>
          </p:txBody>
        </p:sp>
        <p:grpSp>
          <p:nvGrpSpPr>
            <p:cNvPr id="91" name="Grupp 88">
              <a:extLst>
                <a:ext uri="{FF2B5EF4-FFF2-40B4-BE49-F238E27FC236}">
                  <a16:creationId xmlns:a16="http://schemas.microsoft.com/office/drawing/2014/main" id="{5DFD0007-0BA2-4BC2-B841-9656B5EE65E0}"/>
                </a:ext>
              </a:extLst>
            </p:cNvPr>
            <p:cNvGrpSpPr/>
            <p:nvPr/>
          </p:nvGrpSpPr>
          <p:grpSpPr>
            <a:xfrm>
              <a:off x="10809310" y="2757527"/>
              <a:ext cx="572819" cy="376623"/>
              <a:chOff x="-7432509" y="3214362"/>
              <a:chExt cx="645162" cy="424188"/>
            </a:xfrm>
            <a:grpFill/>
          </p:grpSpPr>
          <p:sp>
            <p:nvSpPr>
              <p:cNvPr id="112" name="Freeform 3">
                <a:extLst>
                  <a:ext uri="{FF2B5EF4-FFF2-40B4-BE49-F238E27FC236}">
                    <a16:creationId xmlns:a16="http://schemas.microsoft.com/office/drawing/2014/main" id="{D4208E3D-0215-4910-991B-F98C5285B74F}"/>
                  </a:ext>
                </a:extLst>
              </p:cNvPr>
              <p:cNvSpPr>
                <a:spLocks noChangeAspect="1" noEditPoints="1"/>
              </p:cNvSpPr>
              <p:nvPr/>
            </p:nvSpPr>
            <p:spPr bwMode="auto">
              <a:xfrm>
                <a:off x="-7432509" y="3406016"/>
                <a:ext cx="576835" cy="232534"/>
              </a:xfrm>
              <a:custGeom>
                <a:avLst/>
                <a:gdLst>
                  <a:gd name="T0" fmla="*/ 2147483647 w 398"/>
                  <a:gd name="T1" fmla="*/ 2147483647 h 160"/>
                  <a:gd name="T2" fmla="*/ 2147483647 w 398"/>
                  <a:gd name="T3" fmla="*/ 2147483647 h 160"/>
                  <a:gd name="T4" fmla="*/ 2147483647 w 398"/>
                  <a:gd name="T5" fmla="*/ 2147483647 h 160"/>
                  <a:gd name="T6" fmla="*/ 2147483647 w 398"/>
                  <a:gd name="T7" fmla="*/ 2147483647 h 160"/>
                  <a:gd name="T8" fmla="*/ 2147483647 w 398"/>
                  <a:gd name="T9" fmla="*/ 2147483647 h 160"/>
                  <a:gd name="T10" fmla="*/ 2147483647 w 398"/>
                  <a:gd name="T11" fmla="*/ 2147483647 h 160"/>
                  <a:gd name="T12" fmla="*/ 2147483647 w 398"/>
                  <a:gd name="T13" fmla="*/ 2147483647 h 160"/>
                  <a:gd name="T14" fmla="*/ 2147483647 w 398"/>
                  <a:gd name="T15" fmla="*/ 2147483647 h 160"/>
                  <a:gd name="T16" fmla="*/ 2147483647 w 398"/>
                  <a:gd name="T17" fmla="*/ 2147483647 h 160"/>
                  <a:gd name="T18" fmla="*/ 2147483647 w 398"/>
                  <a:gd name="T19" fmla="*/ 2147483647 h 160"/>
                  <a:gd name="T20" fmla="*/ 0 w 398"/>
                  <a:gd name="T21" fmla="*/ 2147483647 h 160"/>
                  <a:gd name="T22" fmla="*/ 2147483647 w 398"/>
                  <a:gd name="T23" fmla="*/ 2147483647 h 160"/>
                  <a:gd name="T24" fmla="*/ 2147483647 w 398"/>
                  <a:gd name="T25" fmla="*/ 2147483647 h 160"/>
                  <a:gd name="T26" fmla="*/ 2147483647 w 398"/>
                  <a:gd name="T27" fmla="*/ 2147483647 h 160"/>
                  <a:gd name="T28" fmla="*/ 2147483647 w 398"/>
                  <a:gd name="T29" fmla="*/ 2147483647 h 160"/>
                  <a:gd name="T30" fmla="*/ 2147483647 w 398"/>
                  <a:gd name="T31" fmla="*/ 2147483647 h 160"/>
                  <a:gd name="T32" fmla="*/ 2147483647 w 398"/>
                  <a:gd name="T33" fmla="*/ 2147483647 h 160"/>
                  <a:gd name="T34" fmla="*/ 2147483647 w 398"/>
                  <a:gd name="T35" fmla="*/ 2147483647 h 160"/>
                  <a:gd name="T36" fmla="*/ 2147483647 w 398"/>
                  <a:gd name="T37" fmla="*/ 2147483647 h 160"/>
                  <a:gd name="T38" fmla="*/ 2147483647 w 398"/>
                  <a:gd name="T39" fmla="*/ 2147483647 h 160"/>
                  <a:gd name="T40" fmla="*/ 2147483647 w 398"/>
                  <a:gd name="T41" fmla="*/ 2147483647 h 160"/>
                  <a:gd name="T42" fmla="*/ 2147483647 w 398"/>
                  <a:gd name="T43" fmla="*/ 2147483647 h 160"/>
                  <a:gd name="T44" fmla="*/ 2147483647 w 398"/>
                  <a:gd name="T45" fmla="*/ 2147483647 h 160"/>
                  <a:gd name="T46" fmla="*/ 2147483647 w 398"/>
                  <a:gd name="T47" fmla="*/ 2147483647 h 160"/>
                  <a:gd name="T48" fmla="*/ 2147483647 w 398"/>
                  <a:gd name="T49" fmla="*/ 2147483647 h 160"/>
                  <a:gd name="T50" fmla="*/ 2147483647 w 398"/>
                  <a:gd name="T51" fmla="*/ 2147483647 h 160"/>
                  <a:gd name="T52" fmla="*/ 2147483647 w 398"/>
                  <a:gd name="T53" fmla="*/ 2147483647 h 160"/>
                  <a:gd name="T54" fmla="*/ 2147483647 w 398"/>
                  <a:gd name="T55" fmla="*/ 2147483647 h 160"/>
                  <a:gd name="T56" fmla="*/ 2147483647 w 398"/>
                  <a:gd name="T57" fmla="*/ 2147483647 h 160"/>
                  <a:gd name="T58" fmla="*/ 2147483647 w 398"/>
                  <a:gd name="T59" fmla="*/ 2147483647 h 160"/>
                  <a:gd name="T60" fmla="*/ 2147483647 w 398"/>
                  <a:gd name="T61" fmla="*/ 2147483647 h 160"/>
                  <a:gd name="T62" fmla="*/ 2147483647 w 398"/>
                  <a:gd name="T63" fmla="*/ 2147483647 h 160"/>
                  <a:gd name="T64" fmla="*/ 2147483647 w 398"/>
                  <a:gd name="T65" fmla="*/ 2147483647 h 160"/>
                  <a:gd name="T66" fmla="*/ 2147483647 w 398"/>
                  <a:gd name="T67" fmla="*/ 2147483647 h 160"/>
                  <a:gd name="T68" fmla="*/ 2147483647 w 398"/>
                  <a:gd name="T69" fmla="*/ 2147483647 h 16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98" h="160">
                    <a:moveTo>
                      <a:pt x="352" y="51"/>
                    </a:moveTo>
                    <a:cubicBezTo>
                      <a:pt x="346" y="47"/>
                      <a:pt x="340" y="42"/>
                      <a:pt x="334" y="38"/>
                    </a:cubicBezTo>
                    <a:cubicBezTo>
                      <a:pt x="327" y="33"/>
                      <a:pt x="320" y="28"/>
                      <a:pt x="313" y="23"/>
                    </a:cubicBezTo>
                    <a:cubicBezTo>
                      <a:pt x="310" y="22"/>
                      <a:pt x="306" y="23"/>
                      <a:pt x="305" y="25"/>
                    </a:cubicBezTo>
                    <a:cubicBezTo>
                      <a:pt x="303" y="28"/>
                      <a:pt x="304" y="32"/>
                      <a:pt x="307" y="34"/>
                    </a:cubicBezTo>
                    <a:cubicBezTo>
                      <a:pt x="313" y="38"/>
                      <a:pt x="320" y="43"/>
                      <a:pt x="327" y="48"/>
                    </a:cubicBezTo>
                    <a:cubicBezTo>
                      <a:pt x="328" y="49"/>
                      <a:pt x="330" y="50"/>
                      <a:pt x="331" y="51"/>
                    </a:cubicBezTo>
                    <a:cubicBezTo>
                      <a:pt x="233" y="51"/>
                      <a:pt x="233" y="51"/>
                      <a:pt x="233" y="51"/>
                    </a:cubicBezTo>
                    <a:cubicBezTo>
                      <a:pt x="233" y="14"/>
                      <a:pt x="233" y="14"/>
                      <a:pt x="233" y="14"/>
                    </a:cubicBezTo>
                    <a:cubicBezTo>
                      <a:pt x="245" y="15"/>
                      <a:pt x="256" y="16"/>
                      <a:pt x="268" y="18"/>
                    </a:cubicBezTo>
                    <a:cubicBezTo>
                      <a:pt x="273" y="19"/>
                      <a:pt x="278" y="20"/>
                      <a:pt x="283" y="21"/>
                    </a:cubicBezTo>
                    <a:cubicBezTo>
                      <a:pt x="287" y="22"/>
                      <a:pt x="294" y="23"/>
                      <a:pt x="296" y="19"/>
                    </a:cubicBezTo>
                    <a:cubicBezTo>
                      <a:pt x="298" y="15"/>
                      <a:pt x="295" y="14"/>
                      <a:pt x="292" y="12"/>
                    </a:cubicBezTo>
                    <a:cubicBezTo>
                      <a:pt x="288" y="10"/>
                      <a:pt x="283" y="9"/>
                      <a:pt x="279" y="8"/>
                    </a:cubicBezTo>
                    <a:cubicBezTo>
                      <a:pt x="266" y="5"/>
                      <a:pt x="254" y="3"/>
                      <a:pt x="240" y="2"/>
                    </a:cubicBezTo>
                    <a:cubicBezTo>
                      <a:pt x="210" y="0"/>
                      <a:pt x="169" y="9"/>
                      <a:pt x="168" y="10"/>
                    </a:cubicBezTo>
                    <a:cubicBezTo>
                      <a:pt x="126" y="38"/>
                      <a:pt x="126" y="38"/>
                      <a:pt x="126" y="38"/>
                    </a:cubicBezTo>
                    <a:cubicBezTo>
                      <a:pt x="108" y="51"/>
                      <a:pt x="108" y="51"/>
                      <a:pt x="108" y="51"/>
                    </a:cubicBezTo>
                    <a:cubicBezTo>
                      <a:pt x="56" y="56"/>
                      <a:pt x="56" y="56"/>
                      <a:pt x="56" y="56"/>
                    </a:cubicBezTo>
                    <a:cubicBezTo>
                      <a:pt x="44" y="58"/>
                      <a:pt x="33" y="61"/>
                      <a:pt x="24" y="69"/>
                    </a:cubicBezTo>
                    <a:cubicBezTo>
                      <a:pt x="17" y="74"/>
                      <a:pt x="12" y="81"/>
                      <a:pt x="8" y="88"/>
                    </a:cubicBezTo>
                    <a:cubicBezTo>
                      <a:pt x="4" y="96"/>
                      <a:pt x="0" y="105"/>
                      <a:pt x="0" y="114"/>
                    </a:cubicBezTo>
                    <a:cubicBezTo>
                      <a:pt x="0" y="115"/>
                      <a:pt x="0" y="125"/>
                      <a:pt x="6" y="131"/>
                    </a:cubicBezTo>
                    <a:cubicBezTo>
                      <a:pt x="9" y="134"/>
                      <a:pt x="12" y="136"/>
                      <a:pt x="16" y="136"/>
                    </a:cubicBezTo>
                    <a:cubicBezTo>
                      <a:pt x="47" y="136"/>
                      <a:pt x="47" y="136"/>
                      <a:pt x="47" y="136"/>
                    </a:cubicBezTo>
                    <a:cubicBezTo>
                      <a:pt x="50" y="150"/>
                      <a:pt x="62" y="160"/>
                      <a:pt x="77" y="160"/>
                    </a:cubicBezTo>
                    <a:cubicBezTo>
                      <a:pt x="91" y="160"/>
                      <a:pt x="103" y="151"/>
                      <a:pt x="107" y="138"/>
                    </a:cubicBezTo>
                    <a:cubicBezTo>
                      <a:pt x="274" y="138"/>
                      <a:pt x="274" y="138"/>
                      <a:pt x="274" y="138"/>
                    </a:cubicBezTo>
                    <a:cubicBezTo>
                      <a:pt x="277" y="151"/>
                      <a:pt x="289" y="160"/>
                      <a:pt x="303" y="160"/>
                    </a:cubicBezTo>
                    <a:cubicBezTo>
                      <a:pt x="317" y="160"/>
                      <a:pt x="329" y="151"/>
                      <a:pt x="333" y="138"/>
                    </a:cubicBezTo>
                    <a:cubicBezTo>
                      <a:pt x="356" y="138"/>
                      <a:pt x="356" y="138"/>
                      <a:pt x="356" y="138"/>
                    </a:cubicBezTo>
                    <a:cubicBezTo>
                      <a:pt x="357" y="138"/>
                      <a:pt x="357" y="138"/>
                      <a:pt x="357" y="138"/>
                    </a:cubicBezTo>
                    <a:cubicBezTo>
                      <a:pt x="361" y="138"/>
                      <a:pt x="371" y="137"/>
                      <a:pt x="379" y="125"/>
                    </a:cubicBezTo>
                    <a:cubicBezTo>
                      <a:pt x="398" y="93"/>
                      <a:pt x="381" y="64"/>
                      <a:pt x="375" y="58"/>
                    </a:cubicBezTo>
                    <a:cubicBezTo>
                      <a:pt x="370" y="53"/>
                      <a:pt x="353" y="52"/>
                      <a:pt x="352" y="51"/>
                    </a:cubicBezTo>
                    <a:close/>
                    <a:moveTo>
                      <a:pt x="173" y="21"/>
                    </a:moveTo>
                    <a:cubicBezTo>
                      <a:pt x="190" y="17"/>
                      <a:pt x="206" y="15"/>
                      <a:pt x="221" y="14"/>
                    </a:cubicBezTo>
                    <a:cubicBezTo>
                      <a:pt x="221" y="51"/>
                      <a:pt x="221" y="51"/>
                      <a:pt x="221" y="51"/>
                    </a:cubicBezTo>
                    <a:cubicBezTo>
                      <a:pt x="129" y="51"/>
                      <a:pt x="129" y="51"/>
                      <a:pt x="129" y="51"/>
                    </a:cubicBezTo>
                    <a:cubicBezTo>
                      <a:pt x="130" y="50"/>
                      <a:pt x="133" y="48"/>
                      <a:pt x="133" y="48"/>
                    </a:cubicBezTo>
                    <a:lnTo>
                      <a:pt x="173" y="21"/>
                    </a:lnTo>
                    <a:close/>
                    <a:moveTo>
                      <a:pt x="77" y="148"/>
                    </a:moveTo>
                    <a:cubicBezTo>
                      <a:pt x="67" y="148"/>
                      <a:pt x="58" y="139"/>
                      <a:pt x="58" y="129"/>
                    </a:cubicBezTo>
                    <a:cubicBezTo>
                      <a:pt x="58" y="118"/>
                      <a:pt x="67" y="110"/>
                      <a:pt x="77" y="110"/>
                    </a:cubicBezTo>
                    <a:cubicBezTo>
                      <a:pt x="88" y="110"/>
                      <a:pt x="96" y="118"/>
                      <a:pt x="96" y="129"/>
                    </a:cubicBezTo>
                    <a:cubicBezTo>
                      <a:pt x="96" y="139"/>
                      <a:pt x="88" y="148"/>
                      <a:pt x="77" y="148"/>
                    </a:cubicBezTo>
                    <a:close/>
                    <a:moveTo>
                      <a:pt x="303" y="148"/>
                    </a:moveTo>
                    <a:cubicBezTo>
                      <a:pt x="293" y="148"/>
                      <a:pt x="284" y="139"/>
                      <a:pt x="284" y="129"/>
                    </a:cubicBezTo>
                    <a:cubicBezTo>
                      <a:pt x="284" y="118"/>
                      <a:pt x="293" y="110"/>
                      <a:pt x="303" y="110"/>
                    </a:cubicBezTo>
                    <a:cubicBezTo>
                      <a:pt x="314" y="110"/>
                      <a:pt x="322" y="118"/>
                      <a:pt x="322" y="129"/>
                    </a:cubicBezTo>
                    <a:cubicBezTo>
                      <a:pt x="322" y="138"/>
                      <a:pt x="318" y="145"/>
                      <a:pt x="309" y="147"/>
                    </a:cubicBezTo>
                    <a:cubicBezTo>
                      <a:pt x="307" y="148"/>
                      <a:pt x="305" y="148"/>
                      <a:pt x="303" y="148"/>
                    </a:cubicBezTo>
                    <a:close/>
                    <a:moveTo>
                      <a:pt x="368" y="119"/>
                    </a:moveTo>
                    <a:cubicBezTo>
                      <a:pt x="364" y="127"/>
                      <a:pt x="358" y="126"/>
                      <a:pt x="357" y="126"/>
                    </a:cubicBezTo>
                    <a:cubicBezTo>
                      <a:pt x="334" y="126"/>
                      <a:pt x="334" y="126"/>
                      <a:pt x="334" y="126"/>
                    </a:cubicBezTo>
                    <a:cubicBezTo>
                      <a:pt x="333" y="110"/>
                      <a:pt x="319" y="98"/>
                      <a:pt x="303" y="98"/>
                    </a:cubicBezTo>
                    <a:cubicBezTo>
                      <a:pt x="287" y="98"/>
                      <a:pt x="274" y="110"/>
                      <a:pt x="272" y="126"/>
                    </a:cubicBezTo>
                    <a:cubicBezTo>
                      <a:pt x="108" y="126"/>
                      <a:pt x="108" y="126"/>
                      <a:pt x="108" y="126"/>
                    </a:cubicBezTo>
                    <a:cubicBezTo>
                      <a:pt x="106" y="110"/>
                      <a:pt x="93" y="98"/>
                      <a:pt x="77" y="98"/>
                    </a:cubicBezTo>
                    <a:cubicBezTo>
                      <a:pt x="62" y="98"/>
                      <a:pt x="49" y="109"/>
                      <a:pt x="47" y="124"/>
                    </a:cubicBezTo>
                    <a:cubicBezTo>
                      <a:pt x="16" y="124"/>
                      <a:pt x="16" y="124"/>
                      <a:pt x="16" y="124"/>
                    </a:cubicBezTo>
                    <a:cubicBezTo>
                      <a:pt x="12" y="124"/>
                      <a:pt x="12" y="114"/>
                      <a:pt x="12" y="114"/>
                    </a:cubicBezTo>
                    <a:cubicBezTo>
                      <a:pt x="12" y="106"/>
                      <a:pt x="16" y="97"/>
                      <a:pt x="21" y="90"/>
                    </a:cubicBezTo>
                    <a:cubicBezTo>
                      <a:pt x="25" y="83"/>
                      <a:pt x="32" y="77"/>
                      <a:pt x="39" y="73"/>
                    </a:cubicBezTo>
                    <a:cubicBezTo>
                      <a:pt x="45" y="70"/>
                      <a:pt x="51" y="69"/>
                      <a:pt x="57" y="68"/>
                    </a:cubicBezTo>
                    <a:cubicBezTo>
                      <a:pt x="110" y="63"/>
                      <a:pt x="110" y="63"/>
                      <a:pt x="110" y="63"/>
                    </a:cubicBezTo>
                    <a:cubicBezTo>
                      <a:pt x="349" y="63"/>
                      <a:pt x="349" y="63"/>
                      <a:pt x="349" y="63"/>
                    </a:cubicBezTo>
                    <a:cubicBezTo>
                      <a:pt x="350" y="63"/>
                      <a:pt x="350" y="63"/>
                      <a:pt x="350" y="63"/>
                    </a:cubicBezTo>
                    <a:cubicBezTo>
                      <a:pt x="357" y="63"/>
                      <a:pt x="365" y="65"/>
                      <a:pt x="367" y="67"/>
                    </a:cubicBezTo>
                    <a:cubicBezTo>
                      <a:pt x="371" y="70"/>
                      <a:pt x="385" y="93"/>
                      <a:pt x="368" y="119"/>
                    </a:cubicBezTo>
                    <a:close/>
                  </a:path>
                </a:pathLst>
              </a:custGeom>
              <a:grpFill/>
              <a:ln>
                <a:noFill/>
              </a:ln>
            </p:spPr>
            <p:txBody>
              <a:bodyPr/>
              <a:lstStyle/>
              <a:p>
                <a:endParaRPr lang="sv-SE" dirty="0">
                  <a:solidFill>
                    <a:srgbClr val="58585A"/>
                  </a:solidFill>
                </a:endParaRPr>
              </a:p>
            </p:txBody>
          </p:sp>
          <p:sp>
            <p:nvSpPr>
              <p:cNvPr id="113" name="Freeform 3">
                <a:extLst>
                  <a:ext uri="{FF2B5EF4-FFF2-40B4-BE49-F238E27FC236}">
                    <a16:creationId xmlns:a16="http://schemas.microsoft.com/office/drawing/2014/main" id="{87F4E94E-032B-4AB6-ADEB-3FD4AE157B1F}"/>
                  </a:ext>
                </a:extLst>
              </p:cNvPr>
              <p:cNvSpPr>
                <a:spLocks noChangeAspect="1" noEditPoints="1"/>
              </p:cNvSpPr>
              <p:nvPr/>
            </p:nvSpPr>
            <p:spPr bwMode="auto">
              <a:xfrm>
                <a:off x="-7039717" y="3214362"/>
                <a:ext cx="252370" cy="219205"/>
              </a:xfrm>
              <a:custGeom>
                <a:avLst/>
                <a:gdLst>
                  <a:gd name="T0" fmla="*/ 2147483647 w 338"/>
                  <a:gd name="T1" fmla="*/ 2147483647 h 294"/>
                  <a:gd name="T2" fmla="*/ 2147483647 w 338"/>
                  <a:gd name="T3" fmla="*/ 2147483647 h 294"/>
                  <a:gd name="T4" fmla="*/ 2147483647 w 338"/>
                  <a:gd name="T5" fmla="*/ 2147483647 h 294"/>
                  <a:gd name="T6" fmla="*/ 2147483647 w 338"/>
                  <a:gd name="T7" fmla="*/ 2147483647 h 294"/>
                  <a:gd name="T8" fmla="*/ 2147483647 w 338"/>
                  <a:gd name="T9" fmla="*/ 2147483647 h 294"/>
                  <a:gd name="T10" fmla="*/ 2147483647 w 338"/>
                  <a:gd name="T11" fmla="*/ 2147483647 h 294"/>
                  <a:gd name="T12" fmla="*/ 2147483647 w 338"/>
                  <a:gd name="T13" fmla="*/ 2147483647 h 294"/>
                  <a:gd name="T14" fmla="*/ 2147483647 w 338"/>
                  <a:gd name="T15" fmla="*/ 2147483647 h 294"/>
                  <a:gd name="T16" fmla="*/ 2147483647 w 338"/>
                  <a:gd name="T17" fmla="*/ 2147483647 h 294"/>
                  <a:gd name="T18" fmla="*/ 2147483647 w 338"/>
                  <a:gd name="T19" fmla="*/ 2147483647 h 294"/>
                  <a:gd name="T20" fmla="*/ 2147483647 w 338"/>
                  <a:gd name="T21" fmla="*/ 2147483647 h 294"/>
                  <a:gd name="T22" fmla="*/ 2147483647 w 338"/>
                  <a:gd name="T23" fmla="*/ 2147483647 h 294"/>
                  <a:gd name="T24" fmla="*/ 2147483647 w 338"/>
                  <a:gd name="T25" fmla="*/ 2147483647 h 294"/>
                  <a:gd name="T26" fmla="*/ 2147483647 w 338"/>
                  <a:gd name="T27" fmla="*/ 2147483647 h 294"/>
                  <a:gd name="T28" fmla="*/ 2147483647 w 338"/>
                  <a:gd name="T29" fmla="*/ 2147483647 h 294"/>
                  <a:gd name="T30" fmla="*/ 2147483647 w 338"/>
                  <a:gd name="T31" fmla="*/ 2147483647 h 294"/>
                  <a:gd name="T32" fmla="*/ 2147483647 w 338"/>
                  <a:gd name="T33" fmla="*/ 2147483647 h 294"/>
                  <a:gd name="T34" fmla="*/ 2147483647 w 338"/>
                  <a:gd name="T35" fmla="*/ 2147483647 h 294"/>
                  <a:gd name="T36" fmla="*/ 2147483647 w 338"/>
                  <a:gd name="T37" fmla="*/ 2147483647 h 294"/>
                  <a:gd name="T38" fmla="*/ 2147483647 w 338"/>
                  <a:gd name="T39" fmla="*/ 2147483647 h 294"/>
                  <a:gd name="T40" fmla="*/ 2147483647 w 338"/>
                  <a:gd name="T41" fmla="*/ 2147483647 h 294"/>
                  <a:gd name="T42" fmla="*/ 2147483647 w 338"/>
                  <a:gd name="T43" fmla="*/ 2147483647 h 294"/>
                  <a:gd name="T44" fmla="*/ 2147483647 w 338"/>
                  <a:gd name="T45" fmla="*/ 2147483647 h 294"/>
                  <a:gd name="T46" fmla="*/ 2147483647 w 338"/>
                  <a:gd name="T47" fmla="*/ 2147483647 h 294"/>
                  <a:gd name="T48" fmla="*/ 2147483647 w 338"/>
                  <a:gd name="T49" fmla="*/ 2147483647 h 294"/>
                  <a:gd name="T50" fmla="*/ 2147483647 w 338"/>
                  <a:gd name="T51" fmla="*/ 2147483647 h 294"/>
                  <a:gd name="T52" fmla="*/ 2147483647 w 338"/>
                  <a:gd name="T53" fmla="*/ 2147483647 h 294"/>
                  <a:gd name="T54" fmla="*/ 2147483647 w 338"/>
                  <a:gd name="T55" fmla="*/ 2147483647 h 294"/>
                  <a:gd name="T56" fmla="*/ 2147483647 w 338"/>
                  <a:gd name="T57" fmla="*/ 2147483647 h 294"/>
                  <a:gd name="T58" fmla="*/ 2147483647 w 338"/>
                  <a:gd name="T59" fmla="*/ 2147483647 h 294"/>
                  <a:gd name="T60" fmla="*/ 2147483647 w 338"/>
                  <a:gd name="T61" fmla="*/ 2147483647 h 294"/>
                  <a:gd name="T62" fmla="*/ 2147483647 w 338"/>
                  <a:gd name="T63" fmla="*/ 2147483647 h 294"/>
                  <a:gd name="T64" fmla="*/ 2147483647 w 338"/>
                  <a:gd name="T65" fmla="*/ 2147483647 h 294"/>
                  <a:gd name="T66" fmla="*/ 2147483647 w 338"/>
                  <a:gd name="T67" fmla="*/ 2147483647 h 294"/>
                  <a:gd name="T68" fmla="*/ 2147483647 w 338"/>
                  <a:gd name="T69" fmla="*/ 2147483647 h 294"/>
                  <a:gd name="T70" fmla="*/ 2147483647 w 338"/>
                  <a:gd name="T71" fmla="*/ 2147483647 h 294"/>
                  <a:gd name="T72" fmla="*/ 2147483647 w 338"/>
                  <a:gd name="T73" fmla="*/ 2147483647 h 294"/>
                  <a:gd name="T74" fmla="*/ 2147483647 w 338"/>
                  <a:gd name="T75" fmla="*/ 2147483647 h 294"/>
                  <a:gd name="T76" fmla="*/ 2147483647 w 338"/>
                  <a:gd name="T77" fmla="*/ 0 h 294"/>
                  <a:gd name="T78" fmla="*/ 2147483647 w 338"/>
                  <a:gd name="T79" fmla="*/ 2147483647 h 294"/>
                  <a:gd name="T80" fmla="*/ 2147483647 w 338"/>
                  <a:gd name="T81" fmla="*/ 2147483647 h 294"/>
                  <a:gd name="T82" fmla="*/ 2147483647 w 338"/>
                  <a:gd name="T83" fmla="*/ 2147483647 h 294"/>
                  <a:gd name="T84" fmla="*/ 2147483647 w 338"/>
                  <a:gd name="T85" fmla="*/ 2147483647 h 294"/>
                  <a:gd name="T86" fmla="*/ 2147483647 w 338"/>
                  <a:gd name="T87" fmla="*/ 2147483647 h 294"/>
                  <a:gd name="T88" fmla="*/ 2147483647 w 338"/>
                  <a:gd name="T89" fmla="*/ 2147483647 h 294"/>
                  <a:gd name="T90" fmla="*/ 2147483647 w 338"/>
                  <a:gd name="T91" fmla="*/ 2147483647 h 294"/>
                  <a:gd name="T92" fmla="*/ 2147483647 w 338"/>
                  <a:gd name="T93" fmla="*/ 2147483647 h 29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38" h="294">
                    <a:moveTo>
                      <a:pt x="169" y="136"/>
                    </a:moveTo>
                    <a:cubicBezTo>
                      <a:pt x="144" y="136"/>
                      <a:pt x="118" y="146"/>
                      <a:pt x="99" y="165"/>
                    </a:cubicBezTo>
                    <a:cubicBezTo>
                      <a:pt x="96" y="168"/>
                      <a:pt x="96" y="173"/>
                      <a:pt x="99" y="176"/>
                    </a:cubicBezTo>
                    <a:cubicBezTo>
                      <a:pt x="102" y="180"/>
                      <a:pt x="107" y="180"/>
                      <a:pt x="110" y="176"/>
                    </a:cubicBezTo>
                    <a:cubicBezTo>
                      <a:pt x="110" y="176"/>
                      <a:pt x="110" y="176"/>
                      <a:pt x="110" y="176"/>
                    </a:cubicBezTo>
                    <a:cubicBezTo>
                      <a:pt x="127" y="160"/>
                      <a:pt x="148" y="152"/>
                      <a:pt x="169" y="152"/>
                    </a:cubicBezTo>
                    <a:cubicBezTo>
                      <a:pt x="190" y="152"/>
                      <a:pt x="212" y="160"/>
                      <a:pt x="228" y="176"/>
                    </a:cubicBezTo>
                    <a:cubicBezTo>
                      <a:pt x="229" y="178"/>
                      <a:pt x="232" y="179"/>
                      <a:pt x="234" y="179"/>
                    </a:cubicBezTo>
                    <a:cubicBezTo>
                      <a:pt x="236" y="179"/>
                      <a:pt x="238" y="178"/>
                      <a:pt x="239" y="176"/>
                    </a:cubicBezTo>
                    <a:cubicBezTo>
                      <a:pt x="242" y="173"/>
                      <a:pt x="242" y="168"/>
                      <a:pt x="239" y="165"/>
                    </a:cubicBezTo>
                    <a:cubicBezTo>
                      <a:pt x="220" y="146"/>
                      <a:pt x="194" y="136"/>
                      <a:pt x="169" y="136"/>
                    </a:cubicBezTo>
                    <a:close/>
                    <a:moveTo>
                      <a:pt x="169" y="68"/>
                    </a:moveTo>
                    <a:cubicBezTo>
                      <a:pt x="126" y="68"/>
                      <a:pt x="84" y="84"/>
                      <a:pt x="51" y="117"/>
                    </a:cubicBezTo>
                    <a:cubicBezTo>
                      <a:pt x="48" y="120"/>
                      <a:pt x="48" y="125"/>
                      <a:pt x="51" y="128"/>
                    </a:cubicBezTo>
                    <a:cubicBezTo>
                      <a:pt x="53" y="130"/>
                      <a:pt x="55" y="131"/>
                      <a:pt x="57" y="131"/>
                    </a:cubicBezTo>
                    <a:cubicBezTo>
                      <a:pt x="59" y="131"/>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39" y="217"/>
                    </a:moveTo>
                    <a:cubicBezTo>
                      <a:pt x="123" y="234"/>
                      <a:pt x="123" y="261"/>
                      <a:pt x="139" y="277"/>
                    </a:cubicBezTo>
                    <a:cubicBezTo>
                      <a:pt x="156" y="294"/>
                      <a:pt x="183" y="294"/>
                      <a:pt x="199" y="277"/>
                    </a:cubicBezTo>
                    <a:cubicBezTo>
                      <a:pt x="216" y="261"/>
                      <a:pt x="216" y="234"/>
                      <a:pt x="199" y="217"/>
                    </a:cubicBezTo>
                    <a:cubicBezTo>
                      <a:pt x="183" y="201"/>
                      <a:pt x="156" y="201"/>
                      <a:pt x="139" y="217"/>
                    </a:cubicBezTo>
                    <a:close/>
                    <a:moveTo>
                      <a:pt x="334" y="66"/>
                    </a:moveTo>
                    <a:cubicBezTo>
                      <a:pt x="330" y="62"/>
                      <a:pt x="326" y="59"/>
                      <a:pt x="321" y="55"/>
                    </a:cubicBezTo>
                    <a:cubicBezTo>
                      <a:pt x="319" y="54"/>
                      <a:pt x="318" y="53"/>
                      <a:pt x="316" y="51"/>
                    </a:cubicBezTo>
                    <a:cubicBezTo>
                      <a:pt x="313" y="49"/>
                      <a:pt x="308" y="49"/>
                      <a:pt x="305" y="53"/>
                    </a:cubicBezTo>
                    <a:cubicBezTo>
                      <a:pt x="302" y="56"/>
                      <a:pt x="303" y="61"/>
                      <a:pt x="306" y="64"/>
                    </a:cubicBezTo>
                    <a:cubicBezTo>
                      <a:pt x="308" y="65"/>
                      <a:pt x="310" y="67"/>
                      <a:pt x="311" y="68"/>
                    </a:cubicBezTo>
                    <a:cubicBezTo>
                      <a:pt x="316" y="71"/>
                      <a:pt x="320" y="75"/>
                      <a:pt x="323" y="78"/>
                    </a:cubicBezTo>
                    <a:cubicBezTo>
                      <a:pt x="325" y="79"/>
                      <a:pt x="327" y="80"/>
                      <a:pt x="329" y="80"/>
                    </a:cubicBezTo>
                    <a:cubicBezTo>
                      <a:pt x="331" y="80"/>
                      <a:pt x="333" y="79"/>
                      <a:pt x="335" y="78"/>
                    </a:cubicBezTo>
                    <a:cubicBezTo>
                      <a:pt x="338" y="74"/>
                      <a:pt x="338" y="69"/>
                      <a:pt x="334" y="66"/>
                    </a:cubicBezTo>
                    <a:close/>
                    <a:moveTo>
                      <a:pt x="290" y="33"/>
                    </a:moveTo>
                    <a:cubicBezTo>
                      <a:pt x="253" y="11"/>
                      <a:pt x="212" y="0"/>
                      <a:pt x="169" y="0"/>
                    </a:cubicBezTo>
                    <a:cubicBezTo>
                      <a:pt x="107" y="0"/>
                      <a:pt x="49" y="24"/>
                      <a:pt x="4" y="66"/>
                    </a:cubicBezTo>
                    <a:cubicBezTo>
                      <a:pt x="1" y="69"/>
                      <a:pt x="0" y="74"/>
                      <a:pt x="4" y="78"/>
                    </a:cubicBezTo>
                    <a:cubicBezTo>
                      <a:pt x="5" y="79"/>
                      <a:pt x="7" y="80"/>
                      <a:pt x="9" y="80"/>
                    </a:cubicBezTo>
                    <a:cubicBezTo>
                      <a:pt x="11" y="80"/>
                      <a:pt x="13" y="79"/>
                      <a:pt x="15" y="78"/>
                    </a:cubicBezTo>
                    <a:cubicBezTo>
                      <a:pt x="57" y="38"/>
                      <a:pt x="111" y="16"/>
                      <a:pt x="169" y="16"/>
                    </a:cubicBezTo>
                    <a:cubicBezTo>
                      <a:pt x="209" y="16"/>
                      <a:pt x="248" y="27"/>
                      <a:pt x="282" y="46"/>
                    </a:cubicBezTo>
                    <a:cubicBezTo>
                      <a:pt x="285" y="49"/>
                      <a:pt x="290" y="47"/>
                      <a:pt x="293" y="44"/>
                    </a:cubicBezTo>
                    <a:cubicBezTo>
                      <a:pt x="295" y="40"/>
                      <a:pt x="294" y="35"/>
                      <a:pt x="290" y="33"/>
                    </a:cubicBezTo>
                    <a:close/>
                  </a:path>
                </a:pathLst>
              </a:custGeom>
              <a:grpFill/>
              <a:ln>
                <a:noFill/>
              </a:ln>
            </p:spPr>
            <p:txBody>
              <a:bodyPr/>
              <a:lstStyle/>
              <a:p>
                <a:endParaRPr lang="sv-SE" dirty="0">
                  <a:solidFill>
                    <a:srgbClr val="58585A"/>
                  </a:solidFill>
                </a:endParaRPr>
              </a:p>
            </p:txBody>
          </p:sp>
        </p:grpSp>
        <p:grpSp>
          <p:nvGrpSpPr>
            <p:cNvPr id="92" name="Grupp 8">
              <a:extLst>
                <a:ext uri="{FF2B5EF4-FFF2-40B4-BE49-F238E27FC236}">
                  <a16:creationId xmlns:a16="http://schemas.microsoft.com/office/drawing/2014/main" id="{27E96BA5-B886-44AB-BCE6-90723F7CC5A2}"/>
                </a:ext>
              </a:extLst>
            </p:cNvPr>
            <p:cNvGrpSpPr/>
            <p:nvPr/>
          </p:nvGrpSpPr>
          <p:grpSpPr>
            <a:xfrm>
              <a:off x="9409913" y="2312212"/>
              <a:ext cx="742000" cy="865795"/>
              <a:chOff x="3736975" y="768351"/>
              <a:chExt cx="1006476" cy="1174395"/>
            </a:xfrm>
            <a:grpFill/>
          </p:grpSpPr>
          <p:sp>
            <p:nvSpPr>
              <p:cNvPr id="109" name="Freeform 3">
                <a:extLst>
                  <a:ext uri="{FF2B5EF4-FFF2-40B4-BE49-F238E27FC236}">
                    <a16:creationId xmlns:a16="http://schemas.microsoft.com/office/drawing/2014/main" id="{D1FB9644-970B-43E0-BC09-E1D77355A077}"/>
                  </a:ext>
                </a:extLst>
              </p:cNvPr>
              <p:cNvSpPr>
                <a:spLocks noChangeAspect="1" noEditPoints="1"/>
              </p:cNvSpPr>
              <p:nvPr/>
            </p:nvSpPr>
            <p:spPr bwMode="auto">
              <a:xfrm>
                <a:off x="3736975" y="768351"/>
                <a:ext cx="358775" cy="571896"/>
              </a:xfrm>
              <a:custGeom>
                <a:avLst/>
                <a:gdLst>
                  <a:gd name="T0" fmla="*/ 2147483647 w 241"/>
                  <a:gd name="T1" fmla="*/ 2147483647 h 384"/>
                  <a:gd name="T2" fmla="*/ 2147483647 w 241"/>
                  <a:gd name="T3" fmla="*/ 2147483647 h 384"/>
                  <a:gd name="T4" fmla="*/ 2147483647 w 241"/>
                  <a:gd name="T5" fmla="*/ 2147483647 h 384"/>
                  <a:gd name="T6" fmla="*/ 2147483647 w 241"/>
                  <a:gd name="T7" fmla="*/ 2147483647 h 384"/>
                  <a:gd name="T8" fmla="*/ 2147483647 w 241"/>
                  <a:gd name="T9" fmla="*/ 2147483647 h 384"/>
                  <a:gd name="T10" fmla="*/ 2147483647 w 241"/>
                  <a:gd name="T11" fmla="*/ 2147483647 h 384"/>
                  <a:gd name="T12" fmla="*/ 2147483647 w 241"/>
                  <a:gd name="T13" fmla="*/ 2147483647 h 384"/>
                  <a:gd name="T14" fmla="*/ 2147483647 w 241"/>
                  <a:gd name="T15" fmla="*/ 0 h 384"/>
                  <a:gd name="T16" fmla="*/ 0 w 241"/>
                  <a:gd name="T17" fmla="*/ 2147483647 h 384"/>
                  <a:gd name="T18" fmla="*/ 2147483647 w 241"/>
                  <a:gd name="T19" fmla="*/ 2147483647 h 384"/>
                  <a:gd name="T20" fmla="*/ 2147483647 w 241"/>
                  <a:gd name="T21" fmla="*/ 2147483647 h 384"/>
                  <a:gd name="T22" fmla="*/ 2147483647 w 241"/>
                  <a:gd name="T23" fmla="*/ 2147483647 h 384"/>
                  <a:gd name="T24" fmla="*/ 2147483647 w 241"/>
                  <a:gd name="T25" fmla="*/ 2147483647 h 384"/>
                  <a:gd name="T26" fmla="*/ 2147483647 w 241"/>
                  <a:gd name="T27" fmla="*/ 2147483647 h 384"/>
                  <a:gd name="T28" fmla="*/ 2147483647 w 241"/>
                  <a:gd name="T29" fmla="*/ 2147483647 h 384"/>
                  <a:gd name="T30" fmla="*/ 2147483647 w 241"/>
                  <a:gd name="T31" fmla="*/ 2147483647 h 384"/>
                  <a:gd name="T32" fmla="*/ 2147483647 w 241"/>
                  <a:gd name="T33" fmla="*/ 2147483647 h 384"/>
                  <a:gd name="T34" fmla="*/ 2147483647 w 241"/>
                  <a:gd name="T35" fmla="*/ 2147483647 h 384"/>
                  <a:gd name="T36" fmla="*/ 2147483647 w 241"/>
                  <a:gd name="T37" fmla="*/ 2147483647 h 384"/>
                  <a:gd name="T38" fmla="*/ 2147483647 w 241"/>
                  <a:gd name="T39" fmla="*/ 2147483647 h 384"/>
                  <a:gd name="T40" fmla="*/ 2147483647 w 241"/>
                  <a:gd name="T41" fmla="*/ 2147483647 h 384"/>
                  <a:gd name="T42" fmla="*/ 2147483647 w 241"/>
                  <a:gd name="T43" fmla="*/ 2147483647 h 384"/>
                  <a:gd name="T44" fmla="*/ 2147483647 w 241"/>
                  <a:gd name="T45" fmla="*/ 2147483647 h 384"/>
                  <a:gd name="T46" fmla="*/ 2147483647 w 241"/>
                  <a:gd name="T47" fmla="*/ 2147483647 h 384"/>
                  <a:gd name="T48" fmla="*/ 2147483647 w 241"/>
                  <a:gd name="T49" fmla="*/ 2147483647 h 384"/>
                  <a:gd name="T50" fmla="*/ 2147483647 w 241"/>
                  <a:gd name="T51" fmla="*/ 2147483647 h 384"/>
                  <a:gd name="T52" fmla="*/ 2147483647 w 241"/>
                  <a:gd name="T53" fmla="*/ 2147483647 h 384"/>
                  <a:gd name="T54" fmla="*/ 2147483647 w 241"/>
                  <a:gd name="T55" fmla="*/ 2147483647 h 384"/>
                  <a:gd name="T56" fmla="*/ 2147483647 w 241"/>
                  <a:gd name="T57" fmla="*/ 2147483647 h 384"/>
                  <a:gd name="T58" fmla="*/ 2147483647 w 241"/>
                  <a:gd name="T59" fmla="*/ 2147483647 h 384"/>
                  <a:gd name="T60" fmla="*/ 2147483647 w 241"/>
                  <a:gd name="T61" fmla="*/ 2147483647 h 384"/>
                  <a:gd name="T62" fmla="*/ 2147483647 w 241"/>
                  <a:gd name="T63" fmla="*/ 2147483647 h 384"/>
                  <a:gd name="T64" fmla="*/ 2147483647 w 241"/>
                  <a:gd name="T65" fmla="*/ 2147483647 h 384"/>
                  <a:gd name="T66" fmla="*/ 2147483647 w 241"/>
                  <a:gd name="T67" fmla="*/ 2147483647 h 384"/>
                  <a:gd name="T68" fmla="*/ 2147483647 w 241"/>
                  <a:gd name="T69" fmla="*/ 2147483647 h 384"/>
                  <a:gd name="T70" fmla="*/ 2147483647 w 241"/>
                  <a:gd name="T71" fmla="*/ 2147483647 h 384"/>
                  <a:gd name="T72" fmla="*/ 2147483647 w 241"/>
                  <a:gd name="T73" fmla="*/ 2147483647 h 384"/>
                  <a:gd name="T74" fmla="*/ 2147483647 w 241"/>
                  <a:gd name="T75" fmla="*/ 2147483647 h 384"/>
                  <a:gd name="T76" fmla="*/ 2147483647 w 241"/>
                  <a:gd name="T77" fmla="*/ 2147483647 h 384"/>
                  <a:gd name="T78" fmla="*/ 2147483647 w 241"/>
                  <a:gd name="T79" fmla="*/ 2147483647 h 384"/>
                  <a:gd name="T80" fmla="*/ 2147483647 w 241"/>
                  <a:gd name="T81" fmla="*/ 2147483647 h 384"/>
                  <a:gd name="T82" fmla="*/ 2147483647 w 241"/>
                  <a:gd name="T83" fmla="*/ 2147483647 h 384"/>
                  <a:gd name="T84" fmla="*/ 2147483647 w 241"/>
                  <a:gd name="T85" fmla="*/ 2147483647 h 384"/>
                  <a:gd name="T86" fmla="*/ 2147483647 w 241"/>
                  <a:gd name="T87" fmla="*/ 2147483647 h 384"/>
                  <a:gd name="T88" fmla="*/ 2147483647 w 241"/>
                  <a:gd name="T89" fmla="*/ 2147483647 h 384"/>
                  <a:gd name="T90" fmla="*/ 2147483647 w 241"/>
                  <a:gd name="T91" fmla="*/ 2147483647 h 384"/>
                  <a:gd name="T92" fmla="*/ 2147483647 w 241"/>
                  <a:gd name="T93" fmla="*/ 2147483647 h 384"/>
                  <a:gd name="T94" fmla="*/ 2147483647 w 241"/>
                  <a:gd name="T95" fmla="*/ 2147483647 h 384"/>
                  <a:gd name="T96" fmla="*/ 2147483647 w 241"/>
                  <a:gd name="T97" fmla="*/ 2147483647 h 384"/>
                  <a:gd name="T98" fmla="*/ 2147483647 w 241"/>
                  <a:gd name="T99" fmla="*/ 2147483647 h 384"/>
                  <a:gd name="T100" fmla="*/ 2147483647 w 241"/>
                  <a:gd name="T101" fmla="*/ 2147483647 h 384"/>
                  <a:gd name="T102" fmla="*/ 2147483647 w 241"/>
                  <a:gd name="T103" fmla="*/ 2147483647 h 38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41" h="384">
                    <a:moveTo>
                      <a:pt x="117" y="356"/>
                    </a:moveTo>
                    <a:cubicBezTo>
                      <a:pt x="127" y="356"/>
                      <a:pt x="135" y="348"/>
                      <a:pt x="135" y="339"/>
                    </a:cubicBezTo>
                    <a:cubicBezTo>
                      <a:pt x="135" y="329"/>
                      <a:pt x="127" y="321"/>
                      <a:pt x="117" y="321"/>
                    </a:cubicBezTo>
                    <a:cubicBezTo>
                      <a:pt x="107" y="321"/>
                      <a:pt x="99" y="329"/>
                      <a:pt x="99" y="339"/>
                    </a:cubicBezTo>
                    <a:cubicBezTo>
                      <a:pt x="99" y="348"/>
                      <a:pt x="107" y="356"/>
                      <a:pt x="117" y="356"/>
                    </a:cubicBezTo>
                    <a:close/>
                    <a:moveTo>
                      <a:pt x="135" y="26"/>
                    </a:moveTo>
                    <a:cubicBezTo>
                      <a:pt x="99" y="26"/>
                      <a:pt x="99" y="26"/>
                      <a:pt x="99" y="26"/>
                    </a:cubicBezTo>
                    <a:cubicBezTo>
                      <a:pt x="95" y="26"/>
                      <a:pt x="91" y="30"/>
                      <a:pt x="91" y="34"/>
                    </a:cubicBezTo>
                    <a:cubicBezTo>
                      <a:pt x="91" y="39"/>
                      <a:pt x="95" y="42"/>
                      <a:pt x="99" y="42"/>
                    </a:cubicBezTo>
                    <a:cubicBezTo>
                      <a:pt x="135" y="42"/>
                      <a:pt x="135" y="42"/>
                      <a:pt x="135" y="42"/>
                    </a:cubicBezTo>
                    <a:cubicBezTo>
                      <a:pt x="139" y="42"/>
                      <a:pt x="143" y="39"/>
                      <a:pt x="143" y="34"/>
                    </a:cubicBezTo>
                    <a:cubicBezTo>
                      <a:pt x="143" y="30"/>
                      <a:pt x="139" y="26"/>
                      <a:pt x="135" y="26"/>
                    </a:cubicBezTo>
                    <a:close/>
                    <a:moveTo>
                      <a:pt x="233" y="91"/>
                    </a:moveTo>
                    <a:cubicBezTo>
                      <a:pt x="237" y="91"/>
                      <a:pt x="241" y="87"/>
                      <a:pt x="241" y="83"/>
                    </a:cubicBezTo>
                    <a:cubicBezTo>
                      <a:pt x="241" y="19"/>
                      <a:pt x="241" y="19"/>
                      <a:pt x="241" y="19"/>
                    </a:cubicBezTo>
                    <a:cubicBezTo>
                      <a:pt x="241" y="9"/>
                      <a:pt x="232" y="0"/>
                      <a:pt x="221" y="0"/>
                    </a:cubicBezTo>
                    <a:cubicBezTo>
                      <a:pt x="19" y="0"/>
                      <a:pt x="19" y="0"/>
                      <a:pt x="19" y="0"/>
                    </a:cubicBezTo>
                    <a:cubicBezTo>
                      <a:pt x="8" y="0"/>
                      <a:pt x="0" y="9"/>
                      <a:pt x="0" y="19"/>
                    </a:cubicBezTo>
                    <a:cubicBezTo>
                      <a:pt x="0" y="364"/>
                      <a:pt x="0" y="364"/>
                      <a:pt x="0" y="364"/>
                    </a:cubicBezTo>
                    <a:cubicBezTo>
                      <a:pt x="0" y="375"/>
                      <a:pt x="8" y="384"/>
                      <a:pt x="19" y="384"/>
                    </a:cubicBezTo>
                    <a:cubicBezTo>
                      <a:pt x="221" y="384"/>
                      <a:pt x="221" y="384"/>
                      <a:pt x="221" y="384"/>
                    </a:cubicBezTo>
                    <a:cubicBezTo>
                      <a:pt x="232" y="384"/>
                      <a:pt x="241" y="375"/>
                      <a:pt x="241" y="364"/>
                    </a:cubicBezTo>
                    <a:cubicBezTo>
                      <a:pt x="241" y="114"/>
                      <a:pt x="241" y="114"/>
                      <a:pt x="241" y="114"/>
                    </a:cubicBezTo>
                    <a:cubicBezTo>
                      <a:pt x="241" y="110"/>
                      <a:pt x="237" y="106"/>
                      <a:pt x="233" y="106"/>
                    </a:cubicBezTo>
                    <a:cubicBezTo>
                      <a:pt x="228" y="106"/>
                      <a:pt x="225" y="110"/>
                      <a:pt x="225" y="114"/>
                    </a:cubicBezTo>
                    <a:cubicBezTo>
                      <a:pt x="225" y="296"/>
                      <a:pt x="225" y="296"/>
                      <a:pt x="225" y="296"/>
                    </a:cubicBezTo>
                    <a:cubicBezTo>
                      <a:pt x="16" y="296"/>
                      <a:pt x="16" y="296"/>
                      <a:pt x="16" y="296"/>
                    </a:cubicBezTo>
                    <a:cubicBezTo>
                      <a:pt x="16" y="69"/>
                      <a:pt x="16" y="69"/>
                      <a:pt x="16" y="69"/>
                    </a:cubicBezTo>
                    <a:cubicBezTo>
                      <a:pt x="225" y="69"/>
                      <a:pt x="225" y="69"/>
                      <a:pt x="225" y="69"/>
                    </a:cubicBezTo>
                    <a:cubicBezTo>
                      <a:pt x="225" y="83"/>
                      <a:pt x="225" y="83"/>
                      <a:pt x="225" y="83"/>
                    </a:cubicBezTo>
                    <a:cubicBezTo>
                      <a:pt x="225" y="87"/>
                      <a:pt x="228" y="91"/>
                      <a:pt x="233" y="91"/>
                    </a:cubicBezTo>
                    <a:close/>
                    <a:moveTo>
                      <a:pt x="225" y="312"/>
                    </a:moveTo>
                    <a:cubicBezTo>
                      <a:pt x="225" y="364"/>
                      <a:pt x="225" y="364"/>
                      <a:pt x="225" y="364"/>
                    </a:cubicBezTo>
                    <a:cubicBezTo>
                      <a:pt x="225" y="366"/>
                      <a:pt x="223" y="368"/>
                      <a:pt x="221" y="368"/>
                    </a:cubicBezTo>
                    <a:cubicBezTo>
                      <a:pt x="19" y="368"/>
                      <a:pt x="19" y="368"/>
                      <a:pt x="19" y="368"/>
                    </a:cubicBezTo>
                    <a:cubicBezTo>
                      <a:pt x="17" y="368"/>
                      <a:pt x="16" y="366"/>
                      <a:pt x="16" y="364"/>
                    </a:cubicBezTo>
                    <a:cubicBezTo>
                      <a:pt x="16" y="312"/>
                      <a:pt x="16" y="312"/>
                      <a:pt x="16" y="312"/>
                    </a:cubicBezTo>
                    <a:lnTo>
                      <a:pt x="225" y="312"/>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14" y="137"/>
                    </a:moveTo>
                    <a:cubicBezTo>
                      <a:pt x="114" y="142"/>
                      <a:pt x="114" y="142"/>
                      <a:pt x="114" y="142"/>
                    </a:cubicBezTo>
                    <a:cubicBezTo>
                      <a:pt x="111" y="143"/>
                      <a:pt x="109" y="143"/>
                      <a:pt x="106" y="144"/>
                    </a:cubicBezTo>
                    <a:cubicBezTo>
                      <a:pt x="103" y="146"/>
                      <a:pt x="99" y="148"/>
                      <a:pt x="96" y="151"/>
                    </a:cubicBezTo>
                    <a:cubicBezTo>
                      <a:pt x="93" y="154"/>
                      <a:pt x="91" y="159"/>
                      <a:pt x="91" y="165"/>
                    </a:cubicBezTo>
                    <a:cubicBezTo>
                      <a:pt x="91" y="170"/>
                      <a:pt x="92" y="174"/>
                      <a:pt x="94" y="178"/>
                    </a:cubicBezTo>
                    <a:cubicBezTo>
                      <a:pt x="98" y="183"/>
                      <a:pt x="103" y="186"/>
                      <a:pt x="108" y="188"/>
                    </a:cubicBezTo>
                    <a:cubicBezTo>
                      <a:pt x="113" y="189"/>
                      <a:pt x="117" y="190"/>
                      <a:pt x="120" y="190"/>
                    </a:cubicBezTo>
                    <a:cubicBezTo>
                      <a:pt x="123" y="191"/>
                      <a:pt x="127" y="192"/>
                      <a:pt x="131" y="194"/>
                    </a:cubicBezTo>
                    <a:cubicBezTo>
                      <a:pt x="134" y="195"/>
                      <a:pt x="137" y="197"/>
                      <a:pt x="138" y="200"/>
                    </a:cubicBezTo>
                    <a:cubicBezTo>
                      <a:pt x="138" y="201"/>
                      <a:pt x="138" y="202"/>
                      <a:pt x="138" y="204"/>
                    </a:cubicBezTo>
                    <a:cubicBezTo>
                      <a:pt x="138" y="206"/>
                      <a:pt x="138" y="207"/>
                      <a:pt x="137" y="209"/>
                    </a:cubicBezTo>
                    <a:cubicBezTo>
                      <a:pt x="135" y="210"/>
                      <a:pt x="132" y="212"/>
                      <a:pt x="128" y="213"/>
                    </a:cubicBezTo>
                    <a:cubicBezTo>
                      <a:pt x="125" y="214"/>
                      <a:pt x="121" y="214"/>
                      <a:pt x="121" y="214"/>
                    </a:cubicBezTo>
                    <a:cubicBezTo>
                      <a:pt x="121" y="214"/>
                      <a:pt x="121" y="214"/>
                      <a:pt x="121" y="214"/>
                    </a:cubicBezTo>
                    <a:cubicBezTo>
                      <a:pt x="116" y="214"/>
                      <a:pt x="111" y="212"/>
                      <a:pt x="107" y="210"/>
                    </a:cubicBezTo>
                    <a:cubicBezTo>
                      <a:pt x="105" y="209"/>
                      <a:pt x="103" y="208"/>
                      <a:pt x="102" y="207"/>
                    </a:cubicBezTo>
                    <a:cubicBezTo>
                      <a:pt x="102" y="207"/>
                      <a:pt x="101" y="206"/>
                      <a:pt x="101" y="206"/>
                    </a:cubicBezTo>
                    <a:cubicBezTo>
                      <a:pt x="101" y="206"/>
                      <a:pt x="101" y="206"/>
                      <a:pt x="101" y="206"/>
                    </a:cubicBezTo>
                    <a:cubicBezTo>
                      <a:pt x="98" y="203"/>
                      <a:pt x="93" y="204"/>
                      <a:pt x="91" y="207"/>
                    </a:cubicBezTo>
                    <a:cubicBezTo>
                      <a:pt x="89" y="210"/>
                      <a:pt x="89" y="214"/>
                      <a:pt x="92" y="217"/>
                    </a:cubicBezTo>
                    <a:cubicBezTo>
                      <a:pt x="92" y="217"/>
                      <a:pt x="101" y="224"/>
                      <a:pt x="114" y="227"/>
                    </a:cubicBezTo>
                    <a:cubicBezTo>
                      <a:pt x="114" y="233"/>
                      <a:pt x="114" y="233"/>
                      <a:pt x="114" y="233"/>
                    </a:cubicBezTo>
                    <a:cubicBezTo>
                      <a:pt x="114" y="236"/>
                      <a:pt x="117" y="240"/>
                      <a:pt x="121" y="240"/>
                    </a:cubicBezTo>
                    <a:cubicBezTo>
                      <a:pt x="125" y="240"/>
                      <a:pt x="128" y="236"/>
                      <a:pt x="128" y="233"/>
                    </a:cubicBezTo>
                    <a:cubicBezTo>
                      <a:pt x="128" y="227"/>
                      <a:pt x="128" y="227"/>
                      <a:pt x="128" y="227"/>
                    </a:cubicBezTo>
                    <a:cubicBezTo>
                      <a:pt x="130" y="227"/>
                      <a:pt x="133" y="226"/>
                      <a:pt x="136" y="225"/>
                    </a:cubicBezTo>
                    <a:cubicBezTo>
                      <a:pt x="140" y="223"/>
                      <a:pt x="144" y="221"/>
                      <a:pt x="147" y="218"/>
                    </a:cubicBezTo>
                    <a:cubicBezTo>
                      <a:pt x="150" y="214"/>
                      <a:pt x="152" y="209"/>
                      <a:pt x="152" y="203"/>
                    </a:cubicBezTo>
                    <a:cubicBezTo>
                      <a:pt x="152" y="200"/>
                      <a:pt x="152" y="197"/>
                      <a:pt x="150" y="194"/>
                    </a:cubicBezTo>
                    <a:cubicBezTo>
                      <a:pt x="148" y="187"/>
                      <a:pt x="142" y="183"/>
                      <a:pt x="136" y="181"/>
                    </a:cubicBezTo>
                    <a:cubicBezTo>
                      <a:pt x="131" y="179"/>
                      <a:pt x="126" y="178"/>
                      <a:pt x="123" y="177"/>
                    </a:cubicBezTo>
                    <a:cubicBezTo>
                      <a:pt x="118" y="176"/>
                      <a:pt x="113" y="175"/>
                      <a:pt x="110" y="173"/>
                    </a:cubicBezTo>
                    <a:cubicBezTo>
                      <a:pt x="108" y="172"/>
                      <a:pt x="107" y="172"/>
                      <a:pt x="106" y="170"/>
                    </a:cubicBezTo>
                    <a:cubicBezTo>
                      <a:pt x="105" y="169"/>
                      <a:pt x="105" y="168"/>
                      <a:pt x="105" y="165"/>
                    </a:cubicBezTo>
                    <a:cubicBezTo>
                      <a:pt x="105" y="163"/>
                      <a:pt x="105" y="162"/>
                      <a:pt x="106" y="160"/>
                    </a:cubicBezTo>
                    <a:cubicBezTo>
                      <a:pt x="108" y="159"/>
                      <a:pt x="111" y="157"/>
                      <a:pt x="114" y="156"/>
                    </a:cubicBezTo>
                    <a:cubicBezTo>
                      <a:pt x="116" y="156"/>
                      <a:pt x="118" y="156"/>
                      <a:pt x="119" y="156"/>
                    </a:cubicBezTo>
                    <a:cubicBezTo>
                      <a:pt x="119" y="156"/>
                      <a:pt x="120" y="156"/>
                      <a:pt x="120" y="156"/>
                    </a:cubicBezTo>
                    <a:cubicBezTo>
                      <a:pt x="120" y="156"/>
                      <a:pt x="120" y="156"/>
                      <a:pt x="120" y="156"/>
                    </a:cubicBezTo>
                    <a:cubicBezTo>
                      <a:pt x="126" y="156"/>
                      <a:pt x="130" y="157"/>
                      <a:pt x="132" y="158"/>
                    </a:cubicBezTo>
                    <a:cubicBezTo>
                      <a:pt x="133" y="158"/>
                      <a:pt x="134" y="159"/>
                      <a:pt x="134" y="159"/>
                    </a:cubicBezTo>
                    <a:cubicBezTo>
                      <a:pt x="135" y="159"/>
                      <a:pt x="135" y="159"/>
                      <a:pt x="135" y="159"/>
                    </a:cubicBezTo>
                    <a:cubicBezTo>
                      <a:pt x="135" y="159"/>
                      <a:pt x="135" y="159"/>
                      <a:pt x="135" y="159"/>
                    </a:cubicBezTo>
                    <a:cubicBezTo>
                      <a:pt x="138" y="162"/>
                      <a:pt x="142" y="162"/>
                      <a:pt x="145" y="159"/>
                    </a:cubicBezTo>
                    <a:cubicBezTo>
                      <a:pt x="147" y="156"/>
                      <a:pt x="147" y="152"/>
                      <a:pt x="144" y="149"/>
                    </a:cubicBezTo>
                    <a:cubicBezTo>
                      <a:pt x="143" y="148"/>
                      <a:pt x="138" y="144"/>
                      <a:pt x="127" y="142"/>
                    </a:cubicBezTo>
                    <a:cubicBezTo>
                      <a:pt x="127" y="137"/>
                      <a:pt x="127" y="137"/>
                      <a:pt x="127" y="137"/>
                    </a:cubicBezTo>
                    <a:cubicBezTo>
                      <a:pt x="127" y="133"/>
                      <a:pt x="124" y="130"/>
                      <a:pt x="121" y="130"/>
                    </a:cubicBezTo>
                    <a:cubicBezTo>
                      <a:pt x="117" y="130"/>
                      <a:pt x="114" y="133"/>
                      <a:pt x="114" y="137"/>
                    </a:cubicBezTo>
                    <a:close/>
                    <a:moveTo>
                      <a:pt x="34" y="185"/>
                    </a:moveTo>
                    <a:cubicBezTo>
                      <a:pt x="34" y="233"/>
                      <a:pt x="73" y="272"/>
                      <a:pt x="121" y="272"/>
                    </a:cubicBezTo>
                    <a:cubicBezTo>
                      <a:pt x="169" y="272"/>
                      <a:pt x="208" y="233"/>
                      <a:pt x="208" y="185"/>
                    </a:cubicBezTo>
                    <a:cubicBezTo>
                      <a:pt x="208" y="137"/>
                      <a:pt x="169" y="98"/>
                      <a:pt x="121" y="98"/>
                    </a:cubicBezTo>
                    <a:cubicBezTo>
                      <a:pt x="73" y="98"/>
                      <a:pt x="34" y="137"/>
                      <a:pt x="34" y="185"/>
                    </a:cubicBezTo>
                    <a:close/>
                    <a:moveTo>
                      <a:pt x="192" y="185"/>
                    </a:moveTo>
                    <a:cubicBezTo>
                      <a:pt x="192" y="224"/>
                      <a:pt x="160" y="256"/>
                      <a:pt x="121" y="256"/>
                    </a:cubicBezTo>
                    <a:cubicBezTo>
                      <a:pt x="82" y="256"/>
                      <a:pt x="50" y="224"/>
                      <a:pt x="50" y="185"/>
                    </a:cubicBezTo>
                    <a:cubicBezTo>
                      <a:pt x="50" y="146"/>
                      <a:pt x="82" y="114"/>
                      <a:pt x="121" y="114"/>
                    </a:cubicBezTo>
                    <a:cubicBezTo>
                      <a:pt x="160" y="114"/>
                      <a:pt x="192" y="146"/>
                      <a:pt x="192" y="185"/>
                    </a:cubicBezTo>
                    <a:close/>
                  </a:path>
                </a:pathLst>
              </a:custGeom>
              <a:grpFill/>
              <a:ln>
                <a:noFill/>
              </a:ln>
            </p:spPr>
            <p:txBody>
              <a:bodyPr/>
              <a:lstStyle/>
              <a:p>
                <a:endParaRPr lang="sv-SE" dirty="0">
                  <a:solidFill>
                    <a:srgbClr val="58585A"/>
                  </a:solidFill>
                </a:endParaRPr>
              </a:p>
            </p:txBody>
          </p:sp>
          <p:sp>
            <p:nvSpPr>
              <p:cNvPr id="110" name="Freeform 3">
                <a:extLst>
                  <a:ext uri="{FF2B5EF4-FFF2-40B4-BE49-F238E27FC236}">
                    <a16:creationId xmlns:a16="http://schemas.microsoft.com/office/drawing/2014/main" id="{C366E9DB-57DD-46BB-B3D1-7BD13985FD64}"/>
                  </a:ext>
                </a:extLst>
              </p:cNvPr>
              <p:cNvSpPr>
                <a:spLocks noChangeAspect="1" noEditPoints="1"/>
              </p:cNvSpPr>
              <p:nvPr/>
            </p:nvSpPr>
            <p:spPr bwMode="auto">
              <a:xfrm>
                <a:off x="4217989" y="939800"/>
                <a:ext cx="525462" cy="421614"/>
              </a:xfrm>
              <a:custGeom>
                <a:avLst/>
                <a:gdLst>
                  <a:gd name="T0" fmla="*/ 2147483647 w 465"/>
                  <a:gd name="T1" fmla="*/ 2147483647 h 373"/>
                  <a:gd name="T2" fmla="*/ 2147483647 w 465"/>
                  <a:gd name="T3" fmla="*/ 2147483647 h 373"/>
                  <a:gd name="T4" fmla="*/ 2147483647 w 465"/>
                  <a:gd name="T5" fmla="*/ 2147483647 h 373"/>
                  <a:gd name="T6" fmla="*/ 2147483647 w 465"/>
                  <a:gd name="T7" fmla="*/ 2147483647 h 373"/>
                  <a:gd name="T8" fmla="*/ 2147483647 w 465"/>
                  <a:gd name="T9" fmla="*/ 2147483647 h 373"/>
                  <a:gd name="T10" fmla="*/ 2147483647 w 465"/>
                  <a:gd name="T11" fmla="*/ 2147483647 h 373"/>
                  <a:gd name="T12" fmla="*/ 2147483647 w 465"/>
                  <a:gd name="T13" fmla="*/ 2147483647 h 373"/>
                  <a:gd name="T14" fmla="*/ 2147483647 w 465"/>
                  <a:gd name="T15" fmla="*/ 2147483647 h 373"/>
                  <a:gd name="T16" fmla="*/ 2147483647 w 465"/>
                  <a:gd name="T17" fmla="*/ 0 h 373"/>
                  <a:gd name="T18" fmla="*/ 0 w 465"/>
                  <a:gd name="T19" fmla="*/ 2147483647 h 373"/>
                  <a:gd name="T20" fmla="*/ 2147483647 w 465"/>
                  <a:gd name="T21" fmla="*/ 2147483647 h 373"/>
                  <a:gd name="T22" fmla="*/ 2147483647 w 465"/>
                  <a:gd name="T23" fmla="*/ 2147483647 h 373"/>
                  <a:gd name="T24" fmla="*/ 2147483647 w 465"/>
                  <a:gd name="T25" fmla="*/ 2147483647 h 373"/>
                  <a:gd name="T26" fmla="*/ 2147483647 w 465"/>
                  <a:gd name="T27" fmla="*/ 2147483647 h 373"/>
                  <a:gd name="T28" fmla="*/ 2147483647 w 465"/>
                  <a:gd name="T29" fmla="*/ 2147483647 h 373"/>
                  <a:gd name="T30" fmla="*/ 2147483647 w 465"/>
                  <a:gd name="T31" fmla="*/ 2147483647 h 373"/>
                  <a:gd name="T32" fmla="*/ 2147483647 w 465"/>
                  <a:gd name="T33" fmla="*/ 2147483647 h 373"/>
                  <a:gd name="T34" fmla="*/ 2147483647 w 465"/>
                  <a:gd name="T35" fmla="*/ 2147483647 h 373"/>
                  <a:gd name="T36" fmla="*/ 2147483647 w 465"/>
                  <a:gd name="T37" fmla="*/ 2147483647 h 373"/>
                  <a:gd name="T38" fmla="*/ 2147483647 w 465"/>
                  <a:gd name="T39" fmla="*/ 2147483647 h 373"/>
                  <a:gd name="T40" fmla="*/ 2147483647 w 465"/>
                  <a:gd name="T41" fmla="*/ 2147483647 h 373"/>
                  <a:gd name="T42" fmla="*/ 2147483647 w 465"/>
                  <a:gd name="T43" fmla="*/ 2147483647 h 373"/>
                  <a:gd name="T44" fmla="*/ 2147483647 w 465"/>
                  <a:gd name="T45" fmla="*/ 2147483647 h 373"/>
                  <a:gd name="T46" fmla="*/ 2147483647 w 465"/>
                  <a:gd name="T47" fmla="*/ 2147483647 h 373"/>
                  <a:gd name="T48" fmla="*/ 2147483647 w 465"/>
                  <a:gd name="T49" fmla="*/ 2147483647 h 373"/>
                  <a:gd name="T50" fmla="*/ 2147483647 w 465"/>
                  <a:gd name="T51" fmla="*/ 2147483647 h 373"/>
                  <a:gd name="T52" fmla="*/ 2147483647 w 465"/>
                  <a:gd name="T53" fmla="*/ 2147483647 h 373"/>
                  <a:gd name="T54" fmla="*/ 2147483647 w 465"/>
                  <a:gd name="T55" fmla="*/ 2147483647 h 373"/>
                  <a:gd name="T56" fmla="*/ 2147483647 w 465"/>
                  <a:gd name="T57" fmla="*/ 2147483647 h 373"/>
                  <a:gd name="T58" fmla="*/ 2147483647 w 465"/>
                  <a:gd name="T59" fmla="*/ 2147483647 h 373"/>
                  <a:gd name="T60" fmla="*/ 2147483647 w 465"/>
                  <a:gd name="T61" fmla="*/ 2147483647 h 373"/>
                  <a:gd name="T62" fmla="*/ 2147483647 w 465"/>
                  <a:gd name="T63" fmla="*/ 2147483647 h 373"/>
                  <a:gd name="T64" fmla="*/ 2147483647 w 465"/>
                  <a:gd name="T65" fmla="*/ 2147483647 h 373"/>
                  <a:gd name="T66" fmla="*/ 2147483647 w 465"/>
                  <a:gd name="T67" fmla="*/ 2147483647 h 373"/>
                  <a:gd name="T68" fmla="*/ 2147483647 w 465"/>
                  <a:gd name="T69" fmla="*/ 2147483647 h 373"/>
                  <a:gd name="T70" fmla="*/ 2147483647 w 465"/>
                  <a:gd name="T71" fmla="*/ 2147483647 h 373"/>
                  <a:gd name="T72" fmla="*/ 2147483647 w 465"/>
                  <a:gd name="T73" fmla="*/ 2147483647 h 373"/>
                  <a:gd name="T74" fmla="*/ 2147483647 w 465"/>
                  <a:gd name="T75" fmla="*/ 2147483647 h 373"/>
                  <a:gd name="T76" fmla="*/ 2147483647 w 465"/>
                  <a:gd name="T77" fmla="*/ 2147483647 h 373"/>
                  <a:gd name="T78" fmla="*/ 2147483647 w 465"/>
                  <a:gd name="T79" fmla="*/ 2147483647 h 373"/>
                  <a:gd name="T80" fmla="*/ 2147483647 w 465"/>
                  <a:gd name="T81" fmla="*/ 2147483647 h 373"/>
                  <a:gd name="T82" fmla="*/ 2147483647 w 465"/>
                  <a:gd name="T83" fmla="*/ 2147483647 h 373"/>
                  <a:gd name="T84" fmla="*/ 2147483647 w 465"/>
                  <a:gd name="T85" fmla="*/ 2147483647 h 3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5" h="373">
                    <a:moveTo>
                      <a:pt x="465" y="186"/>
                    </a:moveTo>
                    <a:cubicBezTo>
                      <a:pt x="465" y="178"/>
                      <a:pt x="459" y="171"/>
                      <a:pt x="451" y="168"/>
                    </a:cubicBezTo>
                    <a:cubicBezTo>
                      <a:pt x="447" y="166"/>
                      <a:pt x="447" y="166"/>
                      <a:pt x="447" y="166"/>
                    </a:cubicBezTo>
                    <a:cubicBezTo>
                      <a:pt x="459" y="153"/>
                      <a:pt x="459" y="153"/>
                      <a:pt x="459" y="153"/>
                    </a:cubicBezTo>
                    <a:cubicBezTo>
                      <a:pt x="462" y="148"/>
                      <a:pt x="465" y="143"/>
                      <a:pt x="465" y="138"/>
                    </a:cubicBezTo>
                    <a:cubicBezTo>
                      <a:pt x="465" y="130"/>
                      <a:pt x="459" y="123"/>
                      <a:pt x="451" y="120"/>
                    </a:cubicBezTo>
                    <a:cubicBezTo>
                      <a:pt x="427" y="111"/>
                      <a:pt x="427" y="111"/>
                      <a:pt x="427" y="111"/>
                    </a:cubicBezTo>
                    <a:cubicBezTo>
                      <a:pt x="423" y="109"/>
                      <a:pt x="419" y="111"/>
                      <a:pt x="417" y="115"/>
                    </a:cubicBezTo>
                    <a:cubicBezTo>
                      <a:pt x="415" y="120"/>
                      <a:pt x="418" y="124"/>
                      <a:pt x="422" y="126"/>
                    </a:cubicBezTo>
                    <a:cubicBezTo>
                      <a:pt x="422" y="126"/>
                      <a:pt x="422" y="126"/>
                      <a:pt x="422" y="126"/>
                    </a:cubicBezTo>
                    <a:cubicBezTo>
                      <a:pt x="446" y="135"/>
                      <a:pt x="446" y="135"/>
                      <a:pt x="446" y="135"/>
                    </a:cubicBezTo>
                    <a:cubicBezTo>
                      <a:pt x="448" y="136"/>
                      <a:pt x="448" y="137"/>
                      <a:pt x="449" y="138"/>
                    </a:cubicBezTo>
                    <a:cubicBezTo>
                      <a:pt x="449" y="139"/>
                      <a:pt x="448" y="140"/>
                      <a:pt x="447" y="142"/>
                    </a:cubicBezTo>
                    <a:cubicBezTo>
                      <a:pt x="350" y="255"/>
                      <a:pt x="350" y="255"/>
                      <a:pt x="350" y="255"/>
                    </a:cubicBezTo>
                    <a:cubicBezTo>
                      <a:pt x="347" y="258"/>
                      <a:pt x="340" y="261"/>
                      <a:pt x="335" y="261"/>
                    </a:cubicBezTo>
                    <a:cubicBezTo>
                      <a:pt x="333" y="261"/>
                      <a:pt x="332" y="261"/>
                      <a:pt x="330" y="260"/>
                    </a:cubicBezTo>
                    <a:cubicBezTo>
                      <a:pt x="19" y="143"/>
                      <a:pt x="19" y="143"/>
                      <a:pt x="19" y="143"/>
                    </a:cubicBezTo>
                    <a:cubicBezTo>
                      <a:pt x="16" y="141"/>
                      <a:pt x="16" y="141"/>
                      <a:pt x="16" y="140"/>
                    </a:cubicBezTo>
                    <a:cubicBezTo>
                      <a:pt x="16" y="139"/>
                      <a:pt x="16" y="137"/>
                      <a:pt x="18" y="135"/>
                    </a:cubicBezTo>
                    <a:cubicBezTo>
                      <a:pt x="115" y="23"/>
                      <a:pt x="115" y="23"/>
                      <a:pt x="115" y="23"/>
                    </a:cubicBezTo>
                    <a:cubicBezTo>
                      <a:pt x="118" y="19"/>
                      <a:pt x="124" y="16"/>
                      <a:pt x="129" y="16"/>
                    </a:cubicBezTo>
                    <a:cubicBezTo>
                      <a:pt x="131" y="16"/>
                      <a:pt x="133" y="17"/>
                      <a:pt x="134" y="17"/>
                    </a:cubicBezTo>
                    <a:cubicBezTo>
                      <a:pt x="390" y="114"/>
                      <a:pt x="390" y="114"/>
                      <a:pt x="390" y="114"/>
                    </a:cubicBezTo>
                    <a:cubicBezTo>
                      <a:pt x="394" y="116"/>
                      <a:pt x="399" y="114"/>
                      <a:pt x="400" y="109"/>
                    </a:cubicBezTo>
                    <a:cubicBezTo>
                      <a:pt x="402" y="105"/>
                      <a:pt x="400" y="101"/>
                      <a:pt x="396" y="99"/>
                    </a:cubicBezTo>
                    <a:cubicBezTo>
                      <a:pt x="140" y="2"/>
                      <a:pt x="140" y="2"/>
                      <a:pt x="140" y="2"/>
                    </a:cubicBezTo>
                    <a:cubicBezTo>
                      <a:pt x="136" y="1"/>
                      <a:pt x="133" y="0"/>
                      <a:pt x="129" y="0"/>
                    </a:cubicBezTo>
                    <a:cubicBezTo>
                      <a:pt x="119" y="1"/>
                      <a:pt x="109" y="5"/>
                      <a:pt x="103" y="12"/>
                    </a:cubicBezTo>
                    <a:cubicBezTo>
                      <a:pt x="6" y="125"/>
                      <a:pt x="6" y="125"/>
                      <a:pt x="6" y="125"/>
                    </a:cubicBezTo>
                    <a:cubicBezTo>
                      <a:pt x="2" y="129"/>
                      <a:pt x="0" y="134"/>
                      <a:pt x="0" y="140"/>
                    </a:cubicBezTo>
                    <a:cubicBezTo>
                      <a:pt x="0" y="148"/>
                      <a:pt x="5" y="155"/>
                      <a:pt x="13" y="158"/>
                    </a:cubicBezTo>
                    <a:cubicBezTo>
                      <a:pt x="17" y="159"/>
                      <a:pt x="17" y="159"/>
                      <a:pt x="17" y="159"/>
                    </a:cubicBezTo>
                    <a:cubicBezTo>
                      <a:pt x="6" y="173"/>
                      <a:pt x="6" y="173"/>
                      <a:pt x="6" y="173"/>
                    </a:cubicBezTo>
                    <a:cubicBezTo>
                      <a:pt x="2" y="177"/>
                      <a:pt x="0" y="182"/>
                      <a:pt x="0" y="188"/>
                    </a:cubicBezTo>
                    <a:cubicBezTo>
                      <a:pt x="0" y="196"/>
                      <a:pt x="5" y="203"/>
                      <a:pt x="13" y="206"/>
                    </a:cubicBezTo>
                    <a:cubicBezTo>
                      <a:pt x="17" y="207"/>
                      <a:pt x="17" y="207"/>
                      <a:pt x="17" y="207"/>
                    </a:cubicBezTo>
                    <a:cubicBezTo>
                      <a:pt x="6" y="221"/>
                      <a:pt x="6" y="221"/>
                      <a:pt x="6" y="221"/>
                    </a:cubicBezTo>
                    <a:cubicBezTo>
                      <a:pt x="2" y="225"/>
                      <a:pt x="0" y="230"/>
                      <a:pt x="0" y="236"/>
                    </a:cubicBezTo>
                    <a:cubicBezTo>
                      <a:pt x="0" y="244"/>
                      <a:pt x="5" y="251"/>
                      <a:pt x="13" y="254"/>
                    </a:cubicBezTo>
                    <a:cubicBezTo>
                      <a:pt x="325" y="371"/>
                      <a:pt x="325" y="371"/>
                      <a:pt x="325" y="371"/>
                    </a:cubicBezTo>
                    <a:cubicBezTo>
                      <a:pt x="328" y="373"/>
                      <a:pt x="332" y="373"/>
                      <a:pt x="335" y="373"/>
                    </a:cubicBezTo>
                    <a:cubicBezTo>
                      <a:pt x="345" y="373"/>
                      <a:pt x="355" y="369"/>
                      <a:pt x="362" y="361"/>
                    </a:cubicBezTo>
                    <a:cubicBezTo>
                      <a:pt x="459" y="249"/>
                      <a:pt x="459" y="249"/>
                      <a:pt x="459" y="249"/>
                    </a:cubicBezTo>
                    <a:cubicBezTo>
                      <a:pt x="462" y="244"/>
                      <a:pt x="465" y="239"/>
                      <a:pt x="465" y="234"/>
                    </a:cubicBezTo>
                    <a:cubicBezTo>
                      <a:pt x="465" y="226"/>
                      <a:pt x="459" y="219"/>
                      <a:pt x="451" y="216"/>
                    </a:cubicBezTo>
                    <a:cubicBezTo>
                      <a:pt x="447" y="214"/>
                      <a:pt x="447" y="214"/>
                      <a:pt x="447" y="214"/>
                    </a:cubicBezTo>
                    <a:cubicBezTo>
                      <a:pt x="459" y="201"/>
                      <a:pt x="459" y="201"/>
                      <a:pt x="459" y="201"/>
                    </a:cubicBezTo>
                    <a:cubicBezTo>
                      <a:pt x="462" y="196"/>
                      <a:pt x="465" y="191"/>
                      <a:pt x="465" y="186"/>
                    </a:cubicBezTo>
                    <a:close/>
                    <a:moveTo>
                      <a:pt x="449" y="234"/>
                    </a:moveTo>
                    <a:cubicBezTo>
                      <a:pt x="449" y="235"/>
                      <a:pt x="448" y="236"/>
                      <a:pt x="447" y="238"/>
                    </a:cubicBezTo>
                    <a:cubicBezTo>
                      <a:pt x="350" y="351"/>
                      <a:pt x="350" y="351"/>
                      <a:pt x="350" y="351"/>
                    </a:cubicBezTo>
                    <a:cubicBezTo>
                      <a:pt x="347" y="354"/>
                      <a:pt x="340" y="357"/>
                      <a:pt x="335" y="357"/>
                    </a:cubicBezTo>
                    <a:cubicBezTo>
                      <a:pt x="333" y="357"/>
                      <a:pt x="332" y="357"/>
                      <a:pt x="330" y="356"/>
                    </a:cubicBezTo>
                    <a:cubicBezTo>
                      <a:pt x="19" y="239"/>
                      <a:pt x="19" y="239"/>
                      <a:pt x="19" y="239"/>
                    </a:cubicBezTo>
                    <a:cubicBezTo>
                      <a:pt x="16" y="238"/>
                      <a:pt x="16" y="237"/>
                      <a:pt x="16" y="236"/>
                    </a:cubicBezTo>
                    <a:cubicBezTo>
                      <a:pt x="16" y="235"/>
                      <a:pt x="16" y="233"/>
                      <a:pt x="18" y="231"/>
                    </a:cubicBezTo>
                    <a:cubicBezTo>
                      <a:pt x="33" y="213"/>
                      <a:pt x="33" y="213"/>
                      <a:pt x="33" y="213"/>
                    </a:cubicBezTo>
                    <a:cubicBezTo>
                      <a:pt x="325" y="323"/>
                      <a:pt x="325" y="323"/>
                      <a:pt x="325" y="323"/>
                    </a:cubicBezTo>
                    <a:cubicBezTo>
                      <a:pt x="328" y="325"/>
                      <a:pt x="332" y="325"/>
                      <a:pt x="335" y="325"/>
                    </a:cubicBezTo>
                    <a:cubicBezTo>
                      <a:pt x="345" y="325"/>
                      <a:pt x="355" y="321"/>
                      <a:pt x="362" y="313"/>
                    </a:cubicBezTo>
                    <a:cubicBezTo>
                      <a:pt x="436" y="227"/>
                      <a:pt x="436" y="227"/>
                      <a:pt x="436" y="227"/>
                    </a:cubicBezTo>
                    <a:cubicBezTo>
                      <a:pt x="446" y="231"/>
                      <a:pt x="446" y="231"/>
                      <a:pt x="446" y="231"/>
                    </a:cubicBezTo>
                    <a:cubicBezTo>
                      <a:pt x="448" y="232"/>
                      <a:pt x="448" y="233"/>
                      <a:pt x="449" y="234"/>
                    </a:cubicBezTo>
                    <a:close/>
                    <a:moveTo>
                      <a:pt x="447" y="190"/>
                    </a:moveTo>
                    <a:cubicBezTo>
                      <a:pt x="350" y="303"/>
                      <a:pt x="350" y="303"/>
                      <a:pt x="350" y="303"/>
                    </a:cubicBezTo>
                    <a:cubicBezTo>
                      <a:pt x="347" y="306"/>
                      <a:pt x="340" y="309"/>
                      <a:pt x="335" y="309"/>
                    </a:cubicBezTo>
                    <a:cubicBezTo>
                      <a:pt x="333" y="309"/>
                      <a:pt x="332" y="309"/>
                      <a:pt x="330" y="308"/>
                    </a:cubicBezTo>
                    <a:cubicBezTo>
                      <a:pt x="19" y="191"/>
                      <a:pt x="19" y="191"/>
                      <a:pt x="19" y="191"/>
                    </a:cubicBezTo>
                    <a:cubicBezTo>
                      <a:pt x="16" y="189"/>
                      <a:pt x="16" y="189"/>
                      <a:pt x="16" y="188"/>
                    </a:cubicBezTo>
                    <a:cubicBezTo>
                      <a:pt x="16" y="187"/>
                      <a:pt x="16" y="185"/>
                      <a:pt x="18" y="183"/>
                    </a:cubicBezTo>
                    <a:cubicBezTo>
                      <a:pt x="33" y="165"/>
                      <a:pt x="33" y="165"/>
                      <a:pt x="33" y="165"/>
                    </a:cubicBezTo>
                    <a:cubicBezTo>
                      <a:pt x="325" y="275"/>
                      <a:pt x="325" y="275"/>
                      <a:pt x="325" y="275"/>
                    </a:cubicBezTo>
                    <a:cubicBezTo>
                      <a:pt x="328" y="277"/>
                      <a:pt x="332" y="277"/>
                      <a:pt x="335" y="277"/>
                    </a:cubicBezTo>
                    <a:cubicBezTo>
                      <a:pt x="345" y="277"/>
                      <a:pt x="355" y="273"/>
                      <a:pt x="362" y="265"/>
                    </a:cubicBezTo>
                    <a:cubicBezTo>
                      <a:pt x="436" y="179"/>
                      <a:pt x="436" y="179"/>
                      <a:pt x="436" y="179"/>
                    </a:cubicBezTo>
                    <a:cubicBezTo>
                      <a:pt x="446" y="183"/>
                      <a:pt x="446" y="183"/>
                      <a:pt x="446" y="183"/>
                    </a:cubicBezTo>
                    <a:cubicBezTo>
                      <a:pt x="448" y="184"/>
                      <a:pt x="448" y="185"/>
                      <a:pt x="449" y="186"/>
                    </a:cubicBezTo>
                    <a:cubicBezTo>
                      <a:pt x="449" y="187"/>
                      <a:pt x="448" y="188"/>
                      <a:pt x="447" y="190"/>
                    </a:cubicBezTo>
                    <a:close/>
                    <a:moveTo>
                      <a:pt x="245" y="115"/>
                    </a:moveTo>
                    <a:cubicBezTo>
                      <a:pt x="248" y="115"/>
                      <a:pt x="251" y="115"/>
                      <a:pt x="253" y="116"/>
                    </a:cubicBezTo>
                    <a:cubicBezTo>
                      <a:pt x="254" y="116"/>
                      <a:pt x="255" y="116"/>
                      <a:pt x="256" y="117"/>
                    </a:cubicBezTo>
                    <a:cubicBezTo>
                      <a:pt x="256" y="117"/>
                      <a:pt x="256" y="117"/>
                      <a:pt x="256" y="117"/>
                    </a:cubicBezTo>
                    <a:cubicBezTo>
                      <a:pt x="256" y="117"/>
                      <a:pt x="256" y="117"/>
                      <a:pt x="256" y="117"/>
                    </a:cubicBezTo>
                    <a:cubicBezTo>
                      <a:pt x="262" y="119"/>
                      <a:pt x="264" y="121"/>
                      <a:pt x="265" y="122"/>
                    </a:cubicBezTo>
                    <a:cubicBezTo>
                      <a:pt x="265" y="122"/>
                      <a:pt x="265" y="122"/>
                      <a:pt x="265" y="123"/>
                    </a:cubicBezTo>
                    <a:cubicBezTo>
                      <a:pt x="268" y="128"/>
                      <a:pt x="274" y="131"/>
                      <a:pt x="280" y="130"/>
                    </a:cubicBezTo>
                    <a:cubicBezTo>
                      <a:pt x="286" y="128"/>
                      <a:pt x="290" y="121"/>
                      <a:pt x="288" y="115"/>
                    </a:cubicBezTo>
                    <a:cubicBezTo>
                      <a:pt x="288" y="115"/>
                      <a:pt x="288" y="115"/>
                      <a:pt x="288" y="115"/>
                    </a:cubicBezTo>
                    <a:cubicBezTo>
                      <a:pt x="288" y="113"/>
                      <a:pt x="285" y="108"/>
                      <a:pt x="279" y="103"/>
                    </a:cubicBezTo>
                    <a:cubicBezTo>
                      <a:pt x="283" y="98"/>
                      <a:pt x="283" y="90"/>
                      <a:pt x="278" y="86"/>
                    </a:cubicBezTo>
                    <a:cubicBezTo>
                      <a:pt x="273" y="82"/>
                      <a:pt x="265" y="82"/>
                      <a:pt x="261" y="87"/>
                    </a:cubicBezTo>
                    <a:cubicBezTo>
                      <a:pt x="257" y="92"/>
                      <a:pt x="257" y="92"/>
                      <a:pt x="257" y="92"/>
                    </a:cubicBezTo>
                    <a:cubicBezTo>
                      <a:pt x="253" y="91"/>
                      <a:pt x="249" y="91"/>
                      <a:pt x="245" y="91"/>
                    </a:cubicBezTo>
                    <a:cubicBezTo>
                      <a:pt x="236" y="91"/>
                      <a:pt x="224" y="93"/>
                      <a:pt x="215" y="104"/>
                    </a:cubicBezTo>
                    <a:cubicBezTo>
                      <a:pt x="210" y="109"/>
                      <a:pt x="207" y="115"/>
                      <a:pt x="207" y="122"/>
                    </a:cubicBezTo>
                    <a:cubicBezTo>
                      <a:pt x="207" y="131"/>
                      <a:pt x="212" y="137"/>
                      <a:pt x="217" y="141"/>
                    </a:cubicBezTo>
                    <a:cubicBezTo>
                      <a:pt x="221" y="144"/>
                      <a:pt x="225" y="147"/>
                      <a:pt x="227" y="148"/>
                    </a:cubicBezTo>
                    <a:cubicBezTo>
                      <a:pt x="230" y="150"/>
                      <a:pt x="233" y="152"/>
                      <a:pt x="235" y="154"/>
                    </a:cubicBezTo>
                    <a:cubicBezTo>
                      <a:pt x="236" y="155"/>
                      <a:pt x="236" y="155"/>
                      <a:pt x="236" y="156"/>
                    </a:cubicBezTo>
                    <a:cubicBezTo>
                      <a:pt x="236" y="156"/>
                      <a:pt x="236" y="156"/>
                      <a:pt x="236" y="156"/>
                    </a:cubicBezTo>
                    <a:cubicBezTo>
                      <a:pt x="236" y="156"/>
                      <a:pt x="236" y="156"/>
                      <a:pt x="236" y="156"/>
                    </a:cubicBezTo>
                    <a:cubicBezTo>
                      <a:pt x="236" y="156"/>
                      <a:pt x="236" y="157"/>
                      <a:pt x="235" y="158"/>
                    </a:cubicBezTo>
                    <a:cubicBezTo>
                      <a:pt x="232" y="162"/>
                      <a:pt x="227" y="163"/>
                      <a:pt x="222" y="163"/>
                    </a:cubicBezTo>
                    <a:cubicBezTo>
                      <a:pt x="218" y="163"/>
                      <a:pt x="215" y="162"/>
                      <a:pt x="212" y="162"/>
                    </a:cubicBezTo>
                    <a:cubicBezTo>
                      <a:pt x="211" y="161"/>
                      <a:pt x="210" y="161"/>
                      <a:pt x="209" y="161"/>
                    </a:cubicBezTo>
                    <a:cubicBezTo>
                      <a:pt x="209" y="161"/>
                      <a:pt x="209" y="161"/>
                      <a:pt x="209" y="161"/>
                    </a:cubicBezTo>
                    <a:cubicBezTo>
                      <a:pt x="209" y="161"/>
                      <a:pt x="209" y="161"/>
                      <a:pt x="209" y="161"/>
                    </a:cubicBezTo>
                    <a:cubicBezTo>
                      <a:pt x="204" y="159"/>
                      <a:pt x="201" y="156"/>
                      <a:pt x="199" y="154"/>
                    </a:cubicBezTo>
                    <a:cubicBezTo>
                      <a:pt x="198" y="152"/>
                      <a:pt x="198" y="151"/>
                      <a:pt x="197" y="150"/>
                    </a:cubicBezTo>
                    <a:cubicBezTo>
                      <a:pt x="197" y="150"/>
                      <a:pt x="197" y="149"/>
                      <a:pt x="197" y="149"/>
                    </a:cubicBezTo>
                    <a:cubicBezTo>
                      <a:pt x="197" y="149"/>
                      <a:pt x="197" y="149"/>
                      <a:pt x="197" y="149"/>
                    </a:cubicBezTo>
                    <a:cubicBezTo>
                      <a:pt x="195" y="143"/>
                      <a:pt x="188" y="140"/>
                      <a:pt x="181" y="142"/>
                    </a:cubicBezTo>
                    <a:cubicBezTo>
                      <a:pt x="175" y="145"/>
                      <a:pt x="172" y="151"/>
                      <a:pt x="174" y="158"/>
                    </a:cubicBezTo>
                    <a:cubicBezTo>
                      <a:pt x="175" y="158"/>
                      <a:pt x="178" y="167"/>
                      <a:pt x="186" y="174"/>
                    </a:cubicBezTo>
                    <a:cubicBezTo>
                      <a:pt x="186" y="175"/>
                      <a:pt x="186" y="175"/>
                      <a:pt x="186" y="175"/>
                    </a:cubicBezTo>
                    <a:cubicBezTo>
                      <a:pt x="181" y="180"/>
                      <a:pt x="182" y="188"/>
                      <a:pt x="187" y="192"/>
                    </a:cubicBezTo>
                    <a:cubicBezTo>
                      <a:pt x="189" y="194"/>
                      <a:pt x="192" y="195"/>
                      <a:pt x="195" y="195"/>
                    </a:cubicBezTo>
                    <a:cubicBezTo>
                      <a:pt x="198" y="195"/>
                      <a:pt x="201" y="193"/>
                      <a:pt x="204" y="191"/>
                    </a:cubicBezTo>
                    <a:cubicBezTo>
                      <a:pt x="208" y="185"/>
                      <a:pt x="208" y="185"/>
                      <a:pt x="208" y="185"/>
                    </a:cubicBezTo>
                    <a:cubicBezTo>
                      <a:pt x="212" y="186"/>
                      <a:pt x="217" y="187"/>
                      <a:pt x="222" y="187"/>
                    </a:cubicBezTo>
                    <a:cubicBezTo>
                      <a:pt x="222" y="187"/>
                      <a:pt x="222" y="187"/>
                      <a:pt x="222" y="187"/>
                    </a:cubicBezTo>
                    <a:cubicBezTo>
                      <a:pt x="232" y="187"/>
                      <a:pt x="244" y="184"/>
                      <a:pt x="253" y="174"/>
                    </a:cubicBezTo>
                    <a:cubicBezTo>
                      <a:pt x="256" y="170"/>
                      <a:pt x="258" y="167"/>
                      <a:pt x="259" y="163"/>
                    </a:cubicBezTo>
                    <a:cubicBezTo>
                      <a:pt x="260" y="161"/>
                      <a:pt x="260" y="158"/>
                      <a:pt x="260" y="156"/>
                    </a:cubicBezTo>
                    <a:cubicBezTo>
                      <a:pt x="260" y="147"/>
                      <a:pt x="255" y="140"/>
                      <a:pt x="251" y="137"/>
                    </a:cubicBezTo>
                    <a:cubicBezTo>
                      <a:pt x="247" y="132"/>
                      <a:pt x="243" y="130"/>
                      <a:pt x="241" y="128"/>
                    </a:cubicBezTo>
                    <a:cubicBezTo>
                      <a:pt x="237" y="126"/>
                      <a:pt x="234" y="124"/>
                      <a:pt x="232" y="122"/>
                    </a:cubicBezTo>
                    <a:cubicBezTo>
                      <a:pt x="232" y="122"/>
                      <a:pt x="232" y="122"/>
                      <a:pt x="231" y="121"/>
                    </a:cubicBezTo>
                    <a:cubicBezTo>
                      <a:pt x="232" y="121"/>
                      <a:pt x="232" y="120"/>
                      <a:pt x="233" y="119"/>
                    </a:cubicBezTo>
                    <a:cubicBezTo>
                      <a:pt x="235" y="116"/>
                      <a:pt x="239" y="115"/>
                      <a:pt x="245" y="115"/>
                    </a:cubicBezTo>
                    <a:close/>
                  </a:path>
                </a:pathLst>
              </a:custGeom>
              <a:grpFill/>
              <a:ln>
                <a:noFill/>
              </a:ln>
            </p:spPr>
            <p:txBody>
              <a:bodyPr/>
              <a:lstStyle/>
              <a:p>
                <a:endParaRPr lang="sv-SE" dirty="0">
                  <a:solidFill>
                    <a:srgbClr val="58585A"/>
                  </a:solidFill>
                </a:endParaRPr>
              </a:p>
            </p:txBody>
          </p:sp>
          <p:sp>
            <p:nvSpPr>
              <p:cNvPr id="111" name="Freeform 3">
                <a:extLst>
                  <a:ext uri="{FF2B5EF4-FFF2-40B4-BE49-F238E27FC236}">
                    <a16:creationId xmlns:a16="http://schemas.microsoft.com/office/drawing/2014/main" id="{B3F2AA36-BDFF-45C2-BAFB-4EE25E7602FB}"/>
                  </a:ext>
                </a:extLst>
              </p:cNvPr>
              <p:cNvSpPr>
                <a:spLocks noChangeAspect="1" noEditPoints="1"/>
              </p:cNvSpPr>
              <p:nvPr/>
            </p:nvSpPr>
            <p:spPr bwMode="auto">
              <a:xfrm>
                <a:off x="3840163" y="1347788"/>
                <a:ext cx="598487" cy="594958"/>
              </a:xfrm>
              <a:custGeom>
                <a:avLst/>
                <a:gdLst>
                  <a:gd name="T0" fmla="*/ 2147483647 w 359"/>
                  <a:gd name="T1" fmla="*/ 2147483647 h 357"/>
                  <a:gd name="T2" fmla="*/ 2147483647 w 359"/>
                  <a:gd name="T3" fmla="*/ 2147483647 h 357"/>
                  <a:gd name="T4" fmla="*/ 2147483647 w 359"/>
                  <a:gd name="T5" fmla="*/ 2147483647 h 357"/>
                  <a:gd name="T6" fmla="*/ 2147483647 w 359"/>
                  <a:gd name="T7" fmla="*/ 2147483647 h 357"/>
                  <a:gd name="T8" fmla="*/ 2147483647 w 359"/>
                  <a:gd name="T9" fmla="*/ 2147483647 h 357"/>
                  <a:gd name="T10" fmla="*/ 2147483647 w 359"/>
                  <a:gd name="T11" fmla="*/ 2147483647 h 357"/>
                  <a:gd name="T12" fmla="*/ 2147483647 w 359"/>
                  <a:gd name="T13" fmla="*/ 2147483647 h 357"/>
                  <a:gd name="T14" fmla="*/ 2147483647 w 359"/>
                  <a:gd name="T15" fmla="*/ 2147483647 h 357"/>
                  <a:gd name="T16" fmla="*/ 2147483647 w 359"/>
                  <a:gd name="T17" fmla="*/ 2147483647 h 357"/>
                  <a:gd name="T18" fmla="*/ 2147483647 w 359"/>
                  <a:gd name="T19" fmla="*/ 2147483647 h 357"/>
                  <a:gd name="T20" fmla="*/ 2147483647 w 359"/>
                  <a:gd name="T21" fmla="*/ 2147483647 h 357"/>
                  <a:gd name="T22" fmla="*/ 2147483647 w 359"/>
                  <a:gd name="T23" fmla="*/ 2147483647 h 357"/>
                  <a:gd name="T24" fmla="*/ 2147483647 w 359"/>
                  <a:gd name="T25" fmla="*/ 2147483647 h 357"/>
                  <a:gd name="T26" fmla="*/ 2147483647 w 359"/>
                  <a:gd name="T27" fmla="*/ 2147483647 h 357"/>
                  <a:gd name="T28" fmla="*/ 2147483647 w 359"/>
                  <a:gd name="T29" fmla="*/ 2147483647 h 357"/>
                  <a:gd name="T30" fmla="*/ 2147483647 w 359"/>
                  <a:gd name="T31" fmla="*/ 2147483647 h 357"/>
                  <a:gd name="T32" fmla="*/ 2147483647 w 359"/>
                  <a:gd name="T33" fmla="*/ 2147483647 h 357"/>
                  <a:gd name="T34" fmla="*/ 2147483647 w 359"/>
                  <a:gd name="T35" fmla="*/ 2147483647 h 357"/>
                  <a:gd name="T36" fmla="*/ 2147483647 w 359"/>
                  <a:gd name="T37" fmla="*/ 2147483647 h 357"/>
                  <a:gd name="T38" fmla="*/ 2147483647 w 359"/>
                  <a:gd name="T39" fmla="*/ 2147483647 h 357"/>
                  <a:gd name="T40" fmla="*/ 2147483647 w 359"/>
                  <a:gd name="T41" fmla="*/ 2147483647 h 357"/>
                  <a:gd name="T42" fmla="*/ 2147483647 w 359"/>
                  <a:gd name="T43" fmla="*/ 2147483647 h 357"/>
                  <a:gd name="T44" fmla="*/ 2147483647 w 359"/>
                  <a:gd name="T45" fmla="*/ 2147483647 h 357"/>
                  <a:gd name="T46" fmla="*/ 2147483647 w 359"/>
                  <a:gd name="T47" fmla="*/ 2147483647 h 357"/>
                  <a:gd name="T48" fmla="*/ 2147483647 w 359"/>
                  <a:gd name="T49" fmla="*/ 2147483647 h 357"/>
                  <a:gd name="T50" fmla="*/ 2147483647 w 359"/>
                  <a:gd name="T51" fmla="*/ 2147483647 h 357"/>
                  <a:gd name="T52" fmla="*/ 2147483647 w 359"/>
                  <a:gd name="T53" fmla="*/ 2147483647 h 357"/>
                  <a:gd name="T54" fmla="*/ 2147483647 w 359"/>
                  <a:gd name="T55" fmla="*/ 2147483647 h 357"/>
                  <a:gd name="T56" fmla="*/ 2147483647 w 359"/>
                  <a:gd name="T57" fmla="*/ 2147483647 h 357"/>
                  <a:gd name="T58" fmla="*/ 2147483647 w 359"/>
                  <a:gd name="T59" fmla="*/ 2147483647 h 357"/>
                  <a:gd name="T60" fmla="*/ 2147483647 w 359"/>
                  <a:gd name="T61" fmla="*/ 2147483647 h 357"/>
                  <a:gd name="T62" fmla="*/ 2147483647 w 359"/>
                  <a:gd name="T63" fmla="*/ 2147483647 h 357"/>
                  <a:gd name="T64" fmla="*/ 2147483647 w 359"/>
                  <a:gd name="T65" fmla="*/ 2147483647 h 357"/>
                  <a:gd name="T66" fmla="*/ 2147483647 w 359"/>
                  <a:gd name="T67" fmla="*/ 2147483647 h 357"/>
                  <a:gd name="T68" fmla="*/ 2147483647 w 359"/>
                  <a:gd name="T69" fmla="*/ 2147483647 h 357"/>
                  <a:gd name="T70" fmla="*/ 2147483647 w 359"/>
                  <a:gd name="T71" fmla="*/ 2147483647 h 357"/>
                  <a:gd name="T72" fmla="*/ 2147483647 w 359"/>
                  <a:gd name="T73" fmla="*/ 2147483647 h 357"/>
                  <a:gd name="T74" fmla="*/ 2147483647 w 359"/>
                  <a:gd name="T75" fmla="*/ 2147483647 h 357"/>
                  <a:gd name="T76" fmla="*/ 2147483647 w 359"/>
                  <a:gd name="T77" fmla="*/ 2147483647 h 357"/>
                  <a:gd name="T78" fmla="*/ 2147483647 w 359"/>
                  <a:gd name="T79" fmla="*/ 2147483647 h 357"/>
                  <a:gd name="T80" fmla="*/ 2147483647 w 359"/>
                  <a:gd name="T81" fmla="*/ 2147483647 h 357"/>
                  <a:gd name="T82" fmla="*/ 2147483647 w 359"/>
                  <a:gd name="T83" fmla="*/ 2147483647 h 357"/>
                  <a:gd name="T84" fmla="*/ 2147483647 w 359"/>
                  <a:gd name="T85" fmla="*/ 2147483647 h 357"/>
                  <a:gd name="T86" fmla="*/ 2147483647 w 359"/>
                  <a:gd name="T87" fmla="*/ 2147483647 h 357"/>
                  <a:gd name="T88" fmla="*/ 2147483647 w 359"/>
                  <a:gd name="T89" fmla="*/ 2147483647 h 357"/>
                  <a:gd name="T90" fmla="*/ 2147483647 w 359"/>
                  <a:gd name="T91" fmla="*/ 2147483647 h 357"/>
                  <a:gd name="T92" fmla="*/ 2147483647 w 359"/>
                  <a:gd name="T93" fmla="*/ 2147483647 h 357"/>
                  <a:gd name="T94" fmla="*/ 2147483647 w 359"/>
                  <a:gd name="T95" fmla="*/ 2147483647 h 357"/>
                  <a:gd name="T96" fmla="*/ 2147483647 w 359"/>
                  <a:gd name="T97" fmla="*/ 2147483647 h 357"/>
                  <a:gd name="T98" fmla="*/ 2147483647 w 359"/>
                  <a:gd name="T99" fmla="*/ 2147483647 h 357"/>
                  <a:gd name="T100" fmla="*/ 2147483647 w 359"/>
                  <a:gd name="T101" fmla="*/ 2147483647 h 357"/>
                  <a:gd name="T102" fmla="*/ 2147483647 w 359"/>
                  <a:gd name="T103" fmla="*/ 2147483647 h 357"/>
                  <a:gd name="T104" fmla="*/ 2147483647 w 359"/>
                  <a:gd name="T105" fmla="*/ 2147483647 h 357"/>
                  <a:gd name="T106" fmla="*/ 2147483647 w 359"/>
                  <a:gd name="T107" fmla="*/ 2147483647 h 35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59" h="357">
                    <a:moveTo>
                      <a:pt x="212" y="194"/>
                    </a:moveTo>
                    <a:cubicBezTo>
                      <a:pt x="212" y="189"/>
                      <a:pt x="210" y="184"/>
                      <a:pt x="206" y="180"/>
                    </a:cubicBezTo>
                    <a:cubicBezTo>
                      <a:pt x="203" y="177"/>
                      <a:pt x="201" y="176"/>
                      <a:pt x="198" y="175"/>
                    </a:cubicBezTo>
                    <a:cubicBezTo>
                      <a:pt x="191" y="172"/>
                      <a:pt x="184" y="173"/>
                      <a:pt x="179" y="175"/>
                    </a:cubicBezTo>
                    <a:cubicBezTo>
                      <a:pt x="173" y="177"/>
                      <a:pt x="169" y="180"/>
                      <a:pt x="166" y="182"/>
                    </a:cubicBezTo>
                    <a:cubicBezTo>
                      <a:pt x="162" y="184"/>
                      <a:pt x="158" y="188"/>
                      <a:pt x="154" y="189"/>
                    </a:cubicBezTo>
                    <a:cubicBezTo>
                      <a:pt x="152" y="189"/>
                      <a:pt x="151" y="189"/>
                      <a:pt x="150" y="189"/>
                    </a:cubicBezTo>
                    <a:cubicBezTo>
                      <a:pt x="148" y="189"/>
                      <a:pt x="147" y="188"/>
                      <a:pt x="145" y="186"/>
                    </a:cubicBezTo>
                    <a:cubicBezTo>
                      <a:pt x="143" y="184"/>
                      <a:pt x="143" y="183"/>
                      <a:pt x="143" y="182"/>
                    </a:cubicBezTo>
                    <a:cubicBezTo>
                      <a:pt x="143" y="179"/>
                      <a:pt x="144" y="176"/>
                      <a:pt x="146" y="173"/>
                    </a:cubicBezTo>
                    <a:cubicBezTo>
                      <a:pt x="147" y="172"/>
                      <a:pt x="148" y="171"/>
                      <a:pt x="148" y="170"/>
                    </a:cubicBezTo>
                    <a:cubicBezTo>
                      <a:pt x="149" y="169"/>
                      <a:pt x="149" y="169"/>
                      <a:pt x="149" y="169"/>
                    </a:cubicBezTo>
                    <a:cubicBezTo>
                      <a:pt x="149" y="169"/>
                      <a:pt x="149" y="169"/>
                      <a:pt x="149" y="169"/>
                    </a:cubicBezTo>
                    <a:cubicBezTo>
                      <a:pt x="153" y="165"/>
                      <a:pt x="157" y="163"/>
                      <a:pt x="159" y="162"/>
                    </a:cubicBezTo>
                    <a:cubicBezTo>
                      <a:pt x="160" y="161"/>
                      <a:pt x="161" y="161"/>
                      <a:pt x="162" y="161"/>
                    </a:cubicBezTo>
                    <a:cubicBezTo>
                      <a:pt x="162" y="161"/>
                      <a:pt x="162" y="161"/>
                      <a:pt x="162" y="161"/>
                    </a:cubicBezTo>
                    <a:cubicBezTo>
                      <a:pt x="162" y="161"/>
                      <a:pt x="162" y="161"/>
                      <a:pt x="162" y="161"/>
                    </a:cubicBezTo>
                    <a:cubicBezTo>
                      <a:pt x="166" y="161"/>
                      <a:pt x="169" y="157"/>
                      <a:pt x="169" y="154"/>
                    </a:cubicBezTo>
                    <a:cubicBezTo>
                      <a:pt x="168" y="150"/>
                      <a:pt x="165" y="147"/>
                      <a:pt x="161" y="147"/>
                    </a:cubicBezTo>
                    <a:cubicBezTo>
                      <a:pt x="160" y="147"/>
                      <a:pt x="153" y="148"/>
                      <a:pt x="145" y="154"/>
                    </a:cubicBezTo>
                    <a:cubicBezTo>
                      <a:pt x="141" y="150"/>
                      <a:pt x="141" y="150"/>
                      <a:pt x="141" y="150"/>
                    </a:cubicBezTo>
                    <a:cubicBezTo>
                      <a:pt x="138" y="148"/>
                      <a:pt x="134" y="148"/>
                      <a:pt x="131" y="150"/>
                    </a:cubicBezTo>
                    <a:cubicBezTo>
                      <a:pt x="129" y="153"/>
                      <a:pt x="129" y="157"/>
                      <a:pt x="131" y="160"/>
                    </a:cubicBezTo>
                    <a:cubicBezTo>
                      <a:pt x="135" y="164"/>
                      <a:pt x="135" y="164"/>
                      <a:pt x="135" y="164"/>
                    </a:cubicBezTo>
                    <a:cubicBezTo>
                      <a:pt x="134" y="166"/>
                      <a:pt x="133" y="168"/>
                      <a:pt x="131" y="170"/>
                    </a:cubicBezTo>
                    <a:cubicBezTo>
                      <a:pt x="130" y="174"/>
                      <a:pt x="129" y="178"/>
                      <a:pt x="129" y="182"/>
                    </a:cubicBezTo>
                    <a:cubicBezTo>
                      <a:pt x="129" y="187"/>
                      <a:pt x="131" y="192"/>
                      <a:pt x="135" y="196"/>
                    </a:cubicBezTo>
                    <a:cubicBezTo>
                      <a:pt x="139" y="199"/>
                      <a:pt x="143" y="202"/>
                      <a:pt x="147" y="203"/>
                    </a:cubicBezTo>
                    <a:cubicBezTo>
                      <a:pt x="153" y="204"/>
                      <a:pt x="159" y="202"/>
                      <a:pt x="163" y="200"/>
                    </a:cubicBezTo>
                    <a:cubicBezTo>
                      <a:pt x="168" y="198"/>
                      <a:pt x="171" y="195"/>
                      <a:pt x="173" y="194"/>
                    </a:cubicBezTo>
                    <a:cubicBezTo>
                      <a:pt x="176" y="192"/>
                      <a:pt x="180" y="189"/>
                      <a:pt x="184" y="188"/>
                    </a:cubicBezTo>
                    <a:cubicBezTo>
                      <a:pt x="187" y="187"/>
                      <a:pt x="190" y="186"/>
                      <a:pt x="193" y="187"/>
                    </a:cubicBezTo>
                    <a:cubicBezTo>
                      <a:pt x="194" y="188"/>
                      <a:pt x="195" y="188"/>
                      <a:pt x="196" y="190"/>
                    </a:cubicBezTo>
                    <a:cubicBezTo>
                      <a:pt x="198" y="192"/>
                      <a:pt x="198" y="193"/>
                      <a:pt x="198" y="195"/>
                    </a:cubicBezTo>
                    <a:cubicBezTo>
                      <a:pt x="198" y="197"/>
                      <a:pt x="197" y="200"/>
                      <a:pt x="195" y="203"/>
                    </a:cubicBezTo>
                    <a:cubicBezTo>
                      <a:pt x="193" y="206"/>
                      <a:pt x="191" y="209"/>
                      <a:pt x="191" y="209"/>
                    </a:cubicBezTo>
                    <a:cubicBezTo>
                      <a:pt x="191" y="209"/>
                      <a:pt x="191" y="209"/>
                      <a:pt x="191" y="209"/>
                    </a:cubicBezTo>
                    <a:cubicBezTo>
                      <a:pt x="187" y="213"/>
                      <a:pt x="182" y="215"/>
                      <a:pt x="178" y="216"/>
                    </a:cubicBezTo>
                    <a:cubicBezTo>
                      <a:pt x="176" y="217"/>
                      <a:pt x="174" y="217"/>
                      <a:pt x="173" y="218"/>
                    </a:cubicBezTo>
                    <a:cubicBezTo>
                      <a:pt x="172" y="218"/>
                      <a:pt x="172" y="218"/>
                      <a:pt x="171" y="218"/>
                    </a:cubicBezTo>
                    <a:cubicBezTo>
                      <a:pt x="171" y="218"/>
                      <a:pt x="171" y="218"/>
                      <a:pt x="171" y="218"/>
                    </a:cubicBezTo>
                    <a:cubicBezTo>
                      <a:pt x="167" y="218"/>
                      <a:pt x="164" y="222"/>
                      <a:pt x="165" y="226"/>
                    </a:cubicBezTo>
                    <a:cubicBezTo>
                      <a:pt x="165" y="229"/>
                      <a:pt x="169" y="232"/>
                      <a:pt x="172" y="232"/>
                    </a:cubicBezTo>
                    <a:cubicBezTo>
                      <a:pt x="173" y="232"/>
                      <a:pt x="184" y="231"/>
                      <a:pt x="195" y="224"/>
                    </a:cubicBezTo>
                    <a:cubicBezTo>
                      <a:pt x="199" y="228"/>
                      <a:pt x="199" y="228"/>
                      <a:pt x="199" y="228"/>
                    </a:cubicBezTo>
                    <a:cubicBezTo>
                      <a:pt x="202" y="230"/>
                      <a:pt x="206" y="230"/>
                      <a:pt x="209" y="228"/>
                    </a:cubicBezTo>
                    <a:cubicBezTo>
                      <a:pt x="212" y="225"/>
                      <a:pt x="212" y="220"/>
                      <a:pt x="209" y="218"/>
                    </a:cubicBezTo>
                    <a:cubicBezTo>
                      <a:pt x="205" y="214"/>
                      <a:pt x="205" y="214"/>
                      <a:pt x="205" y="214"/>
                    </a:cubicBezTo>
                    <a:cubicBezTo>
                      <a:pt x="207" y="212"/>
                      <a:pt x="208" y="209"/>
                      <a:pt x="210" y="206"/>
                    </a:cubicBezTo>
                    <a:cubicBezTo>
                      <a:pt x="211" y="203"/>
                      <a:pt x="212" y="198"/>
                      <a:pt x="212" y="194"/>
                    </a:cubicBezTo>
                    <a:close/>
                    <a:moveTo>
                      <a:pt x="355" y="50"/>
                    </a:moveTo>
                    <a:cubicBezTo>
                      <a:pt x="359" y="34"/>
                      <a:pt x="356" y="21"/>
                      <a:pt x="347" y="12"/>
                    </a:cubicBezTo>
                    <a:cubicBezTo>
                      <a:pt x="338" y="3"/>
                      <a:pt x="325" y="0"/>
                      <a:pt x="310" y="4"/>
                    </a:cubicBezTo>
                    <a:cubicBezTo>
                      <a:pt x="296" y="7"/>
                      <a:pt x="282" y="16"/>
                      <a:pt x="270" y="28"/>
                    </a:cubicBezTo>
                    <a:cubicBezTo>
                      <a:pt x="267" y="30"/>
                      <a:pt x="265" y="33"/>
                      <a:pt x="263" y="35"/>
                    </a:cubicBezTo>
                    <a:cubicBezTo>
                      <a:pt x="243" y="33"/>
                      <a:pt x="243" y="33"/>
                      <a:pt x="243" y="33"/>
                    </a:cubicBezTo>
                    <a:cubicBezTo>
                      <a:pt x="239" y="33"/>
                      <a:pt x="235" y="36"/>
                      <a:pt x="234" y="40"/>
                    </a:cubicBezTo>
                    <a:cubicBezTo>
                      <a:pt x="234" y="45"/>
                      <a:pt x="237" y="49"/>
                      <a:pt x="242" y="49"/>
                    </a:cubicBezTo>
                    <a:cubicBezTo>
                      <a:pt x="253" y="50"/>
                      <a:pt x="253" y="50"/>
                      <a:pt x="253" y="50"/>
                    </a:cubicBezTo>
                    <a:cubicBezTo>
                      <a:pt x="249" y="57"/>
                      <a:pt x="247" y="63"/>
                      <a:pt x="246" y="70"/>
                    </a:cubicBezTo>
                    <a:cubicBezTo>
                      <a:pt x="242" y="71"/>
                      <a:pt x="239" y="73"/>
                      <a:pt x="236" y="76"/>
                    </a:cubicBezTo>
                    <a:cubicBezTo>
                      <a:pt x="223" y="89"/>
                      <a:pt x="223" y="110"/>
                      <a:pt x="236" y="123"/>
                    </a:cubicBezTo>
                    <a:cubicBezTo>
                      <a:pt x="242" y="129"/>
                      <a:pt x="251" y="133"/>
                      <a:pt x="260" y="133"/>
                    </a:cubicBezTo>
                    <a:cubicBezTo>
                      <a:pt x="268" y="133"/>
                      <a:pt x="277" y="129"/>
                      <a:pt x="283" y="123"/>
                    </a:cubicBezTo>
                    <a:cubicBezTo>
                      <a:pt x="296" y="110"/>
                      <a:pt x="296" y="89"/>
                      <a:pt x="283" y="76"/>
                    </a:cubicBezTo>
                    <a:cubicBezTo>
                      <a:pt x="277" y="71"/>
                      <a:pt x="270" y="67"/>
                      <a:pt x="263" y="67"/>
                    </a:cubicBezTo>
                    <a:cubicBezTo>
                      <a:pt x="265" y="62"/>
                      <a:pt x="267" y="57"/>
                      <a:pt x="271" y="52"/>
                    </a:cubicBezTo>
                    <a:cubicBezTo>
                      <a:pt x="304" y="55"/>
                      <a:pt x="304" y="55"/>
                      <a:pt x="304" y="55"/>
                    </a:cubicBezTo>
                    <a:cubicBezTo>
                      <a:pt x="315" y="161"/>
                      <a:pt x="315" y="161"/>
                      <a:pt x="315" y="161"/>
                    </a:cubicBezTo>
                    <a:cubicBezTo>
                      <a:pt x="137" y="339"/>
                      <a:pt x="137" y="339"/>
                      <a:pt x="137" y="339"/>
                    </a:cubicBezTo>
                    <a:cubicBezTo>
                      <a:pt x="134" y="342"/>
                      <a:pt x="129" y="342"/>
                      <a:pt x="126" y="339"/>
                    </a:cubicBezTo>
                    <a:cubicBezTo>
                      <a:pt x="20" y="233"/>
                      <a:pt x="20" y="233"/>
                      <a:pt x="20" y="233"/>
                    </a:cubicBezTo>
                    <a:cubicBezTo>
                      <a:pt x="17" y="230"/>
                      <a:pt x="17" y="225"/>
                      <a:pt x="20" y="222"/>
                    </a:cubicBezTo>
                    <a:cubicBezTo>
                      <a:pt x="198" y="44"/>
                      <a:pt x="198" y="44"/>
                      <a:pt x="198" y="44"/>
                    </a:cubicBezTo>
                    <a:cubicBezTo>
                      <a:pt x="210" y="45"/>
                      <a:pt x="210" y="45"/>
                      <a:pt x="210" y="45"/>
                    </a:cubicBezTo>
                    <a:cubicBezTo>
                      <a:pt x="214" y="46"/>
                      <a:pt x="218" y="43"/>
                      <a:pt x="219" y="38"/>
                    </a:cubicBezTo>
                    <a:cubicBezTo>
                      <a:pt x="219" y="34"/>
                      <a:pt x="216" y="30"/>
                      <a:pt x="212" y="29"/>
                    </a:cubicBezTo>
                    <a:cubicBezTo>
                      <a:pt x="196" y="28"/>
                      <a:pt x="196" y="28"/>
                      <a:pt x="196" y="28"/>
                    </a:cubicBezTo>
                    <a:cubicBezTo>
                      <a:pt x="194" y="27"/>
                      <a:pt x="192" y="28"/>
                      <a:pt x="190" y="30"/>
                    </a:cubicBezTo>
                    <a:cubicBezTo>
                      <a:pt x="9" y="211"/>
                      <a:pt x="9" y="211"/>
                      <a:pt x="9" y="211"/>
                    </a:cubicBezTo>
                    <a:cubicBezTo>
                      <a:pt x="0" y="220"/>
                      <a:pt x="0" y="235"/>
                      <a:pt x="9" y="245"/>
                    </a:cubicBezTo>
                    <a:cubicBezTo>
                      <a:pt x="114" y="350"/>
                      <a:pt x="114" y="350"/>
                      <a:pt x="114" y="350"/>
                    </a:cubicBezTo>
                    <a:cubicBezTo>
                      <a:pt x="119" y="355"/>
                      <a:pt x="125" y="357"/>
                      <a:pt x="131" y="357"/>
                    </a:cubicBezTo>
                    <a:cubicBezTo>
                      <a:pt x="137" y="357"/>
                      <a:pt x="143" y="355"/>
                      <a:pt x="148" y="350"/>
                    </a:cubicBezTo>
                    <a:cubicBezTo>
                      <a:pt x="329" y="169"/>
                      <a:pt x="329" y="169"/>
                      <a:pt x="329" y="169"/>
                    </a:cubicBezTo>
                    <a:cubicBezTo>
                      <a:pt x="331" y="167"/>
                      <a:pt x="332" y="165"/>
                      <a:pt x="331" y="163"/>
                    </a:cubicBezTo>
                    <a:cubicBezTo>
                      <a:pt x="324" y="96"/>
                      <a:pt x="324" y="96"/>
                      <a:pt x="324" y="96"/>
                    </a:cubicBezTo>
                    <a:cubicBezTo>
                      <a:pt x="325" y="96"/>
                      <a:pt x="325" y="95"/>
                      <a:pt x="326" y="95"/>
                    </a:cubicBezTo>
                    <a:cubicBezTo>
                      <a:pt x="340" y="80"/>
                      <a:pt x="350" y="65"/>
                      <a:pt x="355" y="50"/>
                    </a:cubicBezTo>
                    <a:close/>
                    <a:moveTo>
                      <a:pt x="260" y="117"/>
                    </a:moveTo>
                    <a:cubicBezTo>
                      <a:pt x="255" y="117"/>
                      <a:pt x="251" y="115"/>
                      <a:pt x="247" y="112"/>
                    </a:cubicBezTo>
                    <a:cubicBezTo>
                      <a:pt x="242" y="106"/>
                      <a:pt x="241" y="97"/>
                      <a:pt x="245" y="90"/>
                    </a:cubicBezTo>
                    <a:cubicBezTo>
                      <a:pt x="247" y="96"/>
                      <a:pt x="250" y="101"/>
                      <a:pt x="254" y="105"/>
                    </a:cubicBezTo>
                    <a:cubicBezTo>
                      <a:pt x="258" y="109"/>
                      <a:pt x="263" y="112"/>
                      <a:pt x="269" y="114"/>
                    </a:cubicBezTo>
                    <a:cubicBezTo>
                      <a:pt x="266" y="115"/>
                      <a:pt x="263" y="117"/>
                      <a:pt x="260" y="117"/>
                    </a:cubicBezTo>
                    <a:close/>
                    <a:moveTo>
                      <a:pt x="272" y="88"/>
                    </a:moveTo>
                    <a:cubicBezTo>
                      <a:pt x="275" y="91"/>
                      <a:pt x="276" y="95"/>
                      <a:pt x="276" y="99"/>
                    </a:cubicBezTo>
                    <a:cubicBezTo>
                      <a:pt x="272" y="98"/>
                      <a:pt x="268" y="97"/>
                      <a:pt x="265" y="94"/>
                    </a:cubicBezTo>
                    <a:cubicBezTo>
                      <a:pt x="262" y="91"/>
                      <a:pt x="261" y="87"/>
                      <a:pt x="260" y="83"/>
                    </a:cubicBezTo>
                    <a:cubicBezTo>
                      <a:pt x="265" y="83"/>
                      <a:pt x="269" y="85"/>
                      <a:pt x="272" y="88"/>
                    </a:cubicBezTo>
                    <a:close/>
                    <a:moveTo>
                      <a:pt x="322" y="75"/>
                    </a:moveTo>
                    <a:cubicBezTo>
                      <a:pt x="319" y="47"/>
                      <a:pt x="319" y="47"/>
                      <a:pt x="319" y="47"/>
                    </a:cubicBezTo>
                    <a:cubicBezTo>
                      <a:pt x="319" y="43"/>
                      <a:pt x="316" y="40"/>
                      <a:pt x="312" y="40"/>
                    </a:cubicBezTo>
                    <a:cubicBezTo>
                      <a:pt x="283" y="37"/>
                      <a:pt x="283" y="37"/>
                      <a:pt x="283" y="37"/>
                    </a:cubicBezTo>
                    <a:cubicBezTo>
                      <a:pt x="293" y="28"/>
                      <a:pt x="303" y="22"/>
                      <a:pt x="314" y="20"/>
                    </a:cubicBezTo>
                    <a:cubicBezTo>
                      <a:pt x="319" y="18"/>
                      <a:pt x="330" y="17"/>
                      <a:pt x="336" y="23"/>
                    </a:cubicBezTo>
                    <a:cubicBezTo>
                      <a:pt x="342" y="30"/>
                      <a:pt x="341" y="40"/>
                      <a:pt x="339" y="46"/>
                    </a:cubicBezTo>
                    <a:cubicBezTo>
                      <a:pt x="337" y="55"/>
                      <a:pt x="331" y="65"/>
                      <a:pt x="322" y="75"/>
                    </a:cubicBezTo>
                    <a:close/>
                  </a:path>
                </a:pathLst>
              </a:custGeom>
              <a:grpFill/>
              <a:ln>
                <a:noFill/>
              </a:ln>
            </p:spPr>
            <p:txBody>
              <a:bodyPr/>
              <a:lstStyle/>
              <a:p>
                <a:endParaRPr lang="sv-SE" dirty="0">
                  <a:solidFill>
                    <a:srgbClr val="58585A"/>
                  </a:solidFill>
                </a:endParaRPr>
              </a:p>
            </p:txBody>
          </p:sp>
        </p:grpSp>
        <p:grpSp>
          <p:nvGrpSpPr>
            <p:cNvPr id="93" name="Grupp 91">
              <a:extLst>
                <a:ext uri="{FF2B5EF4-FFF2-40B4-BE49-F238E27FC236}">
                  <a16:creationId xmlns:a16="http://schemas.microsoft.com/office/drawing/2014/main" id="{B44315C9-7754-4885-9B07-9961A00E202A}"/>
                </a:ext>
              </a:extLst>
            </p:cNvPr>
            <p:cNvGrpSpPr/>
            <p:nvPr/>
          </p:nvGrpSpPr>
          <p:grpSpPr>
            <a:xfrm>
              <a:off x="7300413" y="3484446"/>
              <a:ext cx="791165" cy="737356"/>
              <a:chOff x="-2240711" y="4818693"/>
              <a:chExt cx="1212011" cy="1129580"/>
            </a:xfrm>
            <a:grpFill/>
          </p:grpSpPr>
          <p:sp>
            <p:nvSpPr>
              <p:cNvPr id="105" name="Freeform 3">
                <a:extLst>
                  <a:ext uri="{FF2B5EF4-FFF2-40B4-BE49-F238E27FC236}">
                    <a16:creationId xmlns:a16="http://schemas.microsoft.com/office/drawing/2014/main" id="{D798FC2E-AA32-4D11-BD05-F8E1FF35262E}"/>
                  </a:ext>
                </a:extLst>
              </p:cNvPr>
              <p:cNvSpPr>
                <a:spLocks noChangeAspect="1" noEditPoints="1"/>
              </p:cNvSpPr>
              <p:nvPr/>
            </p:nvSpPr>
            <p:spPr bwMode="auto">
              <a:xfrm>
                <a:off x="-2230962" y="5414872"/>
                <a:ext cx="492631" cy="533401"/>
              </a:xfrm>
              <a:custGeom>
                <a:avLst/>
                <a:gdLst>
                  <a:gd name="T0" fmla="*/ 2147483647 w 368"/>
                  <a:gd name="T1" fmla="*/ 2147483647 h 399"/>
                  <a:gd name="T2" fmla="*/ 2147483647 w 368"/>
                  <a:gd name="T3" fmla="*/ 2147483647 h 399"/>
                  <a:gd name="T4" fmla="*/ 2147483647 w 368"/>
                  <a:gd name="T5" fmla="*/ 2147483647 h 399"/>
                  <a:gd name="T6" fmla="*/ 2147483647 w 368"/>
                  <a:gd name="T7" fmla="*/ 2147483647 h 399"/>
                  <a:gd name="T8" fmla="*/ 2147483647 w 368"/>
                  <a:gd name="T9" fmla="*/ 2147483647 h 399"/>
                  <a:gd name="T10" fmla="*/ 2147483647 w 368"/>
                  <a:gd name="T11" fmla="*/ 2147483647 h 399"/>
                  <a:gd name="T12" fmla="*/ 2147483647 w 368"/>
                  <a:gd name="T13" fmla="*/ 2147483647 h 399"/>
                  <a:gd name="T14" fmla="*/ 2147483647 w 368"/>
                  <a:gd name="T15" fmla="*/ 2147483647 h 399"/>
                  <a:gd name="T16" fmla="*/ 2147483647 w 368"/>
                  <a:gd name="T17" fmla="*/ 2147483647 h 399"/>
                  <a:gd name="T18" fmla="*/ 2147483647 w 368"/>
                  <a:gd name="T19" fmla="*/ 2147483647 h 399"/>
                  <a:gd name="T20" fmla="*/ 2147483647 w 368"/>
                  <a:gd name="T21" fmla="*/ 2147483647 h 399"/>
                  <a:gd name="T22" fmla="*/ 2147483647 w 368"/>
                  <a:gd name="T23" fmla="*/ 2147483647 h 399"/>
                  <a:gd name="T24" fmla="*/ 2147483647 w 368"/>
                  <a:gd name="T25" fmla="*/ 2147483647 h 399"/>
                  <a:gd name="T26" fmla="*/ 2147483647 w 368"/>
                  <a:gd name="T27" fmla="*/ 2147483647 h 399"/>
                  <a:gd name="T28" fmla="*/ 2147483647 w 368"/>
                  <a:gd name="T29" fmla="*/ 2147483647 h 399"/>
                  <a:gd name="T30" fmla="*/ 2147483647 w 368"/>
                  <a:gd name="T31" fmla="*/ 2147483647 h 399"/>
                  <a:gd name="T32" fmla="*/ 2147483647 w 368"/>
                  <a:gd name="T33" fmla="*/ 2147483647 h 399"/>
                  <a:gd name="T34" fmla="*/ 2147483647 w 368"/>
                  <a:gd name="T35" fmla="*/ 2147483647 h 399"/>
                  <a:gd name="T36" fmla="*/ 2147483647 w 368"/>
                  <a:gd name="T37" fmla="*/ 2147483647 h 399"/>
                  <a:gd name="T38" fmla="*/ 2147483647 w 368"/>
                  <a:gd name="T39" fmla="*/ 2147483647 h 399"/>
                  <a:gd name="T40" fmla="*/ 2147483647 w 368"/>
                  <a:gd name="T41" fmla="*/ 2147483647 h 399"/>
                  <a:gd name="T42" fmla="*/ 2147483647 w 368"/>
                  <a:gd name="T43" fmla="*/ 2147483647 h 399"/>
                  <a:gd name="T44" fmla="*/ 2147483647 w 368"/>
                  <a:gd name="T45" fmla="*/ 2147483647 h 399"/>
                  <a:gd name="T46" fmla="*/ 2147483647 w 368"/>
                  <a:gd name="T47" fmla="*/ 2147483647 h 399"/>
                  <a:gd name="T48" fmla="*/ 2147483647 w 368"/>
                  <a:gd name="T49" fmla="*/ 2147483647 h 399"/>
                  <a:gd name="T50" fmla="*/ 2147483647 w 368"/>
                  <a:gd name="T51" fmla="*/ 2147483647 h 399"/>
                  <a:gd name="T52" fmla="*/ 2147483647 w 368"/>
                  <a:gd name="T53" fmla="*/ 2147483647 h 399"/>
                  <a:gd name="T54" fmla="*/ 2147483647 w 368"/>
                  <a:gd name="T55" fmla="*/ 2147483647 h 399"/>
                  <a:gd name="T56" fmla="*/ 2147483647 w 368"/>
                  <a:gd name="T57" fmla="*/ 2147483647 h 399"/>
                  <a:gd name="T58" fmla="*/ 2147483647 w 368"/>
                  <a:gd name="T59" fmla="*/ 2147483647 h 399"/>
                  <a:gd name="T60" fmla="*/ 2147483647 w 368"/>
                  <a:gd name="T61" fmla="*/ 2147483647 h 399"/>
                  <a:gd name="T62" fmla="*/ 2147483647 w 368"/>
                  <a:gd name="T63" fmla="*/ 2147483647 h 399"/>
                  <a:gd name="T64" fmla="*/ 2147483647 w 368"/>
                  <a:gd name="T65" fmla="*/ 2147483647 h 399"/>
                  <a:gd name="T66" fmla="*/ 2147483647 w 368"/>
                  <a:gd name="T67" fmla="*/ 2147483647 h 399"/>
                  <a:gd name="T68" fmla="*/ 2147483647 w 368"/>
                  <a:gd name="T69" fmla="*/ 2147483647 h 399"/>
                  <a:gd name="T70" fmla="*/ 2147483647 w 368"/>
                  <a:gd name="T71" fmla="*/ 2147483647 h 399"/>
                  <a:gd name="T72" fmla="*/ 2147483647 w 368"/>
                  <a:gd name="T73" fmla="*/ 2147483647 h 399"/>
                  <a:gd name="T74" fmla="*/ 2147483647 w 368"/>
                  <a:gd name="T75" fmla="*/ 2147483647 h 399"/>
                  <a:gd name="T76" fmla="*/ 2147483647 w 368"/>
                  <a:gd name="T77" fmla="*/ 2147483647 h 399"/>
                  <a:gd name="T78" fmla="*/ 2147483647 w 368"/>
                  <a:gd name="T79" fmla="*/ 2147483647 h 399"/>
                  <a:gd name="T80" fmla="*/ 2147483647 w 368"/>
                  <a:gd name="T81" fmla="*/ 2147483647 h 399"/>
                  <a:gd name="T82" fmla="*/ 2147483647 w 368"/>
                  <a:gd name="T83" fmla="*/ 2147483647 h 399"/>
                  <a:gd name="T84" fmla="*/ 2147483647 w 368"/>
                  <a:gd name="T85" fmla="*/ 2147483647 h 399"/>
                  <a:gd name="T86" fmla="*/ 2147483647 w 368"/>
                  <a:gd name="T87" fmla="*/ 2147483647 h 399"/>
                  <a:gd name="T88" fmla="*/ 2147483647 w 368"/>
                  <a:gd name="T89" fmla="*/ 2147483647 h 399"/>
                  <a:gd name="T90" fmla="*/ 2147483647 w 368"/>
                  <a:gd name="T91" fmla="*/ 2147483647 h 399"/>
                  <a:gd name="T92" fmla="*/ 2147483647 w 368"/>
                  <a:gd name="T93" fmla="*/ 2147483647 h 399"/>
                  <a:gd name="T94" fmla="*/ 2147483647 w 368"/>
                  <a:gd name="T95" fmla="*/ 2147483647 h 399"/>
                  <a:gd name="T96" fmla="*/ 2147483647 w 368"/>
                  <a:gd name="T97" fmla="*/ 2147483647 h 399"/>
                  <a:gd name="T98" fmla="*/ 2147483647 w 368"/>
                  <a:gd name="T99" fmla="*/ 2147483647 h 399"/>
                  <a:gd name="T100" fmla="*/ 2147483647 w 368"/>
                  <a:gd name="T101" fmla="*/ 2147483647 h 399"/>
                  <a:gd name="T102" fmla="*/ 2147483647 w 368"/>
                  <a:gd name="T103" fmla="*/ 2147483647 h 399"/>
                  <a:gd name="T104" fmla="*/ 2147483647 w 368"/>
                  <a:gd name="T105" fmla="*/ 2147483647 h 3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68" h="399">
                    <a:moveTo>
                      <a:pt x="79" y="208"/>
                    </a:moveTo>
                    <a:cubicBezTo>
                      <a:pt x="81" y="209"/>
                      <a:pt x="82" y="210"/>
                      <a:pt x="84" y="210"/>
                    </a:cubicBezTo>
                    <a:cubicBezTo>
                      <a:pt x="87" y="210"/>
                      <a:pt x="89" y="209"/>
                      <a:pt x="90" y="207"/>
                    </a:cubicBezTo>
                    <a:cubicBezTo>
                      <a:pt x="93" y="204"/>
                      <a:pt x="93" y="199"/>
                      <a:pt x="90" y="196"/>
                    </a:cubicBezTo>
                    <a:cubicBezTo>
                      <a:pt x="75" y="182"/>
                      <a:pt x="66" y="163"/>
                      <a:pt x="66" y="142"/>
                    </a:cubicBezTo>
                    <a:cubicBezTo>
                      <a:pt x="66" y="139"/>
                      <a:pt x="66" y="135"/>
                      <a:pt x="67" y="132"/>
                    </a:cubicBezTo>
                    <a:cubicBezTo>
                      <a:pt x="69" y="116"/>
                      <a:pt x="73" y="103"/>
                      <a:pt x="84" y="92"/>
                    </a:cubicBezTo>
                    <a:cubicBezTo>
                      <a:pt x="87" y="89"/>
                      <a:pt x="87" y="84"/>
                      <a:pt x="84" y="81"/>
                    </a:cubicBezTo>
                    <a:cubicBezTo>
                      <a:pt x="81" y="78"/>
                      <a:pt x="76" y="78"/>
                      <a:pt x="73" y="81"/>
                    </a:cubicBezTo>
                    <a:cubicBezTo>
                      <a:pt x="59" y="95"/>
                      <a:pt x="53" y="110"/>
                      <a:pt x="51" y="130"/>
                    </a:cubicBezTo>
                    <a:cubicBezTo>
                      <a:pt x="50" y="134"/>
                      <a:pt x="50" y="138"/>
                      <a:pt x="50" y="142"/>
                    </a:cubicBezTo>
                    <a:cubicBezTo>
                      <a:pt x="50" y="167"/>
                      <a:pt x="61" y="191"/>
                      <a:pt x="79" y="208"/>
                    </a:cubicBezTo>
                    <a:close/>
                    <a:moveTo>
                      <a:pt x="26" y="135"/>
                    </a:moveTo>
                    <a:cubicBezTo>
                      <a:pt x="27" y="135"/>
                      <a:pt x="27" y="135"/>
                      <a:pt x="27" y="135"/>
                    </a:cubicBezTo>
                    <a:cubicBezTo>
                      <a:pt x="31" y="135"/>
                      <a:pt x="35" y="132"/>
                      <a:pt x="35" y="128"/>
                    </a:cubicBezTo>
                    <a:cubicBezTo>
                      <a:pt x="36" y="124"/>
                      <a:pt x="33" y="120"/>
                      <a:pt x="28" y="119"/>
                    </a:cubicBezTo>
                    <a:cubicBezTo>
                      <a:pt x="9" y="117"/>
                      <a:pt x="9" y="117"/>
                      <a:pt x="9" y="117"/>
                    </a:cubicBezTo>
                    <a:cubicBezTo>
                      <a:pt x="5" y="117"/>
                      <a:pt x="1" y="120"/>
                      <a:pt x="1" y="124"/>
                    </a:cubicBezTo>
                    <a:cubicBezTo>
                      <a:pt x="0" y="128"/>
                      <a:pt x="3" y="132"/>
                      <a:pt x="8" y="133"/>
                    </a:cubicBezTo>
                    <a:lnTo>
                      <a:pt x="26" y="135"/>
                    </a:lnTo>
                    <a:close/>
                    <a:moveTo>
                      <a:pt x="65" y="56"/>
                    </a:moveTo>
                    <a:cubicBezTo>
                      <a:pt x="67" y="58"/>
                      <a:pt x="69" y="59"/>
                      <a:pt x="71" y="59"/>
                    </a:cubicBezTo>
                    <a:cubicBezTo>
                      <a:pt x="73" y="59"/>
                      <a:pt x="75" y="58"/>
                      <a:pt x="76" y="57"/>
                    </a:cubicBezTo>
                    <a:cubicBezTo>
                      <a:pt x="80" y="54"/>
                      <a:pt x="80" y="49"/>
                      <a:pt x="78" y="46"/>
                    </a:cubicBezTo>
                    <a:cubicBezTo>
                      <a:pt x="66" y="31"/>
                      <a:pt x="66" y="31"/>
                      <a:pt x="66" y="31"/>
                    </a:cubicBezTo>
                    <a:cubicBezTo>
                      <a:pt x="63" y="27"/>
                      <a:pt x="58" y="26"/>
                      <a:pt x="55" y="29"/>
                    </a:cubicBezTo>
                    <a:cubicBezTo>
                      <a:pt x="51" y="32"/>
                      <a:pt x="51" y="37"/>
                      <a:pt x="54" y="40"/>
                    </a:cubicBezTo>
                    <a:lnTo>
                      <a:pt x="65" y="56"/>
                    </a:lnTo>
                    <a:close/>
                    <a:moveTo>
                      <a:pt x="21" y="82"/>
                    </a:moveTo>
                    <a:cubicBezTo>
                      <a:pt x="38" y="91"/>
                      <a:pt x="38" y="91"/>
                      <a:pt x="38" y="91"/>
                    </a:cubicBezTo>
                    <a:cubicBezTo>
                      <a:pt x="39" y="92"/>
                      <a:pt x="41" y="93"/>
                      <a:pt x="42" y="93"/>
                    </a:cubicBezTo>
                    <a:cubicBezTo>
                      <a:pt x="45" y="93"/>
                      <a:pt x="47" y="91"/>
                      <a:pt x="49" y="88"/>
                    </a:cubicBezTo>
                    <a:cubicBezTo>
                      <a:pt x="51" y="85"/>
                      <a:pt x="50" y="80"/>
                      <a:pt x="46" y="78"/>
                    </a:cubicBezTo>
                    <a:cubicBezTo>
                      <a:pt x="29" y="68"/>
                      <a:pt x="29" y="68"/>
                      <a:pt x="29" y="68"/>
                    </a:cubicBezTo>
                    <a:cubicBezTo>
                      <a:pt x="26" y="66"/>
                      <a:pt x="21" y="67"/>
                      <a:pt x="18" y="71"/>
                    </a:cubicBezTo>
                    <a:cubicBezTo>
                      <a:pt x="16" y="75"/>
                      <a:pt x="18" y="80"/>
                      <a:pt x="21" y="82"/>
                    </a:cubicBezTo>
                    <a:close/>
                    <a:moveTo>
                      <a:pt x="104" y="34"/>
                    </a:moveTo>
                    <a:cubicBezTo>
                      <a:pt x="105" y="37"/>
                      <a:pt x="109" y="40"/>
                      <a:pt x="112" y="40"/>
                    </a:cubicBezTo>
                    <a:cubicBezTo>
                      <a:pt x="113" y="40"/>
                      <a:pt x="113" y="40"/>
                      <a:pt x="114" y="39"/>
                    </a:cubicBezTo>
                    <a:cubicBezTo>
                      <a:pt x="118" y="38"/>
                      <a:pt x="121" y="34"/>
                      <a:pt x="120" y="30"/>
                    </a:cubicBezTo>
                    <a:cubicBezTo>
                      <a:pt x="114" y="10"/>
                      <a:pt x="114" y="10"/>
                      <a:pt x="114" y="10"/>
                    </a:cubicBezTo>
                    <a:cubicBezTo>
                      <a:pt x="113" y="6"/>
                      <a:pt x="109" y="3"/>
                      <a:pt x="105" y="4"/>
                    </a:cubicBezTo>
                    <a:cubicBezTo>
                      <a:pt x="100" y="5"/>
                      <a:pt x="98" y="10"/>
                      <a:pt x="99" y="14"/>
                    </a:cubicBezTo>
                    <a:lnTo>
                      <a:pt x="104" y="34"/>
                    </a:lnTo>
                    <a:close/>
                    <a:moveTo>
                      <a:pt x="194" y="51"/>
                    </a:moveTo>
                    <a:cubicBezTo>
                      <a:pt x="196" y="51"/>
                      <a:pt x="197" y="52"/>
                      <a:pt x="198" y="52"/>
                    </a:cubicBezTo>
                    <a:cubicBezTo>
                      <a:pt x="201" y="52"/>
                      <a:pt x="204" y="50"/>
                      <a:pt x="205" y="48"/>
                    </a:cubicBezTo>
                    <a:cubicBezTo>
                      <a:pt x="216" y="29"/>
                      <a:pt x="216" y="29"/>
                      <a:pt x="216" y="29"/>
                    </a:cubicBezTo>
                    <a:cubicBezTo>
                      <a:pt x="218" y="25"/>
                      <a:pt x="217" y="20"/>
                      <a:pt x="213" y="18"/>
                    </a:cubicBezTo>
                    <a:cubicBezTo>
                      <a:pt x="209" y="16"/>
                      <a:pt x="204" y="17"/>
                      <a:pt x="202" y="21"/>
                    </a:cubicBezTo>
                    <a:cubicBezTo>
                      <a:pt x="191" y="40"/>
                      <a:pt x="191" y="40"/>
                      <a:pt x="191" y="40"/>
                    </a:cubicBezTo>
                    <a:cubicBezTo>
                      <a:pt x="189" y="43"/>
                      <a:pt x="191" y="48"/>
                      <a:pt x="194" y="51"/>
                    </a:cubicBezTo>
                    <a:close/>
                    <a:moveTo>
                      <a:pt x="108" y="75"/>
                    </a:moveTo>
                    <a:cubicBezTo>
                      <a:pt x="118" y="70"/>
                      <a:pt x="128" y="67"/>
                      <a:pt x="140" y="67"/>
                    </a:cubicBezTo>
                    <a:cubicBezTo>
                      <a:pt x="143" y="67"/>
                      <a:pt x="146" y="68"/>
                      <a:pt x="150" y="68"/>
                    </a:cubicBezTo>
                    <a:cubicBezTo>
                      <a:pt x="175" y="71"/>
                      <a:pt x="196" y="87"/>
                      <a:pt x="206" y="108"/>
                    </a:cubicBezTo>
                    <a:cubicBezTo>
                      <a:pt x="208" y="111"/>
                      <a:pt x="211" y="112"/>
                      <a:pt x="214" y="112"/>
                    </a:cubicBezTo>
                    <a:cubicBezTo>
                      <a:pt x="215" y="112"/>
                      <a:pt x="216" y="112"/>
                      <a:pt x="217" y="112"/>
                    </a:cubicBezTo>
                    <a:cubicBezTo>
                      <a:pt x="221" y="110"/>
                      <a:pt x="223" y="105"/>
                      <a:pt x="221" y="101"/>
                    </a:cubicBezTo>
                    <a:cubicBezTo>
                      <a:pt x="208" y="75"/>
                      <a:pt x="182" y="56"/>
                      <a:pt x="152" y="52"/>
                    </a:cubicBezTo>
                    <a:cubicBezTo>
                      <a:pt x="148" y="52"/>
                      <a:pt x="144" y="51"/>
                      <a:pt x="140" y="51"/>
                    </a:cubicBezTo>
                    <a:cubicBezTo>
                      <a:pt x="126" y="51"/>
                      <a:pt x="113" y="54"/>
                      <a:pt x="101" y="61"/>
                    </a:cubicBezTo>
                    <a:cubicBezTo>
                      <a:pt x="97" y="63"/>
                      <a:pt x="95" y="67"/>
                      <a:pt x="97" y="71"/>
                    </a:cubicBezTo>
                    <a:cubicBezTo>
                      <a:pt x="99" y="75"/>
                      <a:pt x="104" y="77"/>
                      <a:pt x="108" y="75"/>
                    </a:cubicBezTo>
                    <a:close/>
                    <a:moveTo>
                      <a:pt x="231" y="81"/>
                    </a:moveTo>
                    <a:cubicBezTo>
                      <a:pt x="233" y="81"/>
                      <a:pt x="235" y="80"/>
                      <a:pt x="236" y="79"/>
                    </a:cubicBezTo>
                    <a:cubicBezTo>
                      <a:pt x="254" y="66"/>
                      <a:pt x="254" y="66"/>
                      <a:pt x="254" y="66"/>
                    </a:cubicBezTo>
                    <a:cubicBezTo>
                      <a:pt x="257" y="63"/>
                      <a:pt x="258" y="58"/>
                      <a:pt x="255" y="54"/>
                    </a:cubicBezTo>
                    <a:cubicBezTo>
                      <a:pt x="252" y="51"/>
                      <a:pt x="247" y="50"/>
                      <a:pt x="244" y="53"/>
                    </a:cubicBezTo>
                    <a:cubicBezTo>
                      <a:pt x="226" y="66"/>
                      <a:pt x="226" y="66"/>
                      <a:pt x="226" y="66"/>
                    </a:cubicBezTo>
                    <a:cubicBezTo>
                      <a:pt x="223" y="69"/>
                      <a:pt x="222" y="74"/>
                      <a:pt x="225" y="78"/>
                    </a:cubicBezTo>
                    <a:cubicBezTo>
                      <a:pt x="226" y="80"/>
                      <a:pt x="229" y="81"/>
                      <a:pt x="231" y="81"/>
                    </a:cubicBezTo>
                    <a:close/>
                    <a:moveTo>
                      <a:pt x="156" y="37"/>
                    </a:moveTo>
                    <a:cubicBezTo>
                      <a:pt x="156" y="37"/>
                      <a:pt x="156" y="37"/>
                      <a:pt x="157" y="37"/>
                    </a:cubicBezTo>
                    <a:cubicBezTo>
                      <a:pt x="161" y="37"/>
                      <a:pt x="164" y="34"/>
                      <a:pt x="165" y="30"/>
                    </a:cubicBezTo>
                    <a:cubicBezTo>
                      <a:pt x="167" y="9"/>
                      <a:pt x="167" y="9"/>
                      <a:pt x="167" y="9"/>
                    </a:cubicBezTo>
                    <a:cubicBezTo>
                      <a:pt x="168" y="5"/>
                      <a:pt x="165" y="1"/>
                      <a:pt x="160" y="0"/>
                    </a:cubicBezTo>
                    <a:cubicBezTo>
                      <a:pt x="156" y="0"/>
                      <a:pt x="152" y="3"/>
                      <a:pt x="151" y="7"/>
                    </a:cubicBezTo>
                    <a:cubicBezTo>
                      <a:pt x="149" y="28"/>
                      <a:pt x="149" y="28"/>
                      <a:pt x="149" y="28"/>
                    </a:cubicBezTo>
                    <a:cubicBezTo>
                      <a:pt x="148" y="32"/>
                      <a:pt x="151" y="36"/>
                      <a:pt x="156" y="37"/>
                    </a:cubicBezTo>
                    <a:close/>
                    <a:moveTo>
                      <a:pt x="38" y="170"/>
                    </a:moveTo>
                    <a:cubicBezTo>
                      <a:pt x="37" y="166"/>
                      <a:pt x="33" y="164"/>
                      <a:pt x="28" y="165"/>
                    </a:cubicBezTo>
                    <a:cubicBezTo>
                      <a:pt x="11" y="170"/>
                      <a:pt x="11" y="170"/>
                      <a:pt x="11" y="170"/>
                    </a:cubicBezTo>
                    <a:cubicBezTo>
                      <a:pt x="6" y="171"/>
                      <a:pt x="4" y="175"/>
                      <a:pt x="5" y="180"/>
                    </a:cubicBezTo>
                    <a:cubicBezTo>
                      <a:pt x="6" y="183"/>
                      <a:pt x="9" y="185"/>
                      <a:pt x="13" y="185"/>
                    </a:cubicBezTo>
                    <a:cubicBezTo>
                      <a:pt x="13" y="185"/>
                      <a:pt x="14" y="185"/>
                      <a:pt x="15" y="185"/>
                    </a:cubicBezTo>
                    <a:cubicBezTo>
                      <a:pt x="33" y="180"/>
                      <a:pt x="33" y="180"/>
                      <a:pt x="33" y="180"/>
                    </a:cubicBezTo>
                    <a:cubicBezTo>
                      <a:pt x="37" y="179"/>
                      <a:pt x="39" y="175"/>
                      <a:pt x="38" y="170"/>
                    </a:cubicBezTo>
                    <a:close/>
                    <a:moveTo>
                      <a:pt x="207" y="204"/>
                    </a:moveTo>
                    <a:cubicBezTo>
                      <a:pt x="236" y="204"/>
                      <a:pt x="236" y="204"/>
                      <a:pt x="236" y="204"/>
                    </a:cubicBezTo>
                    <a:cubicBezTo>
                      <a:pt x="238" y="204"/>
                      <a:pt x="240" y="202"/>
                      <a:pt x="241" y="200"/>
                    </a:cubicBezTo>
                    <a:cubicBezTo>
                      <a:pt x="260" y="167"/>
                      <a:pt x="260" y="167"/>
                      <a:pt x="260" y="167"/>
                    </a:cubicBezTo>
                    <a:cubicBezTo>
                      <a:pt x="261" y="165"/>
                      <a:pt x="261" y="164"/>
                      <a:pt x="259" y="164"/>
                    </a:cubicBezTo>
                    <a:cubicBezTo>
                      <a:pt x="230" y="164"/>
                      <a:pt x="230" y="164"/>
                      <a:pt x="230" y="164"/>
                    </a:cubicBezTo>
                    <a:cubicBezTo>
                      <a:pt x="228" y="164"/>
                      <a:pt x="226" y="165"/>
                      <a:pt x="225" y="167"/>
                    </a:cubicBezTo>
                    <a:cubicBezTo>
                      <a:pt x="205" y="200"/>
                      <a:pt x="205" y="200"/>
                      <a:pt x="205" y="200"/>
                    </a:cubicBezTo>
                    <a:cubicBezTo>
                      <a:pt x="204" y="202"/>
                      <a:pt x="205" y="204"/>
                      <a:pt x="207" y="204"/>
                    </a:cubicBezTo>
                    <a:close/>
                    <a:moveTo>
                      <a:pt x="41" y="231"/>
                    </a:moveTo>
                    <a:cubicBezTo>
                      <a:pt x="56" y="219"/>
                      <a:pt x="56" y="219"/>
                      <a:pt x="56" y="219"/>
                    </a:cubicBezTo>
                    <a:cubicBezTo>
                      <a:pt x="60" y="216"/>
                      <a:pt x="60" y="211"/>
                      <a:pt x="57" y="208"/>
                    </a:cubicBezTo>
                    <a:cubicBezTo>
                      <a:pt x="55" y="204"/>
                      <a:pt x="50" y="204"/>
                      <a:pt x="46" y="206"/>
                    </a:cubicBezTo>
                    <a:cubicBezTo>
                      <a:pt x="31" y="218"/>
                      <a:pt x="31" y="218"/>
                      <a:pt x="31" y="218"/>
                    </a:cubicBezTo>
                    <a:cubicBezTo>
                      <a:pt x="28" y="221"/>
                      <a:pt x="27" y="226"/>
                      <a:pt x="30" y="229"/>
                    </a:cubicBezTo>
                    <a:cubicBezTo>
                      <a:pt x="31" y="231"/>
                      <a:pt x="34" y="232"/>
                      <a:pt x="36" y="232"/>
                    </a:cubicBezTo>
                    <a:cubicBezTo>
                      <a:pt x="38" y="232"/>
                      <a:pt x="40" y="232"/>
                      <a:pt x="41" y="231"/>
                    </a:cubicBezTo>
                    <a:close/>
                    <a:moveTo>
                      <a:pt x="120" y="261"/>
                    </a:moveTo>
                    <a:cubicBezTo>
                      <a:pt x="148" y="261"/>
                      <a:pt x="148" y="261"/>
                      <a:pt x="148" y="261"/>
                    </a:cubicBezTo>
                    <a:cubicBezTo>
                      <a:pt x="150" y="261"/>
                      <a:pt x="153" y="259"/>
                      <a:pt x="154" y="257"/>
                    </a:cubicBezTo>
                    <a:cubicBezTo>
                      <a:pt x="173" y="224"/>
                      <a:pt x="173" y="224"/>
                      <a:pt x="173" y="224"/>
                    </a:cubicBezTo>
                    <a:cubicBezTo>
                      <a:pt x="174" y="222"/>
                      <a:pt x="173" y="220"/>
                      <a:pt x="171" y="220"/>
                    </a:cubicBezTo>
                    <a:cubicBezTo>
                      <a:pt x="143" y="220"/>
                      <a:pt x="143" y="220"/>
                      <a:pt x="143" y="220"/>
                    </a:cubicBezTo>
                    <a:cubicBezTo>
                      <a:pt x="141" y="220"/>
                      <a:pt x="138" y="222"/>
                      <a:pt x="137" y="224"/>
                    </a:cubicBezTo>
                    <a:cubicBezTo>
                      <a:pt x="118" y="257"/>
                      <a:pt x="118" y="257"/>
                      <a:pt x="118" y="257"/>
                    </a:cubicBezTo>
                    <a:cubicBezTo>
                      <a:pt x="117" y="259"/>
                      <a:pt x="118" y="261"/>
                      <a:pt x="120" y="261"/>
                    </a:cubicBezTo>
                    <a:close/>
                    <a:moveTo>
                      <a:pt x="139" y="277"/>
                    </a:moveTo>
                    <a:cubicBezTo>
                      <a:pt x="110" y="277"/>
                      <a:pt x="110" y="277"/>
                      <a:pt x="110" y="277"/>
                    </a:cubicBezTo>
                    <a:cubicBezTo>
                      <a:pt x="108" y="277"/>
                      <a:pt x="105" y="279"/>
                      <a:pt x="104" y="281"/>
                    </a:cubicBezTo>
                    <a:cubicBezTo>
                      <a:pt x="85" y="314"/>
                      <a:pt x="85" y="314"/>
                      <a:pt x="85" y="314"/>
                    </a:cubicBezTo>
                    <a:cubicBezTo>
                      <a:pt x="84" y="316"/>
                      <a:pt x="85" y="317"/>
                      <a:pt x="87" y="317"/>
                    </a:cubicBezTo>
                    <a:cubicBezTo>
                      <a:pt x="115" y="317"/>
                      <a:pt x="115" y="317"/>
                      <a:pt x="115" y="317"/>
                    </a:cubicBezTo>
                    <a:cubicBezTo>
                      <a:pt x="117" y="317"/>
                      <a:pt x="120" y="316"/>
                      <a:pt x="121" y="314"/>
                    </a:cubicBezTo>
                    <a:cubicBezTo>
                      <a:pt x="140" y="281"/>
                      <a:pt x="140" y="281"/>
                      <a:pt x="140" y="281"/>
                    </a:cubicBezTo>
                    <a:cubicBezTo>
                      <a:pt x="141" y="279"/>
                      <a:pt x="141" y="277"/>
                      <a:pt x="139" y="277"/>
                    </a:cubicBezTo>
                    <a:close/>
                    <a:moveTo>
                      <a:pt x="249" y="277"/>
                    </a:moveTo>
                    <a:cubicBezTo>
                      <a:pt x="220" y="277"/>
                      <a:pt x="220" y="277"/>
                      <a:pt x="220" y="277"/>
                    </a:cubicBezTo>
                    <a:cubicBezTo>
                      <a:pt x="218" y="277"/>
                      <a:pt x="215" y="279"/>
                      <a:pt x="214" y="281"/>
                    </a:cubicBezTo>
                    <a:cubicBezTo>
                      <a:pt x="195" y="314"/>
                      <a:pt x="195" y="314"/>
                      <a:pt x="195" y="314"/>
                    </a:cubicBezTo>
                    <a:cubicBezTo>
                      <a:pt x="194" y="316"/>
                      <a:pt x="195" y="317"/>
                      <a:pt x="197" y="317"/>
                    </a:cubicBezTo>
                    <a:cubicBezTo>
                      <a:pt x="225" y="317"/>
                      <a:pt x="225" y="317"/>
                      <a:pt x="225" y="317"/>
                    </a:cubicBezTo>
                    <a:cubicBezTo>
                      <a:pt x="227" y="317"/>
                      <a:pt x="230" y="316"/>
                      <a:pt x="231" y="314"/>
                    </a:cubicBezTo>
                    <a:cubicBezTo>
                      <a:pt x="250" y="281"/>
                      <a:pt x="250" y="281"/>
                      <a:pt x="250" y="281"/>
                    </a:cubicBezTo>
                    <a:cubicBezTo>
                      <a:pt x="251" y="279"/>
                      <a:pt x="251" y="277"/>
                      <a:pt x="249" y="277"/>
                    </a:cubicBezTo>
                    <a:close/>
                    <a:moveTo>
                      <a:pt x="238" y="351"/>
                    </a:moveTo>
                    <a:cubicBezTo>
                      <a:pt x="246" y="350"/>
                      <a:pt x="251" y="347"/>
                      <a:pt x="255" y="340"/>
                    </a:cubicBezTo>
                    <a:cubicBezTo>
                      <a:pt x="255" y="340"/>
                      <a:pt x="255" y="340"/>
                      <a:pt x="255" y="340"/>
                    </a:cubicBezTo>
                    <a:cubicBezTo>
                      <a:pt x="365" y="149"/>
                      <a:pt x="365" y="149"/>
                      <a:pt x="365" y="149"/>
                    </a:cubicBezTo>
                    <a:cubicBezTo>
                      <a:pt x="367" y="147"/>
                      <a:pt x="368" y="145"/>
                      <a:pt x="368" y="142"/>
                    </a:cubicBezTo>
                    <a:cubicBezTo>
                      <a:pt x="368" y="139"/>
                      <a:pt x="366" y="135"/>
                      <a:pt x="364" y="133"/>
                    </a:cubicBezTo>
                    <a:cubicBezTo>
                      <a:pt x="361" y="131"/>
                      <a:pt x="358" y="130"/>
                      <a:pt x="355" y="130"/>
                    </a:cubicBezTo>
                    <a:cubicBezTo>
                      <a:pt x="164" y="130"/>
                      <a:pt x="164" y="130"/>
                      <a:pt x="164" y="130"/>
                    </a:cubicBezTo>
                    <a:cubicBezTo>
                      <a:pt x="156" y="130"/>
                      <a:pt x="151" y="134"/>
                      <a:pt x="147" y="141"/>
                    </a:cubicBezTo>
                    <a:cubicBezTo>
                      <a:pt x="36" y="332"/>
                      <a:pt x="36" y="332"/>
                      <a:pt x="36" y="332"/>
                    </a:cubicBezTo>
                    <a:cubicBezTo>
                      <a:pt x="35" y="334"/>
                      <a:pt x="34" y="336"/>
                      <a:pt x="34" y="339"/>
                    </a:cubicBezTo>
                    <a:cubicBezTo>
                      <a:pt x="34" y="342"/>
                      <a:pt x="35" y="346"/>
                      <a:pt x="38" y="348"/>
                    </a:cubicBezTo>
                    <a:cubicBezTo>
                      <a:pt x="41" y="350"/>
                      <a:pt x="44" y="351"/>
                      <a:pt x="46" y="351"/>
                    </a:cubicBezTo>
                    <a:cubicBezTo>
                      <a:pt x="192" y="351"/>
                      <a:pt x="192" y="351"/>
                      <a:pt x="192" y="351"/>
                    </a:cubicBezTo>
                    <a:cubicBezTo>
                      <a:pt x="192" y="380"/>
                      <a:pt x="192" y="380"/>
                      <a:pt x="192" y="380"/>
                    </a:cubicBezTo>
                    <a:cubicBezTo>
                      <a:pt x="117" y="380"/>
                      <a:pt x="117" y="380"/>
                      <a:pt x="117" y="380"/>
                    </a:cubicBezTo>
                    <a:cubicBezTo>
                      <a:pt x="112" y="380"/>
                      <a:pt x="108" y="384"/>
                      <a:pt x="108" y="390"/>
                    </a:cubicBezTo>
                    <a:cubicBezTo>
                      <a:pt x="108" y="395"/>
                      <a:pt x="112" y="399"/>
                      <a:pt x="117" y="399"/>
                    </a:cubicBezTo>
                    <a:cubicBezTo>
                      <a:pt x="282" y="399"/>
                      <a:pt x="282" y="399"/>
                      <a:pt x="282" y="399"/>
                    </a:cubicBezTo>
                    <a:cubicBezTo>
                      <a:pt x="287" y="399"/>
                      <a:pt x="291" y="395"/>
                      <a:pt x="291" y="390"/>
                    </a:cubicBezTo>
                    <a:cubicBezTo>
                      <a:pt x="291" y="384"/>
                      <a:pt x="287" y="380"/>
                      <a:pt x="282" y="380"/>
                    </a:cubicBezTo>
                    <a:cubicBezTo>
                      <a:pt x="209" y="380"/>
                      <a:pt x="209" y="380"/>
                      <a:pt x="209" y="380"/>
                    </a:cubicBezTo>
                    <a:cubicBezTo>
                      <a:pt x="209" y="351"/>
                      <a:pt x="209" y="351"/>
                      <a:pt x="209" y="351"/>
                    </a:cubicBezTo>
                    <a:lnTo>
                      <a:pt x="238" y="351"/>
                    </a:lnTo>
                    <a:close/>
                    <a:moveTo>
                      <a:pt x="55" y="334"/>
                    </a:moveTo>
                    <a:cubicBezTo>
                      <a:pt x="161" y="149"/>
                      <a:pt x="161" y="149"/>
                      <a:pt x="161" y="149"/>
                    </a:cubicBezTo>
                    <a:cubicBezTo>
                      <a:pt x="162" y="149"/>
                      <a:pt x="162" y="148"/>
                      <a:pt x="163" y="148"/>
                    </a:cubicBezTo>
                    <a:cubicBezTo>
                      <a:pt x="163" y="147"/>
                      <a:pt x="164" y="147"/>
                      <a:pt x="164" y="147"/>
                    </a:cubicBezTo>
                    <a:cubicBezTo>
                      <a:pt x="164" y="147"/>
                      <a:pt x="164" y="147"/>
                      <a:pt x="164" y="147"/>
                    </a:cubicBezTo>
                    <a:cubicBezTo>
                      <a:pt x="347" y="147"/>
                      <a:pt x="347" y="147"/>
                      <a:pt x="347" y="147"/>
                    </a:cubicBezTo>
                    <a:cubicBezTo>
                      <a:pt x="240" y="332"/>
                      <a:pt x="240" y="332"/>
                      <a:pt x="240" y="332"/>
                    </a:cubicBezTo>
                    <a:cubicBezTo>
                      <a:pt x="240" y="332"/>
                      <a:pt x="239" y="333"/>
                      <a:pt x="239" y="333"/>
                    </a:cubicBezTo>
                    <a:cubicBezTo>
                      <a:pt x="238" y="334"/>
                      <a:pt x="238" y="334"/>
                      <a:pt x="238" y="334"/>
                    </a:cubicBezTo>
                    <a:cubicBezTo>
                      <a:pt x="238" y="334"/>
                      <a:pt x="238" y="334"/>
                      <a:pt x="238" y="334"/>
                    </a:cubicBezTo>
                    <a:lnTo>
                      <a:pt x="55" y="334"/>
                    </a:lnTo>
                    <a:close/>
                    <a:moveTo>
                      <a:pt x="193" y="277"/>
                    </a:moveTo>
                    <a:cubicBezTo>
                      <a:pt x="165" y="277"/>
                      <a:pt x="165" y="277"/>
                      <a:pt x="165" y="277"/>
                    </a:cubicBezTo>
                    <a:cubicBezTo>
                      <a:pt x="163" y="277"/>
                      <a:pt x="160" y="279"/>
                      <a:pt x="159" y="281"/>
                    </a:cubicBezTo>
                    <a:cubicBezTo>
                      <a:pt x="140" y="314"/>
                      <a:pt x="140" y="314"/>
                      <a:pt x="140" y="314"/>
                    </a:cubicBezTo>
                    <a:cubicBezTo>
                      <a:pt x="139" y="316"/>
                      <a:pt x="139" y="317"/>
                      <a:pt x="141" y="317"/>
                    </a:cubicBezTo>
                    <a:cubicBezTo>
                      <a:pt x="170" y="317"/>
                      <a:pt x="170" y="317"/>
                      <a:pt x="170" y="317"/>
                    </a:cubicBezTo>
                    <a:cubicBezTo>
                      <a:pt x="172" y="317"/>
                      <a:pt x="175" y="316"/>
                      <a:pt x="176" y="314"/>
                    </a:cubicBezTo>
                    <a:cubicBezTo>
                      <a:pt x="195" y="281"/>
                      <a:pt x="195" y="281"/>
                      <a:pt x="195" y="281"/>
                    </a:cubicBezTo>
                    <a:cubicBezTo>
                      <a:pt x="196" y="279"/>
                      <a:pt x="195" y="277"/>
                      <a:pt x="193" y="277"/>
                    </a:cubicBezTo>
                    <a:close/>
                    <a:moveTo>
                      <a:pt x="152" y="204"/>
                    </a:moveTo>
                    <a:cubicBezTo>
                      <a:pt x="181" y="204"/>
                      <a:pt x="181" y="204"/>
                      <a:pt x="181" y="204"/>
                    </a:cubicBezTo>
                    <a:cubicBezTo>
                      <a:pt x="183" y="204"/>
                      <a:pt x="185" y="202"/>
                      <a:pt x="187" y="200"/>
                    </a:cubicBezTo>
                    <a:cubicBezTo>
                      <a:pt x="206" y="167"/>
                      <a:pt x="206" y="167"/>
                      <a:pt x="206" y="167"/>
                    </a:cubicBezTo>
                    <a:cubicBezTo>
                      <a:pt x="207" y="165"/>
                      <a:pt x="206" y="164"/>
                      <a:pt x="204" y="164"/>
                    </a:cubicBezTo>
                    <a:cubicBezTo>
                      <a:pt x="175" y="164"/>
                      <a:pt x="175" y="164"/>
                      <a:pt x="175" y="164"/>
                    </a:cubicBezTo>
                    <a:cubicBezTo>
                      <a:pt x="173" y="164"/>
                      <a:pt x="171" y="165"/>
                      <a:pt x="170" y="167"/>
                    </a:cubicBezTo>
                    <a:cubicBezTo>
                      <a:pt x="151" y="200"/>
                      <a:pt x="151" y="200"/>
                      <a:pt x="151" y="200"/>
                    </a:cubicBezTo>
                    <a:cubicBezTo>
                      <a:pt x="150" y="202"/>
                      <a:pt x="150" y="204"/>
                      <a:pt x="152" y="204"/>
                    </a:cubicBezTo>
                    <a:close/>
                    <a:moveTo>
                      <a:pt x="226" y="220"/>
                    </a:moveTo>
                    <a:cubicBezTo>
                      <a:pt x="197" y="220"/>
                      <a:pt x="197" y="220"/>
                      <a:pt x="197" y="220"/>
                    </a:cubicBezTo>
                    <a:cubicBezTo>
                      <a:pt x="195" y="220"/>
                      <a:pt x="193" y="222"/>
                      <a:pt x="192" y="224"/>
                    </a:cubicBezTo>
                    <a:cubicBezTo>
                      <a:pt x="173" y="257"/>
                      <a:pt x="173" y="257"/>
                      <a:pt x="173" y="257"/>
                    </a:cubicBezTo>
                    <a:cubicBezTo>
                      <a:pt x="172" y="259"/>
                      <a:pt x="172" y="261"/>
                      <a:pt x="174" y="261"/>
                    </a:cubicBezTo>
                    <a:cubicBezTo>
                      <a:pt x="203" y="261"/>
                      <a:pt x="203" y="261"/>
                      <a:pt x="203" y="261"/>
                    </a:cubicBezTo>
                    <a:cubicBezTo>
                      <a:pt x="205" y="261"/>
                      <a:pt x="207" y="259"/>
                      <a:pt x="208" y="257"/>
                    </a:cubicBezTo>
                    <a:cubicBezTo>
                      <a:pt x="228" y="224"/>
                      <a:pt x="228" y="224"/>
                      <a:pt x="228" y="224"/>
                    </a:cubicBezTo>
                    <a:cubicBezTo>
                      <a:pt x="229" y="222"/>
                      <a:pt x="228" y="220"/>
                      <a:pt x="226" y="220"/>
                    </a:cubicBezTo>
                    <a:close/>
                    <a:moveTo>
                      <a:pt x="281" y="220"/>
                    </a:moveTo>
                    <a:cubicBezTo>
                      <a:pt x="253" y="220"/>
                      <a:pt x="253" y="220"/>
                      <a:pt x="253" y="220"/>
                    </a:cubicBezTo>
                    <a:cubicBezTo>
                      <a:pt x="251" y="220"/>
                      <a:pt x="248" y="222"/>
                      <a:pt x="247" y="224"/>
                    </a:cubicBezTo>
                    <a:cubicBezTo>
                      <a:pt x="228" y="257"/>
                      <a:pt x="228" y="257"/>
                      <a:pt x="228" y="257"/>
                    </a:cubicBezTo>
                    <a:cubicBezTo>
                      <a:pt x="227" y="259"/>
                      <a:pt x="228" y="261"/>
                      <a:pt x="230" y="261"/>
                    </a:cubicBezTo>
                    <a:cubicBezTo>
                      <a:pt x="258" y="261"/>
                      <a:pt x="258" y="261"/>
                      <a:pt x="258" y="261"/>
                    </a:cubicBezTo>
                    <a:cubicBezTo>
                      <a:pt x="260" y="261"/>
                      <a:pt x="263" y="259"/>
                      <a:pt x="264" y="257"/>
                    </a:cubicBezTo>
                    <a:cubicBezTo>
                      <a:pt x="283" y="224"/>
                      <a:pt x="283" y="224"/>
                      <a:pt x="283" y="224"/>
                    </a:cubicBezTo>
                    <a:cubicBezTo>
                      <a:pt x="284" y="222"/>
                      <a:pt x="283" y="220"/>
                      <a:pt x="281" y="220"/>
                    </a:cubicBezTo>
                    <a:close/>
                    <a:moveTo>
                      <a:pt x="262" y="204"/>
                    </a:moveTo>
                    <a:cubicBezTo>
                      <a:pt x="291" y="204"/>
                      <a:pt x="291" y="204"/>
                      <a:pt x="291" y="204"/>
                    </a:cubicBezTo>
                    <a:cubicBezTo>
                      <a:pt x="293" y="204"/>
                      <a:pt x="295" y="202"/>
                      <a:pt x="297" y="200"/>
                    </a:cubicBezTo>
                    <a:cubicBezTo>
                      <a:pt x="316" y="167"/>
                      <a:pt x="316" y="167"/>
                      <a:pt x="316" y="167"/>
                    </a:cubicBezTo>
                    <a:cubicBezTo>
                      <a:pt x="317" y="165"/>
                      <a:pt x="316" y="164"/>
                      <a:pt x="314" y="164"/>
                    </a:cubicBezTo>
                    <a:cubicBezTo>
                      <a:pt x="286" y="164"/>
                      <a:pt x="286" y="164"/>
                      <a:pt x="286" y="164"/>
                    </a:cubicBezTo>
                    <a:cubicBezTo>
                      <a:pt x="284" y="164"/>
                      <a:pt x="281" y="165"/>
                      <a:pt x="280" y="167"/>
                    </a:cubicBezTo>
                    <a:cubicBezTo>
                      <a:pt x="261" y="200"/>
                      <a:pt x="261" y="200"/>
                      <a:pt x="261" y="200"/>
                    </a:cubicBezTo>
                    <a:cubicBezTo>
                      <a:pt x="260" y="202"/>
                      <a:pt x="260" y="204"/>
                      <a:pt x="262" y="204"/>
                    </a:cubicBezTo>
                    <a:close/>
                  </a:path>
                </a:pathLst>
              </a:custGeom>
              <a:grpFill/>
              <a:ln>
                <a:noFill/>
              </a:ln>
            </p:spPr>
            <p:txBody>
              <a:bodyPr/>
              <a:lstStyle/>
              <a:p>
                <a:endParaRPr lang="sv-SE" dirty="0">
                  <a:solidFill>
                    <a:srgbClr val="58585A"/>
                  </a:solidFill>
                </a:endParaRPr>
              </a:p>
            </p:txBody>
          </p:sp>
          <p:sp>
            <p:nvSpPr>
              <p:cNvPr id="106" name="Freeform 3">
                <a:extLst>
                  <a:ext uri="{FF2B5EF4-FFF2-40B4-BE49-F238E27FC236}">
                    <a16:creationId xmlns:a16="http://schemas.microsoft.com/office/drawing/2014/main" id="{7DFC35A3-8459-4E49-BD42-5C971635064E}"/>
                  </a:ext>
                </a:extLst>
              </p:cNvPr>
              <p:cNvSpPr>
                <a:spLocks noChangeAspect="1" noEditPoints="1"/>
              </p:cNvSpPr>
              <p:nvPr/>
            </p:nvSpPr>
            <p:spPr bwMode="auto">
              <a:xfrm>
                <a:off x="-2240711" y="4818693"/>
                <a:ext cx="552451" cy="507051"/>
              </a:xfrm>
              <a:custGeom>
                <a:avLst/>
                <a:gdLst>
                  <a:gd name="T0" fmla="*/ 2147483647 w 459"/>
                  <a:gd name="T1" fmla="*/ 2147483647 h 421"/>
                  <a:gd name="T2" fmla="*/ 2147483647 w 459"/>
                  <a:gd name="T3" fmla="*/ 2147483647 h 421"/>
                  <a:gd name="T4" fmla="*/ 2147483647 w 459"/>
                  <a:gd name="T5" fmla="*/ 2147483647 h 421"/>
                  <a:gd name="T6" fmla="*/ 2147483647 w 459"/>
                  <a:gd name="T7" fmla="*/ 2147483647 h 421"/>
                  <a:gd name="T8" fmla="*/ 2147483647 w 459"/>
                  <a:gd name="T9" fmla="*/ 2147483647 h 421"/>
                  <a:gd name="T10" fmla="*/ 2147483647 w 459"/>
                  <a:gd name="T11" fmla="*/ 2147483647 h 421"/>
                  <a:gd name="T12" fmla="*/ 2147483647 w 459"/>
                  <a:gd name="T13" fmla="*/ 2147483647 h 421"/>
                  <a:gd name="T14" fmla="*/ 2147483647 w 459"/>
                  <a:gd name="T15" fmla="*/ 2147483647 h 421"/>
                  <a:gd name="T16" fmla="*/ 2147483647 w 459"/>
                  <a:gd name="T17" fmla="*/ 2147483647 h 421"/>
                  <a:gd name="T18" fmla="*/ 2147483647 w 459"/>
                  <a:gd name="T19" fmla="*/ 2147483647 h 421"/>
                  <a:gd name="T20" fmla="*/ 2147483647 w 459"/>
                  <a:gd name="T21" fmla="*/ 2147483647 h 421"/>
                  <a:gd name="T22" fmla="*/ 2147483647 w 459"/>
                  <a:gd name="T23" fmla="*/ 2147483647 h 421"/>
                  <a:gd name="T24" fmla="*/ 2147483647 w 459"/>
                  <a:gd name="T25" fmla="*/ 2147483647 h 421"/>
                  <a:gd name="T26" fmla="*/ 2147483647 w 459"/>
                  <a:gd name="T27" fmla="*/ 2147483647 h 421"/>
                  <a:gd name="T28" fmla="*/ 2147483647 w 459"/>
                  <a:gd name="T29" fmla="*/ 2147483647 h 421"/>
                  <a:gd name="T30" fmla="*/ 2147483647 w 459"/>
                  <a:gd name="T31" fmla="*/ 2147483647 h 421"/>
                  <a:gd name="T32" fmla="*/ 2147483647 w 459"/>
                  <a:gd name="T33" fmla="*/ 2147483647 h 421"/>
                  <a:gd name="T34" fmla="*/ 2147483647 w 459"/>
                  <a:gd name="T35" fmla="*/ 2147483647 h 421"/>
                  <a:gd name="T36" fmla="*/ 2147483647 w 459"/>
                  <a:gd name="T37" fmla="*/ 2147483647 h 421"/>
                  <a:gd name="T38" fmla="*/ 2147483647 w 459"/>
                  <a:gd name="T39" fmla="*/ 2147483647 h 421"/>
                  <a:gd name="T40" fmla="*/ 2147483647 w 459"/>
                  <a:gd name="T41" fmla="*/ 2147483647 h 421"/>
                  <a:gd name="T42" fmla="*/ 2147483647 w 459"/>
                  <a:gd name="T43" fmla="*/ 2147483647 h 421"/>
                  <a:gd name="T44" fmla="*/ 2147483647 w 459"/>
                  <a:gd name="T45" fmla="*/ 2147483647 h 421"/>
                  <a:gd name="T46" fmla="*/ 2147483647 w 459"/>
                  <a:gd name="T47" fmla="*/ 2147483647 h 421"/>
                  <a:gd name="T48" fmla="*/ 2147483647 w 459"/>
                  <a:gd name="T49" fmla="*/ 0 h 421"/>
                  <a:gd name="T50" fmla="*/ 2147483647 w 459"/>
                  <a:gd name="T51" fmla="*/ 2147483647 h 421"/>
                  <a:gd name="T52" fmla="*/ 2147483647 w 459"/>
                  <a:gd name="T53" fmla="*/ 2147483647 h 421"/>
                  <a:gd name="T54" fmla="*/ 2147483647 w 459"/>
                  <a:gd name="T55" fmla="*/ 2147483647 h 421"/>
                  <a:gd name="T56" fmla="*/ 2147483647 w 459"/>
                  <a:gd name="T57" fmla="*/ 2147483647 h 421"/>
                  <a:gd name="T58" fmla="*/ 2147483647 w 459"/>
                  <a:gd name="T59" fmla="*/ 2147483647 h 421"/>
                  <a:gd name="T60" fmla="*/ 2147483647 w 459"/>
                  <a:gd name="T61" fmla="*/ 2147483647 h 421"/>
                  <a:gd name="T62" fmla="*/ 2147483647 w 459"/>
                  <a:gd name="T63" fmla="*/ 2147483647 h 421"/>
                  <a:gd name="T64" fmla="*/ 2147483647 w 459"/>
                  <a:gd name="T65" fmla="*/ 2147483647 h 421"/>
                  <a:gd name="T66" fmla="*/ 2147483647 w 459"/>
                  <a:gd name="T67" fmla="*/ 2147483647 h 421"/>
                  <a:gd name="T68" fmla="*/ 2147483647 w 459"/>
                  <a:gd name="T69" fmla="*/ 2147483647 h 421"/>
                  <a:gd name="T70" fmla="*/ 2147483647 w 459"/>
                  <a:gd name="T71" fmla="*/ 2147483647 h 421"/>
                  <a:gd name="T72" fmla="*/ 2147483647 w 459"/>
                  <a:gd name="T73" fmla="*/ 2147483647 h 421"/>
                  <a:gd name="T74" fmla="*/ 2147483647 w 459"/>
                  <a:gd name="T75" fmla="*/ 2147483647 h 421"/>
                  <a:gd name="T76" fmla="*/ 2147483647 w 459"/>
                  <a:gd name="T77" fmla="*/ 2147483647 h 421"/>
                  <a:gd name="T78" fmla="*/ 2147483647 w 459"/>
                  <a:gd name="T79" fmla="*/ 2147483647 h 421"/>
                  <a:gd name="T80" fmla="*/ 2147483647 w 459"/>
                  <a:gd name="T81" fmla="*/ 2147483647 h 421"/>
                  <a:gd name="T82" fmla="*/ 2147483647 w 459"/>
                  <a:gd name="T83" fmla="*/ 2147483647 h 421"/>
                  <a:gd name="T84" fmla="*/ 2147483647 w 459"/>
                  <a:gd name="T85" fmla="*/ 2147483647 h 421"/>
                  <a:gd name="T86" fmla="*/ 2147483647 w 459"/>
                  <a:gd name="T87" fmla="*/ 2147483647 h 421"/>
                  <a:gd name="T88" fmla="*/ 2147483647 w 459"/>
                  <a:gd name="T89" fmla="*/ 2147483647 h 421"/>
                  <a:gd name="T90" fmla="*/ 2147483647 w 459"/>
                  <a:gd name="T91" fmla="*/ 2147483647 h 421"/>
                  <a:gd name="T92" fmla="*/ 2147483647 w 459"/>
                  <a:gd name="T93" fmla="*/ 2147483647 h 421"/>
                  <a:gd name="T94" fmla="*/ 2147483647 w 459"/>
                  <a:gd name="T95" fmla="*/ 2147483647 h 4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59" h="421">
                    <a:moveTo>
                      <a:pt x="52" y="273"/>
                    </a:moveTo>
                    <a:cubicBezTo>
                      <a:pt x="53" y="273"/>
                      <a:pt x="53" y="273"/>
                      <a:pt x="53" y="273"/>
                    </a:cubicBezTo>
                    <a:cubicBezTo>
                      <a:pt x="55" y="273"/>
                      <a:pt x="57" y="271"/>
                      <a:pt x="59" y="270"/>
                    </a:cubicBezTo>
                    <a:cubicBezTo>
                      <a:pt x="106" y="212"/>
                      <a:pt x="106" y="212"/>
                      <a:pt x="106" y="212"/>
                    </a:cubicBezTo>
                    <a:cubicBezTo>
                      <a:pt x="108" y="210"/>
                      <a:pt x="108" y="207"/>
                      <a:pt x="107" y="204"/>
                    </a:cubicBezTo>
                    <a:cubicBezTo>
                      <a:pt x="106" y="201"/>
                      <a:pt x="103" y="199"/>
                      <a:pt x="100" y="199"/>
                    </a:cubicBezTo>
                    <a:cubicBezTo>
                      <a:pt x="85" y="199"/>
                      <a:pt x="85" y="199"/>
                      <a:pt x="85" y="199"/>
                    </a:cubicBezTo>
                    <a:cubicBezTo>
                      <a:pt x="80" y="162"/>
                      <a:pt x="73" y="81"/>
                      <a:pt x="181" y="46"/>
                    </a:cubicBezTo>
                    <a:cubicBezTo>
                      <a:pt x="186" y="44"/>
                      <a:pt x="188" y="40"/>
                      <a:pt x="187" y="36"/>
                    </a:cubicBezTo>
                    <a:cubicBezTo>
                      <a:pt x="185" y="31"/>
                      <a:pt x="181" y="29"/>
                      <a:pt x="177" y="30"/>
                    </a:cubicBezTo>
                    <a:cubicBezTo>
                      <a:pt x="47" y="70"/>
                      <a:pt x="27" y="169"/>
                      <a:pt x="24" y="198"/>
                    </a:cubicBezTo>
                    <a:cubicBezTo>
                      <a:pt x="8" y="197"/>
                      <a:pt x="8" y="197"/>
                      <a:pt x="8" y="197"/>
                    </a:cubicBezTo>
                    <a:cubicBezTo>
                      <a:pt x="5" y="197"/>
                      <a:pt x="2" y="199"/>
                      <a:pt x="1" y="202"/>
                    </a:cubicBezTo>
                    <a:cubicBezTo>
                      <a:pt x="0" y="204"/>
                      <a:pt x="0" y="208"/>
                      <a:pt x="2" y="210"/>
                    </a:cubicBezTo>
                    <a:cubicBezTo>
                      <a:pt x="46" y="269"/>
                      <a:pt x="46" y="269"/>
                      <a:pt x="46" y="269"/>
                    </a:cubicBezTo>
                    <a:cubicBezTo>
                      <a:pt x="48" y="271"/>
                      <a:pt x="50" y="273"/>
                      <a:pt x="52" y="273"/>
                    </a:cubicBezTo>
                    <a:close/>
                    <a:moveTo>
                      <a:pt x="24" y="214"/>
                    </a:moveTo>
                    <a:cubicBezTo>
                      <a:pt x="31" y="214"/>
                      <a:pt x="31" y="214"/>
                      <a:pt x="31" y="214"/>
                    </a:cubicBezTo>
                    <a:cubicBezTo>
                      <a:pt x="33" y="214"/>
                      <a:pt x="36" y="213"/>
                      <a:pt x="37" y="212"/>
                    </a:cubicBezTo>
                    <a:cubicBezTo>
                      <a:pt x="39" y="210"/>
                      <a:pt x="40" y="208"/>
                      <a:pt x="40" y="206"/>
                    </a:cubicBezTo>
                    <a:cubicBezTo>
                      <a:pt x="40" y="205"/>
                      <a:pt x="40" y="156"/>
                      <a:pt x="78" y="110"/>
                    </a:cubicBezTo>
                    <a:cubicBezTo>
                      <a:pt x="62" y="147"/>
                      <a:pt x="67" y="184"/>
                      <a:pt x="69" y="204"/>
                    </a:cubicBezTo>
                    <a:cubicBezTo>
                      <a:pt x="70" y="208"/>
                      <a:pt x="70" y="208"/>
                      <a:pt x="70" y="208"/>
                    </a:cubicBezTo>
                    <a:cubicBezTo>
                      <a:pt x="70" y="212"/>
                      <a:pt x="73" y="215"/>
                      <a:pt x="78" y="215"/>
                    </a:cubicBezTo>
                    <a:cubicBezTo>
                      <a:pt x="83" y="215"/>
                      <a:pt x="83" y="215"/>
                      <a:pt x="83" y="215"/>
                    </a:cubicBezTo>
                    <a:cubicBezTo>
                      <a:pt x="53" y="252"/>
                      <a:pt x="53" y="252"/>
                      <a:pt x="53" y="252"/>
                    </a:cubicBezTo>
                    <a:lnTo>
                      <a:pt x="24" y="214"/>
                    </a:lnTo>
                    <a:close/>
                    <a:moveTo>
                      <a:pt x="365" y="53"/>
                    </a:moveTo>
                    <a:cubicBezTo>
                      <a:pt x="374" y="39"/>
                      <a:pt x="374" y="39"/>
                      <a:pt x="374" y="39"/>
                    </a:cubicBezTo>
                    <a:cubicBezTo>
                      <a:pt x="375" y="37"/>
                      <a:pt x="375" y="33"/>
                      <a:pt x="374" y="31"/>
                    </a:cubicBezTo>
                    <a:cubicBezTo>
                      <a:pt x="372" y="28"/>
                      <a:pt x="369" y="27"/>
                      <a:pt x="366" y="27"/>
                    </a:cubicBezTo>
                    <a:cubicBezTo>
                      <a:pt x="292" y="34"/>
                      <a:pt x="292" y="34"/>
                      <a:pt x="292" y="34"/>
                    </a:cubicBezTo>
                    <a:cubicBezTo>
                      <a:pt x="290" y="34"/>
                      <a:pt x="288" y="36"/>
                      <a:pt x="287" y="38"/>
                    </a:cubicBezTo>
                    <a:cubicBezTo>
                      <a:pt x="285" y="40"/>
                      <a:pt x="285" y="43"/>
                      <a:pt x="286" y="45"/>
                    </a:cubicBezTo>
                    <a:cubicBezTo>
                      <a:pt x="310" y="115"/>
                      <a:pt x="310" y="115"/>
                      <a:pt x="310" y="115"/>
                    </a:cubicBezTo>
                    <a:cubicBezTo>
                      <a:pt x="311" y="118"/>
                      <a:pt x="314" y="120"/>
                      <a:pt x="317" y="120"/>
                    </a:cubicBezTo>
                    <a:cubicBezTo>
                      <a:pt x="320" y="120"/>
                      <a:pt x="323" y="119"/>
                      <a:pt x="325" y="116"/>
                    </a:cubicBezTo>
                    <a:cubicBezTo>
                      <a:pt x="333" y="104"/>
                      <a:pt x="333" y="104"/>
                      <a:pt x="333" y="104"/>
                    </a:cubicBezTo>
                    <a:cubicBezTo>
                      <a:pt x="366" y="119"/>
                      <a:pt x="436" y="155"/>
                      <a:pt x="410" y="266"/>
                    </a:cubicBezTo>
                    <a:cubicBezTo>
                      <a:pt x="409" y="270"/>
                      <a:pt x="411" y="274"/>
                      <a:pt x="416" y="275"/>
                    </a:cubicBezTo>
                    <a:cubicBezTo>
                      <a:pt x="416" y="276"/>
                      <a:pt x="417" y="276"/>
                      <a:pt x="418" y="276"/>
                    </a:cubicBezTo>
                    <a:cubicBezTo>
                      <a:pt x="421" y="276"/>
                      <a:pt x="424" y="273"/>
                      <a:pt x="425" y="270"/>
                    </a:cubicBezTo>
                    <a:cubicBezTo>
                      <a:pt x="459" y="139"/>
                      <a:pt x="388" y="70"/>
                      <a:pt x="365" y="53"/>
                    </a:cubicBezTo>
                    <a:close/>
                    <a:moveTo>
                      <a:pt x="336" y="88"/>
                    </a:moveTo>
                    <a:cubicBezTo>
                      <a:pt x="333" y="86"/>
                      <a:pt x="333" y="86"/>
                      <a:pt x="333" y="86"/>
                    </a:cubicBezTo>
                    <a:cubicBezTo>
                      <a:pt x="332" y="86"/>
                      <a:pt x="331" y="86"/>
                      <a:pt x="330" y="86"/>
                    </a:cubicBezTo>
                    <a:cubicBezTo>
                      <a:pt x="327" y="86"/>
                      <a:pt x="324" y="87"/>
                      <a:pt x="323" y="89"/>
                    </a:cubicBezTo>
                    <a:cubicBezTo>
                      <a:pt x="320" y="94"/>
                      <a:pt x="320" y="94"/>
                      <a:pt x="320" y="94"/>
                    </a:cubicBezTo>
                    <a:cubicBezTo>
                      <a:pt x="304" y="49"/>
                      <a:pt x="304" y="49"/>
                      <a:pt x="304" y="49"/>
                    </a:cubicBezTo>
                    <a:cubicBezTo>
                      <a:pt x="351" y="44"/>
                      <a:pt x="351" y="44"/>
                      <a:pt x="351" y="44"/>
                    </a:cubicBezTo>
                    <a:cubicBezTo>
                      <a:pt x="347" y="50"/>
                      <a:pt x="347" y="50"/>
                      <a:pt x="347" y="50"/>
                    </a:cubicBezTo>
                    <a:cubicBezTo>
                      <a:pt x="346" y="52"/>
                      <a:pt x="346" y="54"/>
                      <a:pt x="346" y="56"/>
                    </a:cubicBezTo>
                    <a:cubicBezTo>
                      <a:pt x="347" y="58"/>
                      <a:pt x="348" y="60"/>
                      <a:pt x="350" y="61"/>
                    </a:cubicBezTo>
                    <a:cubicBezTo>
                      <a:pt x="351" y="62"/>
                      <a:pt x="390" y="87"/>
                      <a:pt x="409" y="143"/>
                    </a:cubicBezTo>
                    <a:cubicBezTo>
                      <a:pt x="386" y="111"/>
                      <a:pt x="353" y="96"/>
                      <a:pt x="336" y="88"/>
                    </a:cubicBezTo>
                    <a:close/>
                    <a:moveTo>
                      <a:pt x="329" y="233"/>
                    </a:moveTo>
                    <a:cubicBezTo>
                      <a:pt x="304" y="218"/>
                      <a:pt x="283" y="214"/>
                      <a:pt x="275" y="213"/>
                    </a:cubicBezTo>
                    <a:cubicBezTo>
                      <a:pt x="274" y="200"/>
                      <a:pt x="267" y="188"/>
                      <a:pt x="257" y="181"/>
                    </a:cubicBezTo>
                    <a:cubicBezTo>
                      <a:pt x="260" y="173"/>
                      <a:pt x="267" y="153"/>
                      <a:pt x="267" y="125"/>
                    </a:cubicBezTo>
                    <a:cubicBezTo>
                      <a:pt x="267" y="108"/>
                      <a:pt x="266" y="92"/>
                      <a:pt x="263" y="75"/>
                    </a:cubicBezTo>
                    <a:cubicBezTo>
                      <a:pt x="262" y="71"/>
                      <a:pt x="258" y="68"/>
                      <a:pt x="253" y="68"/>
                    </a:cubicBezTo>
                    <a:cubicBezTo>
                      <a:pt x="249" y="69"/>
                      <a:pt x="246" y="73"/>
                      <a:pt x="247" y="78"/>
                    </a:cubicBezTo>
                    <a:cubicBezTo>
                      <a:pt x="250" y="93"/>
                      <a:pt x="251" y="109"/>
                      <a:pt x="251" y="125"/>
                    </a:cubicBezTo>
                    <a:cubicBezTo>
                      <a:pt x="251" y="150"/>
                      <a:pt x="245" y="168"/>
                      <a:pt x="242" y="175"/>
                    </a:cubicBezTo>
                    <a:cubicBezTo>
                      <a:pt x="239" y="174"/>
                      <a:pt x="236" y="174"/>
                      <a:pt x="233" y="174"/>
                    </a:cubicBezTo>
                    <a:cubicBezTo>
                      <a:pt x="230" y="174"/>
                      <a:pt x="227" y="174"/>
                      <a:pt x="224" y="175"/>
                    </a:cubicBezTo>
                    <a:cubicBezTo>
                      <a:pt x="222" y="168"/>
                      <a:pt x="215" y="150"/>
                      <a:pt x="215" y="125"/>
                    </a:cubicBezTo>
                    <a:cubicBezTo>
                      <a:pt x="215" y="83"/>
                      <a:pt x="226" y="48"/>
                      <a:pt x="233" y="28"/>
                    </a:cubicBezTo>
                    <a:cubicBezTo>
                      <a:pt x="235" y="34"/>
                      <a:pt x="238" y="40"/>
                      <a:pt x="240" y="48"/>
                    </a:cubicBezTo>
                    <a:cubicBezTo>
                      <a:pt x="241" y="51"/>
                      <a:pt x="244" y="54"/>
                      <a:pt x="247" y="54"/>
                    </a:cubicBezTo>
                    <a:cubicBezTo>
                      <a:pt x="248" y="54"/>
                      <a:pt x="249" y="53"/>
                      <a:pt x="250" y="53"/>
                    </a:cubicBezTo>
                    <a:cubicBezTo>
                      <a:pt x="254" y="52"/>
                      <a:pt x="256" y="47"/>
                      <a:pt x="255" y="43"/>
                    </a:cubicBezTo>
                    <a:cubicBezTo>
                      <a:pt x="248" y="20"/>
                      <a:pt x="241" y="5"/>
                      <a:pt x="240" y="5"/>
                    </a:cubicBezTo>
                    <a:cubicBezTo>
                      <a:pt x="239" y="2"/>
                      <a:pt x="237" y="1"/>
                      <a:pt x="234" y="0"/>
                    </a:cubicBezTo>
                    <a:cubicBezTo>
                      <a:pt x="234" y="0"/>
                      <a:pt x="234" y="0"/>
                      <a:pt x="233" y="0"/>
                    </a:cubicBezTo>
                    <a:cubicBezTo>
                      <a:pt x="233" y="0"/>
                      <a:pt x="233" y="0"/>
                      <a:pt x="233" y="0"/>
                    </a:cubicBezTo>
                    <a:cubicBezTo>
                      <a:pt x="230" y="1"/>
                      <a:pt x="227" y="2"/>
                      <a:pt x="226" y="5"/>
                    </a:cubicBezTo>
                    <a:cubicBezTo>
                      <a:pt x="225" y="7"/>
                      <a:pt x="199" y="56"/>
                      <a:pt x="199" y="125"/>
                    </a:cubicBezTo>
                    <a:cubicBezTo>
                      <a:pt x="199" y="153"/>
                      <a:pt x="206" y="173"/>
                      <a:pt x="210" y="181"/>
                    </a:cubicBezTo>
                    <a:cubicBezTo>
                      <a:pt x="200" y="188"/>
                      <a:pt x="193" y="200"/>
                      <a:pt x="192" y="213"/>
                    </a:cubicBezTo>
                    <a:cubicBezTo>
                      <a:pt x="184" y="214"/>
                      <a:pt x="162" y="218"/>
                      <a:pt x="138" y="233"/>
                    </a:cubicBezTo>
                    <a:cubicBezTo>
                      <a:pt x="79" y="268"/>
                      <a:pt x="49" y="315"/>
                      <a:pt x="48" y="317"/>
                    </a:cubicBezTo>
                    <a:cubicBezTo>
                      <a:pt x="46" y="319"/>
                      <a:pt x="46" y="322"/>
                      <a:pt x="47" y="325"/>
                    </a:cubicBezTo>
                    <a:cubicBezTo>
                      <a:pt x="47" y="325"/>
                      <a:pt x="47" y="325"/>
                      <a:pt x="47" y="325"/>
                    </a:cubicBezTo>
                    <a:cubicBezTo>
                      <a:pt x="48" y="325"/>
                      <a:pt x="48" y="325"/>
                      <a:pt x="48" y="326"/>
                    </a:cubicBezTo>
                    <a:cubicBezTo>
                      <a:pt x="50" y="328"/>
                      <a:pt x="52" y="329"/>
                      <a:pt x="55" y="329"/>
                    </a:cubicBezTo>
                    <a:cubicBezTo>
                      <a:pt x="55" y="329"/>
                      <a:pt x="55" y="329"/>
                      <a:pt x="55" y="329"/>
                    </a:cubicBezTo>
                    <a:cubicBezTo>
                      <a:pt x="57" y="329"/>
                      <a:pt x="113" y="326"/>
                      <a:pt x="172" y="291"/>
                    </a:cubicBezTo>
                    <a:cubicBezTo>
                      <a:pt x="197" y="276"/>
                      <a:pt x="211" y="260"/>
                      <a:pt x="216" y="253"/>
                    </a:cubicBezTo>
                    <a:cubicBezTo>
                      <a:pt x="221" y="255"/>
                      <a:pt x="227" y="257"/>
                      <a:pt x="233" y="257"/>
                    </a:cubicBezTo>
                    <a:cubicBezTo>
                      <a:pt x="240" y="257"/>
                      <a:pt x="245" y="255"/>
                      <a:pt x="251" y="253"/>
                    </a:cubicBezTo>
                    <a:cubicBezTo>
                      <a:pt x="256" y="260"/>
                      <a:pt x="270" y="276"/>
                      <a:pt x="294" y="291"/>
                    </a:cubicBezTo>
                    <a:cubicBezTo>
                      <a:pt x="354" y="326"/>
                      <a:pt x="409" y="329"/>
                      <a:pt x="412" y="329"/>
                    </a:cubicBezTo>
                    <a:cubicBezTo>
                      <a:pt x="412" y="329"/>
                      <a:pt x="412" y="329"/>
                      <a:pt x="412" y="329"/>
                    </a:cubicBezTo>
                    <a:cubicBezTo>
                      <a:pt x="415" y="329"/>
                      <a:pt x="417" y="328"/>
                      <a:pt x="418" y="326"/>
                    </a:cubicBezTo>
                    <a:cubicBezTo>
                      <a:pt x="419" y="325"/>
                      <a:pt x="419" y="325"/>
                      <a:pt x="419" y="325"/>
                    </a:cubicBezTo>
                    <a:cubicBezTo>
                      <a:pt x="419" y="325"/>
                      <a:pt x="419" y="325"/>
                      <a:pt x="419" y="324"/>
                    </a:cubicBezTo>
                    <a:cubicBezTo>
                      <a:pt x="420" y="322"/>
                      <a:pt x="420" y="319"/>
                      <a:pt x="419" y="317"/>
                    </a:cubicBezTo>
                    <a:cubicBezTo>
                      <a:pt x="418" y="315"/>
                      <a:pt x="388" y="268"/>
                      <a:pt x="329" y="233"/>
                    </a:cubicBezTo>
                    <a:close/>
                    <a:moveTo>
                      <a:pt x="164" y="277"/>
                    </a:moveTo>
                    <a:cubicBezTo>
                      <a:pt x="128" y="299"/>
                      <a:pt x="92" y="307"/>
                      <a:pt x="72" y="311"/>
                    </a:cubicBezTo>
                    <a:cubicBezTo>
                      <a:pt x="85" y="295"/>
                      <a:pt x="109" y="268"/>
                      <a:pt x="146" y="246"/>
                    </a:cubicBezTo>
                    <a:cubicBezTo>
                      <a:pt x="168" y="233"/>
                      <a:pt x="187" y="229"/>
                      <a:pt x="194" y="228"/>
                    </a:cubicBezTo>
                    <a:cubicBezTo>
                      <a:pt x="196" y="234"/>
                      <a:pt x="199" y="239"/>
                      <a:pt x="203" y="243"/>
                    </a:cubicBezTo>
                    <a:cubicBezTo>
                      <a:pt x="199" y="249"/>
                      <a:pt x="186" y="264"/>
                      <a:pt x="164" y="277"/>
                    </a:cubicBezTo>
                    <a:close/>
                    <a:moveTo>
                      <a:pt x="233" y="241"/>
                    </a:moveTo>
                    <a:cubicBezTo>
                      <a:pt x="219" y="241"/>
                      <a:pt x="208" y="229"/>
                      <a:pt x="208" y="215"/>
                    </a:cubicBezTo>
                    <a:cubicBezTo>
                      <a:pt x="208" y="201"/>
                      <a:pt x="219" y="190"/>
                      <a:pt x="233" y="190"/>
                    </a:cubicBezTo>
                    <a:cubicBezTo>
                      <a:pt x="247" y="190"/>
                      <a:pt x="259" y="201"/>
                      <a:pt x="259" y="215"/>
                    </a:cubicBezTo>
                    <a:cubicBezTo>
                      <a:pt x="259" y="229"/>
                      <a:pt x="247" y="241"/>
                      <a:pt x="233" y="241"/>
                    </a:cubicBezTo>
                    <a:close/>
                    <a:moveTo>
                      <a:pt x="303" y="277"/>
                    </a:moveTo>
                    <a:cubicBezTo>
                      <a:pt x="280" y="264"/>
                      <a:pt x="268" y="249"/>
                      <a:pt x="264" y="243"/>
                    </a:cubicBezTo>
                    <a:cubicBezTo>
                      <a:pt x="268" y="239"/>
                      <a:pt x="271" y="234"/>
                      <a:pt x="272" y="228"/>
                    </a:cubicBezTo>
                    <a:cubicBezTo>
                      <a:pt x="280" y="229"/>
                      <a:pt x="299" y="233"/>
                      <a:pt x="321" y="246"/>
                    </a:cubicBezTo>
                    <a:cubicBezTo>
                      <a:pt x="357" y="268"/>
                      <a:pt x="382" y="295"/>
                      <a:pt x="395" y="311"/>
                    </a:cubicBezTo>
                    <a:cubicBezTo>
                      <a:pt x="374" y="307"/>
                      <a:pt x="339" y="299"/>
                      <a:pt x="303" y="277"/>
                    </a:cubicBezTo>
                    <a:close/>
                    <a:moveTo>
                      <a:pt x="363" y="337"/>
                    </a:moveTo>
                    <a:cubicBezTo>
                      <a:pt x="290" y="325"/>
                      <a:pt x="290" y="325"/>
                      <a:pt x="290" y="325"/>
                    </a:cubicBezTo>
                    <a:cubicBezTo>
                      <a:pt x="287" y="324"/>
                      <a:pt x="284" y="325"/>
                      <a:pt x="282" y="328"/>
                    </a:cubicBezTo>
                    <a:cubicBezTo>
                      <a:pt x="280" y="330"/>
                      <a:pt x="280" y="334"/>
                      <a:pt x="282" y="336"/>
                    </a:cubicBezTo>
                    <a:cubicBezTo>
                      <a:pt x="289" y="350"/>
                      <a:pt x="289" y="350"/>
                      <a:pt x="289" y="350"/>
                    </a:cubicBezTo>
                    <a:cubicBezTo>
                      <a:pt x="271" y="362"/>
                      <a:pt x="241" y="384"/>
                      <a:pt x="202" y="384"/>
                    </a:cubicBezTo>
                    <a:cubicBezTo>
                      <a:pt x="170" y="384"/>
                      <a:pt x="138" y="369"/>
                      <a:pt x="108" y="341"/>
                    </a:cubicBezTo>
                    <a:cubicBezTo>
                      <a:pt x="104" y="338"/>
                      <a:pt x="99" y="338"/>
                      <a:pt x="96" y="342"/>
                    </a:cubicBezTo>
                    <a:cubicBezTo>
                      <a:pt x="93" y="345"/>
                      <a:pt x="93" y="350"/>
                      <a:pt x="97" y="353"/>
                    </a:cubicBezTo>
                    <a:cubicBezTo>
                      <a:pt x="142" y="396"/>
                      <a:pt x="192" y="418"/>
                      <a:pt x="245" y="418"/>
                    </a:cubicBezTo>
                    <a:cubicBezTo>
                      <a:pt x="279" y="418"/>
                      <a:pt x="305" y="408"/>
                      <a:pt x="318" y="403"/>
                    </a:cubicBezTo>
                    <a:cubicBezTo>
                      <a:pt x="325" y="417"/>
                      <a:pt x="325" y="417"/>
                      <a:pt x="325" y="417"/>
                    </a:cubicBezTo>
                    <a:cubicBezTo>
                      <a:pt x="326" y="420"/>
                      <a:pt x="329" y="421"/>
                      <a:pt x="332" y="421"/>
                    </a:cubicBezTo>
                    <a:cubicBezTo>
                      <a:pt x="332" y="421"/>
                      <a:pt x="332" y="421"/>
                      <a:pt x="332" y="421"/>
                    </a:cubicBezTo>
                    <a:cubicBezTo>
                      <a:pt x="335" y="421"/>
                      <a:pt x="338" y="419"/>
                      <a:pt x="339" y="416"/>
                    </a:cubicBezTo>
                    <a:cubicBezTo>
                      <a:pt x="369" y="349"/>
                      <a:pt x="369" y="349"/>
                      <a:pt x="369" y="349"/>
                    </a:cubicBezTo>
                    <a:cubicBezTo>
                      <a:pt x="370" y="346"/>
                      <a:pt x="370" y="344"/>
                      <a:pt x="369" y="342"/>
                    </a:cubicBezTo>
                    <a:cubicBezTo>
                      <a:pt x="367" y="339"/>
                      <a:pt x="365" y="338"/>
                      <a:pt x="363" y="337"/>
                    </a:cubicBezTo>
                    <a:close/>
                    <a:moveTo>
                      <a:pt x="331" y="395"/>
                    </a:moveTo>
                    <a:cubicBezTo>
                      <a:pt x="328" y="389"/>
                      <a:pt x="328" y="389"/>
                      <a:pt x="328" y="389"/>
                    </a:cubicBezTo>
                    <a:cubicBezTo>
                      <a:pt x="327" y="387"/>
                      <a:pt x="325" y="385"/>
                      <a:pt x="323" y="385"/>
                    </a:cubicBezTo>
                    <a:cubicBezTo>
                      <a:pt x="321" y="384"/>
                      <a:pt x="319" y="384"/>
                      <a:pt x="317" y="385"/>
                    </a:cubicBezTo>
                    <a:cubicBezTo>
                      <a:pt x="317" y="386"/>
                      <a:pt x="288" y="402"/>
                      <a:pt x="245" y="402"/>
                    </a:cubicBezTo>
                    <a:cubicBezTo>
                      <a:pt x="234" y="402"/>
                      <a:pt x="224" y="401"/>
                      <a:pt x="214" y="399"/>
                    </a:cubicBezTo>
                    <a:cubicBezTo>
                      <a:pt x="254" y="395"/>
                      <a:pt x="283" y="373"/>
                      <a:pt x="300" y="361"/>
                    </a:cubicBezTo>
                    <a:cubicBezTo>
                      <a:pt x="304" y="358"/>
                      <a:pt x="304" y="358"/>
                      <a:pt x="304" y="358"/>
                    </a:cubicBezTo>
                    <a:cubicBezTo>
                      <a:pt x="307" y="356"/>
                      <a:pt x="308" y="352"/>
                      <a:pt x="306" y="348"/>
                    </a:cubicBezTo>
                    <a:cubicBezTo>
                      <a:pt x="303" y="343"/>
                      <a:pt x="303" y="343"/>
                      <a:pt x="303" y="343"/>
                    </a:cubicBezTo>
                    <a:cubicBezTo>
                      <a:pt x="350" y="351"/>
                      <a:pt x="350" y="351"/>
                      <a:pt x="350" y="351"/>
                    </a:cubicBezTo>
                    <a:lnTo>
                      <a:pt x="331" y="395"/>
                    </a:lnTo>
                    <a:close/>
                  </a:path>
                </a:pathLst>
              </a:custGeom>
              <a:grpFill/>
              <a:ln>
                <a:noFill/>
              </a:ln>
            </p:spPr>
            <p:txBody>
              <a:bodyPr/>
              <a:lstStyle/>
              <a:p>
                <a:endParaRPr lang="sv-SE" dirty="0">
                  <a:solidFill>
                    <a:srgbClr val="58585A"/>
                  </a:solidFill>
                </a:endParaRPr>
              </a:p>
            </p:txBody>
          </p:sp>
          <p:sp>
            <p:nvSpPr>
              <p:cNvPr id="107" name="Freeform 6">
                <a:extLst>
                  <a:ext uri="{FF2B5EF4-FFF2-40B4-BE49-F238E27FC236}">
                    <a16:creationId xmlns:a16="http://schemas.microsoft.com/office/drawing/2014/main" id="{E56944A3-A1F2-4327-A9C8-59C59DC9BC12}"/>
                  </a:ext>
                </a:extLst>
              </p:cNvPr>
              <p:cNvSpPr>
                <a:spLocks noChangeAspect="1" noEditPoints="1"/>
              </p:cNvSpPr>
              <p:nvPr/>
            </p:nvSpPr>
            <p:spPr bwMode="auto">
              <a:xfrm>
                <a:off x="-1558925" y="4860925"/>
                <a:ext cx="473075" cy="473583"/>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grpFill/>
              <a:ln>
                <a:noFill/>
              </a:ln>
            </p:spPr>
            <p:txBody>
              <a:bodyPr/>
              <a:lstStyle/>
              <a:p>
                <a:endParaRPr lang="sv-SE" dirty="0">
                  <a:solidFill>
                    <a:srgbClr val="58585A"/>
                  </a:solidFill>
                </a:endParaRPr>
              </a:p>
            </p:txBody>
          </p:sp>
          <p:sp>
            <p:nvSpPr>
              <p:cNvPr id="108" name="Freeform 3">
                <a:extLst>
                  <a:ext uri="{FF2B5EF4-FFF2-40B4-BE49-F238E27FC236}">
                    <a16:creationId xmlns:a16="http://schemas.microsoft.com/office/drawing/2014/main" id="{49A68852-2DFB-4528-8DBD-597C3458EFD5}"/>
                  </a:ext>
                </a:extLst>
              </p:cNvPr>
              <p:cNvSpPr>
                <a:spLocks noChangeAspect="1" noEditPoints="1"/>
              </p:cNvSpPr>
              <p:nvPr/>
            </p:nvSpPr>
            <p:spPr bwMode="auto">
              <a:xfrm>
                <a:off x="-1602629" y="5497514"/>
                <a:ext cx="573929" cy="446156"/>
              </a:xfrm>
              <a:custGeom>
                <a:avLst/>
                <a:gdLst>
                  <a:gd name="T0" fmla="*/ 2147483647 w 464"/>
                  <a:gd name="T1" fmla="*/ 2147483647 h 361"/>
                  <a:gd name="T2" fmla="*/ 2147483647 w 464"/>
                  <a:gd name="T3" fmla="*/ 2147483647 h 361"/>
                  <a:gd name="T4" fmla="*/ 2147483647 w 464"/>
                  <a:gd name="T5" fmla="*/ 2147483647 h 361"/>
                  <a:gd name="T6" fmla="*/ 2147483647 w 464"/>
                  <a:gd name="T7" fmla="*/ 2147483647 h 361"/>
                  <a:gd name="T8" fmla="*/ 2147483647 w 464"/>
                  <a:gd name="T9" fmla="*/ 2147483647 h 361"/>
                  <a:gd name="T10" fmla="*/ 2147483647 w 464"/>
                  <a:gd name="T11" fmla="*/ 2147483647 h 361"/>
                  <a:gd name="T12" fmla="*/ 2147483647 w 464"/>
                  <a:gd name="T13" fmla="*/ 2147483647 h 361"/>
                  <a:gd name="T14" fmla="*/ 2147483647 w 464"/>
                  <a:gd name="T15" fmla="*/ 2147483647 h 361"/>
                  <a:gd name="T16" fmla="*/ 2147483647 w 464"/>
                  <a:gd name="T17" fmla="*/ 2147483647 h 361"/>
                  <a:gd name="T18" fmla="*/ 2147483647 w 464"/>
                  <a:gd name="T19" fmla="*/ 2147483647 h 361"/>
                  <a:gd name="T20" fmla="*/ 2147483647 w 464"/>
                  <a:gd name="T21" fmla="*/ 2147483647 h 361"/>
                  <a:gd name="T22" fmla="*/ 2147483647 w 464"/>
                  <a:gd name="T23" fmla="*/ 2147483647 h 361"/>
                  <a:gd name="T24" fmla="*/ 2147483647 w 464"/>
                  <a:gd name="T25" fmla="*/ 2147483647 h 361"/>
                  <a:gd name="T26" fmla="*/ 2147483647 w 464"/>
                  <a:gd name="T27" fmla="*/ 2147483647 h 361"/>
                  <a:gd name="T28" fmla="*/ 2147483647 w 464"/>
                  <a:gd name="T29" fmla="*/ 2147483647 h 361"/>
                  <a:gd name="T30" fmla="*/ 2147483647 w 464"/>
                  <a:gd name="T31" fmla="*/ 2147483647 h 361"/>
                  <a:gd name="T32" fmla="*/ 2147483647 w 464"/>
                  <a:gd name="T33" fmla="*/ 2147483647 h 361"/>
                  <a:gd name="T34" fmla="*/ 2147483647 w 464"/>
                  <a:gd name="T35" fmla="*/ 2147483647 h 361"/>
                  <a:gd name="T36" fmla="*/ 2147483647 w 464"/>
                  <a:gd name="T37" fmla="*/ 2147483647 h 361"/>
                  <a:gd name="T38" fmla="*/ 2147483647 w 464"/>
                  <a:gd name="T39" fmla="*/ 2147483647 h 361"/>
                  <a:gd name="T40" fmla="*/ 2147483647 w 464"/>
                  <a:gd name="T41" fmla="*/ 0 h 361"/>
                  <a:gd name="T42" fmla="*/ 2147483647 w 464"/>
                  <a:gd name="T43" fmla="*/ 2147483647 h 361"/>
                  <a:gd name="T44" fmla="*/ 2147483647 w 464"/>
                  <a:gd name="T45" fmla="*/ 2147483647 h 361"/>
                  <a:gd name="T46" fmla="*/ 2147483647 w 464"/>
                  <a:gd name="T47" fmla="*/ 2147483647 h 361"/>
                  <a:gd name="T48" fmla="*/ 2147483647 w 464"/>
                  <a:gd name="T49" fmla="*/ 2147483647 h 361"/>
                  <a:gd name="T50" fmla="*/ 2147483647 w 464"/>
                  <a:gd name="T51" fmla="*/ 2147483647 h 361"/>
                  <a:gd name="T52" fmla="*/ 2147483647 w 464"/>
                  <a:gd name="T53" fmla="*/ 2147483647 h 361"/>
                  <a:gd name="T54" fmla="*/ 2147483647 w 464"/>
                  <a:gd name="T55" fmla="*/ 2147483647 h 361"/>
                  <a:gd name="T56" fmla="*/ 2147483647 w 464"/>
                  <a:gd name="T57" fmla="*/ 2147483647 h 361"/>
                  <a:gd name="T58" fmla="*/ 2147483647 w 464"/>
                  <a:gd name="T59" fmla="*/ 2147483647 h 361"/>
                  <a:gd name="T60" fmla="*/ 2147483647 w 464"/>
                  <a:gd name="T61" fmla="*/ 2147483647 h 361"/>
                  <a:gd name="T62" fmla="*/ 2147483647 w 464"/>
                  <a:gd name="T63" fmla="*/ 2147483647 h 361"/>
                  <a:gd name="T64" fmla="*/ 2147483647 w 464"/>
                  <a:gd name="T65" fmla="*/ 2147483647 h 3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4" h="361">
                    <a:moveTo>
                      <a:pt x="400" y="167"/>
                    </a:moveTo>
                    <a:cubicBezTo>
                      <a:pt x="405" y="167"/>
                      <a:pt x="408" y="163"/>
                      <a:pt x="408" y="159"/>
                    </a:cubicBezTo>
                    <a:cubicBezTo>
                      <a:pt x="408" y="159"/>
                      <a:pt x="408" y="159"/>
                      <a:pt x="408" y="159"/>
                    </a:cubicBezTo>
                    <a:cubicBezTo>
                      <a:pt x="408" y="140"/>
                      <a:pt x="408" y="140"/>
                      <a:pt x="408" y="140"/>
                    </a:cubicBezTo>
                    <a:cubicBezTo>
                      <a:pt x="408" y="129"/>
                      <a:pt x="400" y="122"/>
                      <a:pt x="392" y="119"/>
                    </a:cubicBezTo>
                    <a:cubicBezTo>
                      <a:pt x="385" y="115"/>
                      <a:pt x="251" y="46"/>
                      <a:pt x="243" y="42"/>
                    </a:cubicBezTo>
                    <a:cubicBezTo>
                      <a:pt x="239" y="40"/>
                      <a:pt x="236" y="39"/>
                      <a:pt x="232" y="39"/>
                    </a:cubicBezTo>
                    <a:cubicBezTo>
                      <a:pt x="225" y="39"/>
                      <a:pt x="221" y="42"/>
                      <a:pt x="220" y="42"/>
                    </a:cubicBezTo>
                    <a:cubicBezTo>
                      <a:pt x="71" y="119"/>
                      <a:pt x="71" y="119"/>
                      <a:pt x="71" y="119"/>
                    </a:cubicBezTo>
                    <a:cubicBezTo>
                      <a:pt x="64" y="122"/>
                      <a:pt x="56" y="129"/>
                      <a:pt x="55" y="140"/>
                    </a:cubicBezTo>
                    <a:cubicBezTo>
                      <a:pt x="55" y="342"/>
                      <a:pt x="55" y="342"/>
                      <a:pt x="55" y="342"/>
                    </a:cubicBezTo>
                    <a:cubicBezTo>
                      <a:pt x="55" y="352"/>
                      <a:pt x="64" y="361"/>
                      <a:pt x="75" y="361"/>
                    </a:cubicBezTo>
                    <a:cubicBezTo>
                      <a:pt x="389" y="361"/>
                      <a:pt x="389" y="361"/>
                      <a:pt x="389" y="361"/>
                    </a:cubicBezTo>
                    <a:cubicBezTo>
                      <a:pt x="400" y="361"/>
                      <a:pt x="408" y="352"/>
                      <a:pt x="408" y="342"/>
                    </a:cubicBezTo>
                    <a:cubicBezTo>
                      <a:pt x="408" y="191"/>
                      <a:pt x="408" y="191"/>
                      <a:pt x="408" y="191"/>
                    </a:cubicBezTo>
                    <a:cubicBezTo>
                      <a:pt x="408" y="186"/>
                      <a:pt x="405" y="183"/>
                      <a:pt x="400" y="183"/>
                    </a:cubicBezTo>
                    <a:cubicBezTo>
                      <a:pt x="396" y="183"/>
                      <a:pt x="392" y="186"/>
                      <a:pt x="392" y="191"/>
                    </a:cubicBezTo>
                    <a:cubicBezTo>
                      <a:pt x="392" y="342"/>
                      <a:pt x="392" y="342"/>
                      <a:pt x="392" y="342"/>
                    </a:cubicBezTo>
                    <a:cubicBezTo>
                      <a:pt x="392" y="344"/>
                      <a:pt x="391" y="345"/>
                      <a:pt x="389" y="345"/>
                    </a:cubicBezTo>
                    <a:cubicBezTo>
                      <a:pt x="75" y="345"/>
                      <a:pt x="75" y="345"/>
                      <a:pt x="75" y="345"/>
                    </a:cubicBezTo>
                    <a:cubicBezTo>
                      <a:pt x="73" y="345"/>
                      <a:pt x="71" y="344"/>
                      <a:pt x="71" y="342"/>
                    </a:cubicBezTo>
                    <a:cubicBezTo>
                      <a:pt x="71" y="140"/>
                      <a:pt x="71" y="140"/>
                      <a:pt x="71" y="140"/>
                    </a:cubicBezTo>
                    <a:cubicBezTo>
                      <a:pt x="71" y="138"/>
                      <a:pt x="73" y="135"/>
                      <a:pt x="78" y="133"/>
                    </a:cubicBezTo>
                    <a:cubicBezTo>
                      <a:pt x="78" y="133"/>
                      <a:pt x="78" y="133"/>
                      <a:pt x="78" y="133"/>
                    </a:cubicBezTo>
                    <a:cubicBezTo>
                      <a:pt x="227" y="56"/>
                      <a:pt x="227" y="56"/>
                      <a:pt x="227" y="56"/>
                    </a:cubicBezTo>
                    <a:cubicBezTo>
                      <a:pt x="227" y="56"/>
                      <a:pt x="227" y="56"/>
                      <a:pt x="227" y="56"/>
                    </a:cubicBezTo>
                    <a:cubicBezTo>
                      <a:pt x="228" y="56"/>
                      <a:pt x="230" y="55"/>
                      <a:pt x="232" y="55"/>
                    </a:cubicBezTo>
                    <a:cubicBezTo>
                      <a:pt x="234" y="55"/>
                      <a:pt x="235" y="55"/>
                      <a:pt x="236" y="56"/>
                    </a:cubicBezTo>
                    <a:cubicBezTo>
                      <a:pt x="240" y="58"/>
                      <a:pt x="277" y="77"/>
                      <a:pt x="314" y="96"/>
                    </a:cubicBezTo>
                    <a:cubicBezTo>
                      <a:pt x="350" y="115"/>
                      <a:pt x="385" y="133"/>
                      <a:pt x="385" y="133"/>
                    </a:cubicBezTo>
                    <a:cubicBezTo>
                      <a:pt x="386" y="133"/>
                      <a:pt x="386" y="133"/>
                      <a:pt x="386" y="133"/>
                    </a:cubicBezTo>
                    <a:cubicBezTo>
                      <a:pt x="391" y="135"/>
                      <a:pt x="393" y="138"/>
                      <a:pt x="392" y="140"/>
                    </a:cubicBezTo>
                    <a:cubicBezTo>
                      <a:pt x="392" y="159"/>
                      <a:pt x="392" y="159"/>
                      <a:pt x="392" y="159"/>
                    </a:cubicBezTo>
                    <a:cubicBezTo>
                      <a:pt x="392" y="163"/>
                      <a:pt x="396" y="167"/>
                      <a:pt x="400" y="167"/>
                    </a:cubicBezTo>
                    <a:close/>
                    <a:moveTo>
                      <a:pt x="458" y="114"/>
                    </a:moveTo>
                    <a:cubicBezTo>
                      <a:pt x="458" y="114"/>
                      <a:pt x="437" y="103"/>
                      <a:pt x="408" y="88"/>
                    </a:cubicBezTo>
                    <a:cubicBezTo>
                      <a:pt x="408" y="52"/>
                      <a:pt x="408" y="52"/>
                      <a:pt x="408" y="52"/>
                    </a:cubicBezTo>
                    <a:cubicBezTo>
                      <a:pt x="408" y="41"/>
                      <a:pt x="400" y="33"/>
                      <a:pt x="389" y="32"/>
                    </a:cubicBezTo>
                    <a:cubicBezTo>
                      <a:pt x="357" y="32"/>
                      <a:pt x="357" y="32"/>
                      <a:pt x="357" y="32"/>
                    </a:cubicBezTo>
                    <a:cubicBezTo>
                      <a:pt x="347" y="33"/>
                      <a:pt x="338" y="41"/>
                      <a:pt x="338" y="52"/>
                    </a:cubicBezTo>
                    <a:cubicBezTo>
                      <a:pt x="292" y="28"/>
                      <a:pt x="249" y="6"/>
                      <a:pt x="245" y="3"/>
                    </a:cubicBezTo>
                    <a:cubicBezTo>
                      <a:pt x="241" y="1"/>
                      <a:pt x="236" y="0"/>
                      <a:pt x="232" y="0"/>
                    </a:cubicBezTo>
                    <a:cubicBezTo>
                      <a:pt x="224" y="1"/>
                      <a:pt x="219" y="3"/>
                      <a:pt x="219" y="3"/>
                    </a:cubicBezTo>
                    <a:cubicBezTo>
                      <a:pt x="6" y="114"/>
                      <a:pt x="6" y="114"/>
                      <a:pt x="6" y="114"/>
                    </a:cubicBezTo>
                    <a:cubicBezTo>
                      <a:pt x="2" y="116"/>
                      <a:pt x="0" y="121"/>
                      <a:pt x="3" y="125"/>
                    </a:cubicBezTo>
                    <a:cubicBezTo>
                      <a:pt x="5" y="129"/>
                      <a:pt x="9" y="130"/>
                      <a:pt x="13" y="128"/>
                    </a:cubicBezTo>
                    <a:cubicBezTo>
                      <a:pt x="226" y="18"/>
                      <a:pt x="226" y="18"/>
                      <a:pt x="226" y="18"/>
                    </a:cubicBezTo>
                    <a:cubicBezTo>
                      <a:pt x="226" y="18"/>
                      <a:pt x="226" y="18"/>
                      <a:pt x="226" y="18"/>
                    </a:cubicBezTo>
                    <a:cubicBezTo>
                      <a:pt x="226" y="18"/>
                      <a:pt x="226" y="18"/>
                      <a:pt x="226" y="18"/>
                    </a:cubicBezTo>
                    <a:cubicBezTo>
                      <a:pt x="226" y="18"/>
                      <a:pt x="229" y="16"/>
                      <a:pt x="232" y="16"/>
                    </a:cubicBezTo>
                    <a:cubicBezTo>
                      <a:pt x="234" y="16"/>
                      <a:pt x="236" y="17"/>
                      <a:pt x="238" y="18"/>
                    </a:cubicBezTo>
                    <a:cubicBezTo>
                      <a:pt x="242" y="20"/>
                      <a:pt x="291" y="45"/>
                      <a:pt x="340" y="71"/>
                    </a:cubicBezTo>
                    <a:cubicBezTo>
                      <a:pt x="341" y="71"/>
                      <a:pt x="343" y="72"/>
                      <a:pt x="345" y="72"/>
                    </a:cubicBezTo>
                    <a:cubicBezTo>
                      <a:pt x="347" y="72"/>
                      <a:pt x="349" y="71"/>
                      <a:pt x="352" y="69"/>
                    </a:cubicBezTo>
                    <a:cubicBezTo>
                      <a:pt x="354" y="67"/>
                      <a:pt x="354" y="64"/>
                      <a:pt x="354" y="62"/>
                    </a:cubicBezTo>
                    <a:cubicBezTo>
                      <a:pt x="354" y="52"/>
                      <a:pt x="354" y="52"/>
                      <a:pt x="354" y="52"/>
                    </a:cubicBezTo>
                    <a:cubicBezTo>
                      <a:pt x="354" y="50"/>
                      <a:pt x="356" y="48"/>
                      <a:pt x="357" y="48"/>
                    </a:cubicBezTo>
                    <a:cubicBezTo>
                      <a:pt x="389" y="48"/>
                      <a:pt x="389" y="48"/>
                      <a:pt x="389" y="48"/>
                    </a:cubicBezTo>
                    <a:cubicBezTo>
                      <a:pt x="391" y="48"/>
                      <a:pt x="392" y="50"/>
                      <a:pt x="392" y="52"/>
                    </a:cubicBezTo>
                    <a:cubicBezTo>
                      <a:pt x="392" y="52"/>
                      <a:pt x="392" y="61"/>
                      <a:pt x="392" y="70"/>
                    </a:cubicBezTo>
                    <a:cubicBezTo>
                      <a:pt x="392" y="79"/>
                      <a:pt x="392" y="89"/>
                      <a:pt x="392" y="90"/>
                    </a:cubicBezTo>
                    <a:cubicBezTo>
                      <a:pt x="392" y="93"/>
                      <a:pt x="393" y="96"/>
                      <a:pt x="395" y="98"/>
                    </a:cubicBezTo>
                    <a:cubicBezTo>
                      <a:pt x="396" y="100"/>
                      <a:pt x="398" y="101"/>
                      <a:pt x="399" y="101"/>
                    </a:cubicBezTo>
                    <a:cubicBezTo>
                      <a:pt x="429" y="117"/>
                      <a:pt x="451" y="128"/>
                      <a:pt x="451" y="128"/>
                    </a:cubicBezTo>
                    <a:cubicBezTo>
                      <a:pt x="452" y="129"/>
                      <a:pt x="454" y="129"/>
                      <a:pt x="455" y="129"/>
                    </a:cubicBezTo>
                    <a:cubicBezTo>
                      <a:pt x="458" y="129"/>
                      <a:pt x="460" y="128"/>
                      <a:pt x="462" y="125"/>
                    </a:cubicBezTo>
                    <a:cubicBezTo>
                      <a:pt x="464" y="121"/>
                      <a:pt x="462" y="116"/>
                      <a:pt x="458" y="114"/>
                    </a:cubicBezTo>
                    <a:close/>
                  </a:path>
                </a:pathLst>
              </a:custGeom>
              <a:grpFill/>
              <a:ln>
                <a:noFill/>
              </a:ln>
            </p:spPr>
            <p:txBody>
              <a:bodyPr/>
              <a:lstStyle/>
              <a:p>
                <a:endParaRPr lang="sv-SE" dirty="0">
                  <a:solidFill>
                    <a:srgbClr val="58585A"/>
                  </a:solidFill>
                </a:endParaRPr>
              </a:p>
            </p:txBody>
          </p:sp>
        </p:grpSp>
        <p:grpSp>
          <p:nvGrpSpPr>
            <p:cNvPr id="94" name="Grupp 1">
              <a:extLst>
                <a:ext uri="{FF2B5EF4-FFF2-40B4-BE49-F238E27FC236}">
                  <a16:creationId xmlns:a16="http://schemas.microsoft.com/office/drawing/2014/main" id="{981348B1-3574-4CC4-84AB-17EA91193563}"/>
                </a:ext>
              </a:extLst>
            </p:cNvPr>
            <p:cNvGrpSpPr/>
            <p:nvPr/>
          </p:nvGrpSpPr>
          <p:grpSpPr>
            <a:xfrm>
              <a:off x="8647343" y="3476530"/>
              <a:ext cx="786741" cy="737654"/>
              <a:chOff x="9087587" y="3525936"/>
              <a:chExt cx="910936" cy="854099"/>
            </a:xfrm>
            <a:grpFill/>
          </p:grpSpPr>
          <p:grpSp>
            <p:nvGrpSpPr>
              <p:cNvPr id="100" name="Grupp 11">
                <a:extLst>
                  <a:ext uri="{FF2B5EF4-FFF2-40B4-BE49-F238E27FC236}">
                    <a16:creationId xmlns:a16="http://schemas.microsoft.com/office/drawing/2014/main" id="{A229BAD6-32DE-45DE-9D0C-45CB9E7B5DB9}"/>
                  </a:ext>
                </a:extLst>
              </p:cNvPr>
              <p:cNvGrpSpPr/>
              <p:nvPr/>
            </p:nvGrpSpPr>
            <p:grpSpPr>
              <a:xfrm>
                <a:off x="9130303" y="3625362"/>
                <a:ext cx="868220" cy="754673"/>
                <a:chOff x="7774872" y="4679282"/>
                <a:chExt cx="1188091" cy="1032711"/>
              </a:xfrm>
              <a:grpFill/>
            </p:grpSpPr>
            <p:sp>
              <p:nvSpPr>
                <p:cNvPr id="102" name="Freeform 3">
                  <a:extLst>
                    <a:ext uri="{FF2B5EF4-FFF2-40B4-BE49-F238E27FC236}">
                      <a16:creationId xmlns:a16="http://schemas.microsoft.com/office/drawing/2014/main" id="{FD460A32-3CCC-44A4-BEFA-AF03C398D67E}"/>
                    </a:ext>
                  </a:extLst>
                </p:cNvPr>
                <p:cNvSpPr>
                  <a:spLocks noChangeAspect="1" noEditPoints="1"/>
                </p:cNvSpPr>
                <p:nvPr/>
              </p:nvSpPr>
              <p:spPr bwMode="auto">
                <a:xfrm>
                  <a:off x="8514296" y="4679282"/>
                  <a:ext cx="323065" cy="508803"/>
                </a:xfrm>
                <a:custGeom>
                  <a:avLst/>
                  <a:gdLst>
                    <a:gd name="T0" fmla="*/ 2147483647 w 260"/>
                    <a:gd name="T1" fmla="*/ 2147483647 h 409"/>
                    <a:gd name="T2" fmla="*/ 2147483647 w 260"/>
                    <a:gd name="T3" fmla="*/ 2147483647 h 409"/>
                    <a:gd name="T4" fmla="*/ 2147483647 w 260"/>
                    <a:gd name="T5" fmla="*/ 2147483647 h 409"/>
                    <a:gd name="T6" fmla="*/ 2147483647 w 260"/>
                    <a:gd name="T7" fmla="*/ 2147483647 h 409"/>
                    <a:gd name="T8" fmla="*/ 2147483647 w 260"/>
                    <a:gd name="T9" fmla="*/ 2147483647 h 409"/>
                    <a:gd name="T10" fmla="*/ 2147483647 w 260"/>
                    <a:gd name="T11" fmla="*/ 2147483647 h 409"/>
                    <a:gd name="T12" fmla="*/ 2147483647 w 260"/>
                    <a:gd name="T13" fmla="*/ 2147483647 h 409"/>
                    <a:gd name="T14" fmla="*/ 2147483647 w 260"/>
                    <a:gd name="T15" fmla="*/ 2147483647 h 409"/>
                    <a:gd name="T16" fmla="*/ 2147483647 w 260"/>
                    <a:gd name="T17" fmla="*/ 2147483647 h 409"/>
                    <a:gd name="T18" fmla="*/ 2147483647 w 260"/>
                    <a:gd name="T19" fmla="*/ 2147483647 h 409"/>
                    <a:gd name="T20" fmla="*/ 2147483647 w 260"/>
                    <a:gd name="T21" fmla="*/ 2147483647 h 409"/>
                    <a:gd name="T22" fmla="*/ 2147483647 w 260"/>
                    <a:gd name="T23" fmla="*/ 2147483647 h 409"/>
                    <a:gd name="T24" fmla="*/ 2147483647 w 260"/>
                    <a:gd name="T25" fmla="*/ 2147483647 h 409"/>
                    <a:gd name="T26" fmla="*/ 2147483647 w 260"/>
                    <a:gd name="T27" fmla="*/ 2147483647 h 409"/>
                    <a:gd name="T28" fmla="*/ 2147483647 w 260"/>
                    <a:gd name="T29" fmla="*/ 2147483647 h 409"/>
                    <a:gd name="T30" fmla="*/ 2147483647 w 260"/>
                    <a:gd name="T31" fmla="*/ 2147483647 h 409"/>
                    <a:gd name="T32" fmla="*/ 2147483647 w 260"/>
                    <a:gd name="T33" fmla="*/ 2147483647 h 409"/>
                    <a:gd name="T34" fmla="*/ 2147483647 w 260"/>
                    <a:gd name="T35" fmla="*/ 2147483647 h 409"/>
                    <a:gd name="T36" fmla="*/ 2147483647 w 260"/>
                    <a:gd name="T37" fmla="*/ 0 h 409"/>
                    <a:gd name="T38" fmla="*/ 2147483647 w 260"/>
                    <a:gd name="T39" fmla="*/ 2147483647 h 409"/>
                    <a:gd name="T40" fmla="*/ 2147483647 w 260"/>
                    <a:gd name="T41" fmla="*/ 2147483647 h 409"/>
                    <a:gd name="T42" fmla="*/ 0 w 260"/>
                    <a:gd name="T43" fmla="*/ 2147483647 h 409"/>
                    <a:gd name="T44" fmla="*/ 0 w 260"/>
                    <a:gd name="T45" fmla="*/ 2147483647 h 409"/>
                    <a:gd name="T46" fmla="*/ 2147483647 w 260"/>
                    <a:gd name="T47" fmla="*/ 2147483647 h 409"/>
                    <a:gd name="T48" fmla="*/ 2147483647 w 260"/>
                    <a:gd name="T49" fmla="*/ 2147483647 h 409"/>
                    <a:gd name="T50" fmla="*/ 2147483647 w 260"/>
                    <a:gd name="T51" fmla="*/ 2147483647 h 409"/>
                    <a:gd name="T52" fmla="*/ 2147483647 w 260"/>
                    <a:gd name="T53" fmla="*/ 2147483647 h 409"/>
                    <a:gd name="T54" fmla="*/ 2147483647 w 260"/>
                    <a:gd name="T55" fmla="*/ 2147483647 h 409"/>
                    <a:gd name="T56" fmla="*/ 2147483647 w 260"/>
                    <a:gd name="T57" fmla="*/ 2147483647 h 409"/>
                    <a:gd name="T58" fmla="*/ 2147483647 w 260"/>
                    <a:gd name="T59" fmla="*/ 2147483647 h 409"/>
                    <a:gd name="T60" fmla="*/ 2147483647 w 260"/>
                    <a:gd name="T61" fmla="*/ 2147483647 h 409"/>
                    <a:gd name="T62" fmla="*/ 2147483647 w 260"/>
                    <a:gd name="T63" fmla="*/ 2147483647 h 409"/>
                    <a:gd name="T64" fmla="*/ 2147483647 w 260"/>
                    <a:gd name="T65" fmla="*/ 2147483647 h 409"/>
                    <a:gd name="T66" fmla="*/ 2147483647 w 260"/>
                    <a:gd name="T67" fmla="*/ 2147483647 h 409"/>
                    <a:gd name="T68" fmla="*/ 2147483647 w 260"/>
                    <a:gd name="T69" fmla="*/ 2147483647 h 409"/>
                    <a:gd name="T70" fmla="*/ 2147483647 w 260"/>
                    <a:gd name="T71" fmla="*/ 2147483647 h 409"/>
                    <a:gd name="T72" fmla="*/ 2147483647 w 260"/>
                    <a:gd name="T73" fmla="*/ 2147483647 h 409"/>
                    <a:gd name="T74" fmla="*/ 2147483647 w 260"/>
                    <a:gd name="T75" fmla="*/ 2147483647 h 409"/>
                    <a:gd name="T76" fmla="*/ 2147483647 w 260"/>
                    <a:gd name="T77" fmla="*/ 2147483647 h 409"/>
                    <a:gd name="T78" fmla="*/ 2147483647 w 260"/>
                    <a:gd name="T79" fmla="*/ 2147483647 h 409"/>
                    <a:gd name="T80" fmla="*/ 2147483647 w 260"/>
                    <a:gd name="T81" fmla="*/ 2147483647 h 409"/>
                    <a:gd name="T82" fmla="*/ 2147483647 w 260"/>
                    <a:gd name="T83" fmla="*/ 2147483647 h 409"/>
                    <a:gd name="T84" fmla="*/ 2147483647 w 260"/>
                    <a:gd name="T85" fmla="*/ 2147483647 h 409"/>
                    <a:gd name="T86" fmla="*/ 2147483647 w 260"/>
                    <a:gd name="T87" fmla="*/ 2147483647 h 409"/>
                    <a:gd name="T88" fmla="*/ 2147483647 w 260"/>
                    <a:gd name="T89" fmla="*/ 2147483647 h 409"/>
                    <a:gd name="T90" fmla="*/ 2147483647 w 260"/>
                    <a:gd name="T91" fmla="*/ 2147483647 h 409"/>
                    <a:gd name="T92" fmla="*/ 2147483647 w 260"/>
                    <a:gd name="T93" fmla="*/ 2147483647 h 409"/>
                    <a:gd name="T94" fmla="*/ 2147483647 w 260"/>
                    <a:gd name="T95" fmla="*/ 2147483647 h 409"/>
                    <a:gd name="T96" fmla="*/ 2147483647 w 260"/>
                    <a:gd name="T97" fmla="*/ 2147483647 h 409"/>
                    <a:gd name="T98" fmla="*/ 2147483647 w 260"/>
                    <a:gd name="T99" fmla="*/ 2147483647 h 409"/>
                    <a:gd name="T100" fmla="*/ 2147483647 w 260"/>
                    <a:gd name="T101" fmla="*/ 2147483647 h 409"/>
                    <a:gd name="T102" fmla="*/ 2147483647 w 260"/>
                    <a:gd name="T103" fmla="*/ 2147483647 h 409"/>
                    <a:gd name="T104" fmla="*/ 2147483647 w 260"/>
                    <a:gd name="T105" fmla="*/ 2147483647 h 409"/>
                    <a:gd name="T106" fmla="*/ 2147483647 w 260"/>
                    <a:gd name="T107" fmla="*/ 2147483647 h 409"/>
                    <a:gd name="T108" fmla="*/ 2147483647 w 260"/>
                    <a:gd name="T109" fmla="*/ 2147483647 h 409"/>
                    <a:gd name="T110" fmla="*/ 2147483647 w 260"/>
                    <a:gd name="T111" fmla="*/ 2147483647 h 409"/>
                    <a:gd name="T112" fmla="*/ 2147483647 w 260"/>
                    <a:gd name="T113" fmla="*/ 2147483647 h 409"/>
                    <a:gd name="T114" fmla="*/ 2147483647 w 260"/>
                    <a:gd name="T115" fmla="*/ 2147483647 h 409"/>
                    <a:gd name="T116" fmla="*/ 2147483647 w 260"/>
                    <a:gd name="T117" fmla="*/ 2147483647 h 409"/>
                    <a:gd name="T118" fmla="*/ 2147483647 w 260"/>
                    <a:gd name="T119" fmla="*/ 2147483647 h 409"/>
                    <a:gd name="T120" fmla="*/ 2147483647 w 260"/>
                    <a:gd name="T121" fmla="*/ 2147483647 h 409"/>
                    <a:gd name="T122" fmla="*/ 2147483647 w 260"/>
                    <a:gd name="T123" fmla="*/ 2147483647 h 40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60" h="409">
                      <a:moveTo>
                        <a:pt x="130" y="291"/>
                      </a:moveTo>
                      <a:cubicBezTo>
                        <a:pt x="120" y="291"/>
                        <a:pt x="112" y="299"/>
                        <a:pt x="112" y="309"/>
                      </a:cubicBezTo>
                      <a:cubicBezTo>
                        <a:pt x="112" y="319"/>
                        <a:pt x="120" y="327"/>
                        <a:pt x="130" y="327"/>
                      </a:cubicBezTo>
                      <a:cubicBezTo>
                        <a:pt x="140" y="327"/>
                        <a:pt x="148" y="319"/>
                        <a:pt x="148" y="309"/>
                      </a:cubicBezTo>
                      <a:cubicBezTo>
                        <a:pt x="148" y="299"/>
                        <a:pt x="140" y="291"/>
                        <a:pt x="130" y="291"/>
                      </a:cubicBezTo>
                      <a:close/>
                      <a:moveTo>
                        <a:pt x="229" y="206"/>
                      </a:moveTo>
                      <a:cubicBezTo>
                        <a:pt x="242" y="149"/>
                        <a:pt x="236" y="107"/>
                        <a:pt x="236" y="104"/>
                      </a:cubicBezTo>
                      <a:cubicBezTo>
                        <a:pt x="236" y="104"/>
                        <a:pt x="236" y="104"/>
                        <a:pt x="236" y="104"/>
                      </a:cubicBezTo>
                      <a:cubicBezTo>
                        <a:pt x="236" y="83"/>
                        <a:pt x="229" y="62"/>
                        <a:pt x="216" y="44"/>
                      </a:cubicBezTo>
                      <a:cubicBezTo>
                        <a:pt x="214" y="40"/>
                        <a:pt x="209" y="40"/>
                        <a:pt x="205" y="42"/>
                      </a:cubicBezTo>
                      <a:cubicBezTo>
                        <a:pt x="201" y="45"/>
                        <a:pt x="201" y="50"/>
                        <a:pt x="203" y="53"/>
                      </a:cubicBezTo>
                      <a:cubicBezTo>
                        <a:pt x="214" y="69"/>
                        <a:pt x="220" y="87"/>
                        <a:pt x="220" y="106"/>
                      </a:cubicBezTo>
                      <a:cubicBezTo>
                        <a:pt x="220" y="155"/>
                        <a:pt x="180" y="195"/>
                        <a:pt x="130" y="195"/>
                      </a:cubicBezTo>
                      <a:cubicBezTo>
                        <a:pt x="81" y="195"/>
                        <a:pt x="40" y="155"/>
                        <a:pt x="40" y="106"/>
                      </a:cubicBezTo>
                      <a:cubicBezTo>
                        <a:pt x="40" y="56"/>
                        <a:pt x="81" y="16"/>
                        <a:pt x="130" y="16"/>
                      </a:cubicBezTo>
                      <a:cubicBezTo>
                        <a:pt x="149" y="16"/>
                        <a:pt x="167" y="22"/>
                        <a:pt x="182" y="33"/>
                      </a:cubicBezTo>
                      <a:cubicBezTo>
                        <a:pt x="186" y="35"/>
                        <a:pt x="191" y="34"/>
                        <a:pt x="194" y="31"/>
                      </a:cubicBezTo>
                      <a:cubicBezTo>
                        <a:pt x="196" y="27"/>
                        <a:pt x="195" y="22"/>
                        <a:pt x="192" y="20"/>
                      </a:cubicBezTo>
                      <a:cubicBezTo>
                        <a:pt x="174" y="7"/>
                        <a:pt x="152" y="0"/>
                        <a:pt x="130" y="0"/>
                      </a:cubicBezTo>
                      <a:cubicBezTo>
                        <a:pt x="72" y="0"/>
                        <a:pt x="25" y="47"/>
                        <a:pt x="24" y="105"/>
                      </a:cubicBezTo>
                      <a:cubicBezTo>
                        <a:pt x="24" y="110"/>
                        <a:pt x="19" y="151"/>
                        <a:pt x="31" y="206"/>
                      </a:cubicBezTo>
                      <a:cubicBezTo>
                        <a:pt x="14" y="222"/>
                        <a:pt x="0" y="246"/>
                        <a:pt x="0" y="278"/>
                      </a:cubicBezTo>
                      <a:cubicBezTo>
                        <a:pt x="0" y="401"/>
                        <a:pt x="0" y="401"/>
                        <a:pt x="0" y="401"/>
                      </a:cubicBezTo>
                      <a:cubicBezTo>
                        <a:pt x="0" y="406"/>
                        <a:pt x="4" y="409"/>
                        <a:pt x="8" y="409"/>
                      </a:cubicBezTo>
                      <a:cubicBezTo>
                        <a:pt x="13" y="409"/>
                        <a:pt x="16" y="406"/>
                        <a:pt x="16" y="401"/>
                      </a:cubicBezTo>
                      <a:cubicBezTo>
                        <a:pt x="16" y="278"/>
                        <a:pt x="16" y="278"/>
                        <a:pt x="16" y="278"/>
                      </a:cubicBezTo>
                      <a:cubicBezTo>
                        <a:pt x="16" y="255"/>
                        <a:pt x="25" y="238"/>
                        <a:pt x="36" y="224"/>
                      </a:cubicBezTo>
                      <a:cubicBezTo>
                        <a:pt x="45" y="257"/>
                        <a:pt x="60" y="293"/>
                        <a:pt x="85" y="330"/>
                      </a:cubicBezTo>
                      <a:cubicBezTo>
                        <a:pt x="93" y="347"/>
                        <a:pt x="110" y="358"/>
                        <a:pt x="130" y="358"/>
                      </a:cubicBezTo>
                      <a:cubicBezTo>
                        <a:pt x="150" y="358"/>
                        <a:pt x="167" y="347"/>
                        <a:pt x="175" y="331"/>
                      </a:cubicBezTo>
                      <a:cubicBezTo>
                        <a:pt x="200" y="294"/>
                        <a:pt x="216" y="257"/>
                        <a:pt x="225" y="224"/>
                      </a:cubicBezTo>
                      <a:cubicBezTo>
                        <a:pt x="236" y="238"/>
                        <a:pt x="244" y="255"/>
                        <a:pt x="244" y="278"/>
                      </a:cubicBezTo>
                      <a:cubicBezTo>
                        <a:pt x="244" y="401"/>
                        <a:pt x="244" y="401"/>
                        <a:pt x="244" y="401"/>
                      </a:cubicBezTo>
                      <a:cubicBezTo>
                        <a:pt x="244" y="406"/>
                        <a:pt x="248" y="409"/>
                        <a:pt x="252" y="409"/>
                      </a:cubicBezTo>
                      <a:cubicBezTo>
                        <a:pt x="257" y="409"/>
                        <a:pt x="260" y="406"/>
                        <a:pt x="260" y="401"/>
                      </a:cubicBezTo>
                      <a:cubicBezTo>
                        <a:pt x="260" y="278"/>
                        <a:pt x="260" y="278"/>
                        <a:pt x="260" y="278"/>
                      </a:cubicBezTo>
                      <a:cubicBezTo>
                        <a:pt x="260" y="246"/>
                        <a:pt x="246" y="222"/>
                        <a:pt x="229" y="206"/>
                      </a:cubicBezTo>
                      <a:close/>
                      <a:moveTo>
                        <a:pt x="41" y="162"/>
                      </a:moveTo>
                      <a:cubicBezTo>
                        <a:pt x="46" y="170"/>
                        <a:pt x="52" y="178"/>
                        <a:pt x="60" y="184"/>
                      </a:cubicBezTo>
                      <a:cubicBezTo>
                        <a:pt x="55" y="187"/>
                        <a:pt x="50" y="190"/>
                        <a:pt x="45" y="194"/>
                      </a:cubicBezTo>
                      <a:cubicBezTo>
                        <a:pt x="43" y="182"/>
                        <a:pt x="42" y="172"/>
                        <a:pt x="41" y="162"/>
                      </a:cubicBezTo>
                      <a:close/>
                      <a:moveTo>
                        <a:pt x="130" y="342"/>
                      </a:moveTo>
                      <a:cubicBezTo>
                        <a:pt x="116" y="342"/>
                        <a:pt x="104" y="334"/>
                        <a:pt x="99" y="322"/>
                      </a:cubicBezTo>
                      <a:cubicBezTo>
                        <a:pt x="99" y="322"/>
                        <a:pt x="99" y="322"/>
                        <a:pt x="99" y="322"/>
                      </a:cubicBezTo>
                      <a:cubicBezTo>
                        <a:pt x="99" y="322"/>
                        <a:pt x="99" y="322"/>
                        <a:pt x="99" y="322"/>
                      </a:cubicBezTo>
                      <a:cubicBezTo>
                        <a:pt x="97" y="318"/>
                        <a:pt x="97" y="313"/>
                        <a:pt x="97" y="309"/>
                      </a:cubicBezTo>
                      <a:cubicBezTo>
                        <a:pt x="97" y="290"/>
                        <a:pt x="112" y="275"/>
                        <a:pt x="130" y="275"/>
                      </a:cubicBezTo>
                      <a:cubicBezTo>
                        <a:pt x="149" y="275"/>
                        <a:pt x="164" y="290"/>
                        <a:pt x="164" y="309"/>
                      </a:cubicBezTo>
                      <a:cubicBezTo>
                        <a:pt x="164" y="327"/>
                        <a:pt x="149" y="342"/>
                        <a:pt x="130" y="342"/>
                      </a:cubicBezTo>
                      <a:close/>
                      <a:moveTo>
                        <a:pt x="178" y="295"/>
                      </a:moveTo>
                      <a:cubicBezTo>
                        <a:pt x="172" y="274"/>
                        <a:pt x="153" y="259"/>
                        <a:pt x="130" y="259"/>
                      </a:cubicBezTo>
                      <a:cubicBezTo>
                        <a:pt x="108" y="259"/>
                        <a:pt x="88" y="274"/>
                        <a:pt x="83" y="295"/>
                      </a:cubicBezTo>
                      <a:cubicBezTo>
                        <a:pt x="66" y="266"/>
                        <a:pt x="56" y="237"/>
                        <a:pt x="49" y="211"/>
                      </a:cubicBezTo>
                      <a:cubicBezTo>
                        <a:pt x="58" y="204"/>
                        <a:pt x="66" y="199"/>
                        <a:pt x="74" y="195"/>
                      </a:cubicBezTo>
                      <a:cubicBezTo>
                        <a:pt x="90" y="205"/>
                        <a:pt x="109" y="211"/>
                        <a:pt x="130" y="211"/>
                      </a:cubicBezTo>
                      <a:cubicBezTo>
                        <a:pt x="151" y="211"/>
                        <a:pt x="170" y="205"/>
                        <a:pt x="187" y="195"/>
                      </a:cubicBezTo>
                      <a:cubicBezTo>
                        <a:pt x="194" y="199"/>
                        <a:pt x="203" y="204"/>
                        <a:pt x="211" y="211"/>
                      </a:cubicBezTo>
                      <a:cubicBezTo>
                        <a:pt x="205" y="237"/>
                        <a:pt x="195" y="266"/>
                        <a:pt x="178" y="295"/>
                      </a:cubicBezTo>
                      <a:close/>
                      <a:moveTo>
                        <a:pt x="215" y="194"/>
                      </a:moveTo>
                      <a:cubicBezTo>
                        <a:pt x="210" y="190"/>
                        <a:pt x="205" y="187"/>
                        <a:pt x="201" y="184"/>
                      </a:cubicBezTo>
                      <a:cubicBezTo>
                        <a:pt x="208" y="178"/>
                        <a:pt x="215" y="170"/>
                        <a:pt x="220" y="161"/>
                      </a:cubicBezTo>
                      <a:cubicBezTo>
                        <a:pt x="219" y="171"/>
                        <a:pt x="218" y="182"/>
                        <a:pt x="215" y="194"/>
                      </a:cubicBezTo>
                      <a:close/>
                    </a:path>
                  </a:pathLst>
                </a:custGeom>
                <a:grpFill/>
                <a:ln>
                  <a:noFill/>
                </a:ln>
              </p:spPr>
              <p:txBody>
                <a:bodyPr/>
                <a:lstStyle/>
                <a:p>
                  <a:endParaRPr lang="sv-SE" dirty="0">
                    <a:solidFill>
                      <a:srgbClr val="58585A"/>
                    </a:solidFill>
                  </a:endParaRPr>
                </a:p>
              </p:txBody>
            </p:sp>
            <p:sp>
              <p:nvSpPr>
                <p:cNvPr id="103" name="Freeform 3">
                  <a:extLst>
                    <a:ext uri="{FF2B5EF4-FFF2-40B4-BE49-F238E27FC236}">
                      <a16:creationId xmlns:a16="http://schemas.microsoft.com/office/drawing/2014/main" id="{ED767086-EEA8-4C5B-8613-B46A1FA7FD48}"/>
                    </a:ext>
                  </a:extLst>
                </p:cNvPr>
                <p:cNvSpPr>
                  <a:spLocks noChangeAspect="1" noEditPoints="1"/>
                </p:cNvSpPr>
                <p:nvPr/>
              </p:nvSpPr>
              <p:spPr bwMode="auto">
                <a:xfrm>
                  <a:off x="7774872" y="5340518"/>
                  <a:ext cx="552647" cy="371475"/>
                </a:xfrm>
                <a:custGeom>
                  <a:avLst/>
                  <a:gdLst>
                    <a:gd name="T0" fmla="*/ 2147483647 w 461"/>
                    <a:gd name="T1" fmla="*/ 2147483647 h 310"/>
                    <a:gd name="T2" fmla="*/ 2147483647 w 461"/>
                    <a:gd name="T3" fmla="*/ 2147483647 h 310"/>
                    <a:gd name="T4" fmla="*/ 2147483647 w 461"/>
                    <a:gd name="T5" fmla="*/ 2147483647 h 310"/>
                    <a:gd name="T6" fmla="*/ 2147483647 w 461"/>
                    <a:gd name="T7" fmla="*/ 2147483647 h 310"/>
                    <a:gd name="T8" fmla="*/ 2147483647 w 461"/>
                    <a:gd name="T9" fmla="*/ 2147483647 h 310"/>
                    <a:gd name="T10" fmla="*/ 2147483647 w 461"/>
                    <a:gd name="T11" fmla="*/ 2147483647 h 310"/>
                    <a:gd name="T12" fmla="*/ 2147483647 w 461"/>
                    <a:gd name="T13" fmla="*/ 2147483647 h 310"/>
                    <a:gd name="T14" fmla="*/ 2147483647 w 461"/>
                    <a:gd name="T15" fmla="*/ 2147483647 h 310"/>
                    <a:gd name="T16" fmla="*/ 0 w 461"/>
                    <a:gd name="T17" fmla="*/ 2147483647 h 310"/>
                    <a:gd name="T18" fmla="*/ 2147483647 w 461"/>
                    <a:gd name="T19" fmla="*/ 2147483647 h 310"/>
                    <a:gd name="T20" fmla="*/ 2147483647 w 461"/>
                    <a:gd name="T21" fmla="*/ 2147483647 h 310"/>
                    <a:gd name="T22" fmla="*/ 2147483647 w 461"/>
                    <a:gd name="T23" fmla="*/ 2147483647 h 310"/>
                    <a:gd name="T24" fmla="*/ 2147483647 w 461"/>
                    <a:gd name="T25" fmla="*/ 2147483647 h 310"/>
                    <a:gd name="T26" fmla="*/ 2147483647 w 461"/>
                    <a:gd name="T27" fmla="*/ 2147483647 h 310"/>
                    <a:gd name="T28" fmla="*/ 2147483647 w 461"/>
                    <a:gd name="T29" fmla="*/ 2147483647 h 310"/>
                    <a:gd name="T30" fmla="*/ 2147483647 w 461"/>
                    <a:gd name="T31" fmla="*/ 2147483647 h 310"/>
                    <a:gd name="T32" fmla="*/ 2147483647 w 461"/>
                    <a:gd name="T33" fmla="*/ 2147483647 h 310"/>
                    <a:gd name="T34" fmla="*/ 2147483647 w 461"/>
                    <a:gd name="T35" fmla="*/ 2147483647 h 310"/>
                    <a:gd name="T36" fmla="*/ 2147483647 w 461"/>
                    <a:gd name="T37" fmla="*/ 2147483647 h 310"/>
                    <a:gd name="T38" fmla="*/ 2147483647 w 461"/>
                    <a:gd name="T39" fmla="*/ 2147483647 h 310"/>
                    <a:gd name="T40" fmla="*/ 2147483647 w 461"/>
                    <a:gd name="T41" fmla="*/ 2147483647 h 310"/>
                    <a:gd name="T42" fmla="*/ 2147483647 w 461"/>
                    <a:gd name="T43" fmla="*/ 2147483647 h 310"/>
                    <a:gd name="T44" fmla="*/ 2147483647 w 461"/>
                    <a:gd name="T45" fmla="*/ 2147483647 h 310"/>
                    <a:gd name="T46" fmla="*/ 2147483647 w 461"/>
                    <a:gd name="T47" fmla="*/ 2147483647 h 310"/>
                    <a:gd name="T48" fmla="*/ 2147483647 w 461"/>
                    <a:gd name="T49" fmla="*/ 2147483647 h 310"/>
                    <a:gd name="T50" fmla="*/ 2147483647 w 461"/>
                    <a:gd name="T51" fmla="*/ 2147483647 h 310"/>
                    <a:gd name="T52" fmla="*/ 2147483647 w 461"/>
                    <a:gd name="T53" fmla="*/ 2147483647 h 310"/>
                    <a:gd name="T54" fmla="*/ 2147483647 w 461"/>
                    <a:gd name="T55" fmla="*/ 2147483647 h 310"/>
                    <a:gd name="T56" fmla="*/ 2147483647 w 461"/>
                    <a:gd name="T57" fmla="*/ 2147483647 h 310"/>
                    <a:gd name="T58" fmla="*/ 2147483647 w 461"/>
                    <a:gd name="T59" fmla="*/ 2147483647 h 310"/>
                    <a:gd name="T60" fmla="*/ 2147483647 w 461"/>
                    <a:gd name="T61" fmla="*/ 2147483647 h 310"/>
                    <a:gd name="T62" fmla="*/ 2147483647 w 461"/>
                    <a:gd name="T63" fmla="*/ 2147483647 h 310"/>
                    <a:gd name="T64" fmla="*/ 2147483647 w 461"/>
                    <a:gd name="T65" fmla="*/ 2147483647 h 310"/>
                    <a:gd name="T66" fmla="*/ 2147483647 w 461"/>
                    <a:gd name="T67" fmla="*/ 2147483647 h 310"/>
                    <a:gd name="T68" fmla="*/ 2147483647 w 461"/>
                    <a:gd name="T69" fmla="*/ 2147483647 h 310"/>
                    <a:gd name="T70" fmla="*/ 2147483647 w 461"/>
                    <a:gd name="T71" fmla="*/ 2147483647 h 310"/>
                    <a:gd name="T72" fmla="*/ 2147483647 w 461"/>
                    <a:gd name="T73" fmla="*/ 2147483647 h 310"/>
                    <a:gd name="T74" fmla="*/ 2147483647 w 461"/>
                    <a:gd name="T75" fmla="*/ 2147483647 h 310"/>
                    <a:gd name="T76" fmla="*/ 2147483647 w 461"/>
                    <a:gd name="T77" fmla="*/ 2147483647 h 310"/>
                    <a:gd name="T78" fmla="*/ 2147483647 w 461"/>
                    <a:gd name="T79" fmla="*/ 2147483647 h 310"/>
                    <a:gd name="T80" fmla="*/ 2147483647 w 461"/>
                    <a:gd name="T81" fmla="*/ 2147483647 h 310"/>
                    <a:gd name="T82" fmla="*/ 2147483647 w 461"/>
                    <a:gd name="T83" fmla="*/ 2147483647 h 310"/>
                    <a:gd name="T84" fmla="*/ 2147483647 w 461"/>
                    <a:gd name="T85" fmla="*/ 2147483647 h 310"/>
                    <a:gd name="T86" fmla="*/ 2147483647 w 461"/>
                    <a:gd name="T87" fmla="*/ 2147483647 h 310"/>
                    <a:gd name="T88" fmla="*/ 2147483647 w 461"/>
                    <a:gd name="T89" fmla="*/ 2147483647 h 310"/>
                    <a:gd name="T90" fmla="*/ 2147483647 w 461"/>
                    <a:gd name="T91" fmla="*/ 2147483647 h 310"/>
                    <a:gd name="T92" fmla="*/ 2147483647 w 461"/>
                    <a:gd name="T93" fmla="*/ 2147483647 h 310"/>
                    <a:gd name="T94" fmla="*/ 2147483647 w 461"/>
                    <a:gd name="T95" fmla="*/ 2147483647 h 310"/>
                    <a:gd name="T96" fmla="*/ 2147483647 w 461"/>
                    <a:gd name="T97" fmla="*/ 2147483647 h 310"/>
                    <a:gd name="T98" fmla="*/ 2147483647 w 461"/>
                    <a:gd name="T99" fmla="*/ 2147483647 h 310"/>
                    <a:gd name="T100" fmla="*/ 2147483647 w 461"/>
                    <a:gd name="T101" fmla="*/ 2147483647 h 310"/>
                    <a:gd name="T102" fmla="*/ 2147483647 w 461"/>
                    <a:gd name="T103" fmla="*/ 2147483647 h 310"/>
                    <a:gd name="T104" fmla="*/ 2147483647 w 461"/>
                    <a:gd name="T105" fmla="*/ 2147483647 h 310"/>
                    <a:gd name="T106" fmla="*/ 2147483647 w 461"/>
                    <a:gd name="T107" fmla="*/ 2147483647 h 310"/>
                    <a:gd name="T108" fmla="*/ 2147483647 w 461"/>
                    <a:gd name="T109" fmla="*/ 2147483647 h 310"/>
                    <a:gd name="T110" fmla="*/ 2147483647 w 461"/>
                    <a:gd name="T111" fmla="*/ 2147483647 h 310"/>
                    <a:gd name="T112" fmla="*/ 2147483647 w 461"/>
                    <a:gd name="T113" fmla="*/ 2147483647 h 310"/>
                    <a:gd name="T114" fmla="*/ 2147483647 w 461"/>
                    <a:gd name="T115" fmla="*/ 2147483647 h 310"/>
                    <a:gd name="T116" fmla="*/ 2147483647 w 461"/>
                    <a:gd name="T117" fmla="*/ 2147483647 h 310"/>
                    <a:gd name="T118" fmla="*/ 2147483647 w 461"/>
                    <a:gd name="T119" fmla="*/ 2147483647 h 310"/>
                    <a:gd name="T120" fmla="*/ 2147483647 w 461"/>
                    <a:gd name="T121" fmla="*/ 2147483647 h 310"/>
                    <a:gd name="T122" fmla="*/ 2147483647 w 461"/>
                    <a:gd name="T123" fmla="*/ 2147483647 h 310"/>
                    <a:gd name="T124" fmla="*/ 2147483647 w 461"/>
                    <a:gd name="T125" fmla="*/ 2147483647 h 31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61" h="310">
                      <a:moveTo>
                        <a:pt x="449" y="165"/>
                      </a:moveTo>
                      <a:cubicBezTo>
                        <a:pt x="444" y="158"/>
                        <a:pt x="438" y="153"/>
                        <a:pt x="431" y="149"/>
                      </a:cubicBezTo>
                      <a:cubicBezTo>
                        <a:pt x="439" y="138"/>
                        <a:pt x="444" y="125"/>
                        <a:pt x="444" y="111"/>
                      </a:cubicBezTo>
                      <a:cubicBezTo>
                        <a:pt x="444" y="102"/>
                        <a:pt x="442" y="93"/>
                        <a:pt x="438" y="85"/>
                      </a:cubicBezTo>
                      <a:cubicBezTo>
                        <a:pt x="432" y="72"/>
                        <a:pt x="422" y="61"/>
                        <a:pt x="409" y="55"/>
                      </a:cubicBezTo>
                      <a:cubicBezTo>
                        <a:pt x="401" y="51"/>
                        <a:pt x="392" y="49"/>
                        <a:pt x="382" y="49"/>
                      </a:cubicBezTo>
                      <a:cubicBezTo>
                        <a:pt x="348" y="49"/>
                        <a:pt x="321" y="77"/>
                        <a:pt x="321" y="111"/>
                      </a:cubicBezTo>
                      <a:cubicBezTo>
                        <a:pt x="321" y="125"/>
                        <a:pt x="326" y="138"/>
                        <a:pt x="334" y="149"/>
                      </a:cubicBezTo>
                      <a:cubicBezTo>
                        <a:pt x="329" y="151"/>
                        <a:pt x="325" y="155"/>
                        <a:pt x="321" y="158"/>
                      </a:cubicBezTo>
                      <a:cubicBezTo>
                        <a:pt x="320" y="157"/>
                        <a:pt x="319" y="155"/>
                        <a:pt x="318" y="154"/>
                      </a:cubicBezTo>
                      <a:cubicBezTo>
                        <a:pt x="311" y="145"/>
                        <a:pt x="302" y="137"/>
                        <a:pt x="293" y="132"/>
                      </a:cubicBezTo>
                      <a:cubicBezTo>
                        <a:pt x="304" y="118"/>
                        <a:pt x="311" y="100"/>
                        <a:pt x="311" y="80"/>
                      </a:cubicBezTo>
                      <a:cubicBezTo>
                        <a:pt x="311" y="65"/>
                        <a:pt x="307" y="50"/>
                        <a:pt x="299" y="37"/>
                      </a:cubicBezTo>
                      <a:cubicBezTo>
                        <a:pt x="296" y="34"/>
                        <a:pt x="291" y="33"/>
                        <a:pt x="288" y="35"/>
                      </a:cubicBezTo>
                      <a:cubicBezTo>
                        <a:pt x="284" y="37"/>
                        <a:pt x="283" y="42"/>
                        <a:pt x="285" y="46"/>
                      </a:cubicBezTo>
                      <a:cubicBezTo>
                        <a:pt x="292" y="56"/>
                        <a:pt x="295" y="68"/>
                        <a:pt x="295" y="80"/>
                      </a:cubicBezTo>
                      <a:cubicBezTo>
                        <a:pt x="295" y="116"/>
                        <a:pt x="266" y="144"/>
                        <a:pt x="231" y="144"/>
                      </a:cubicBezTo>
                      <a:cubicBezTo>
                        <a:pt x="196" y="144"/>
                        <a:pt x="167" y="116"/>
                        <a:pt x="167" y="80"/>
                      </a:cubicBezTo>
                      <a:cubicBezTo>
                        <a:pt x="167" y="45"/>
                        <a:pt x="196" y="16"/>
                        <a:pt x="231" y="16"/>
                      </a:cubicBezTo>
                      <a:cubicBezTo>
                        <a:pt x="243" y="16"/>
                        <a:pt x="255" y="20"/>
                        <a:pt x="265" y="26"/>
                      </a:cubicBezTo>
                      <a:cubicBezTo>
                        <a:pt x="269" y="28"/>
                        <a:pt x="274" y="27"/>
                        <a:pt x="276" y="24"/>
                      </a:cubicBezTo>
                      <a:cubicBezTo>
                        <a:pt x="279" y="20"/>
                        <a:pt x="278" y="15"/>
                        <a:pt x="274" y="13"/>
                      </a:cubicBezTo>
                      <a:cubicBezTo>
                        <a:pt x="261" y="4"/>
                        <a:pt x="246" y="0"/>
                        <a:pt x="231" y="0"/>
                      </a:cubicBezTo>
                      <a:cubicBezTo>
                        <a:pt x="187" y="0"/>
                        <a:pt x="151" y="36"/>
                        <a:pt x="151" y="80"/>
                      </a:cubicBezTo>
                      <a:cubicBezTo>
                        <a:pt x="151" y="100"/>
                        <a:pt x="158" y="118"/>
                        <a:pt x="169" y="132"/>
                      </a:cubicBezTo>
                      <a:cubicBezTo>
                        <a:pt x="160" y="137"/>
                        <a:pt x="151" y="145"/>
                        <a:pt x="144" y="154"/>
                      </a:cubicBezTo>
                      <a:cubicBezTo>
                        <a:pt x="143" y="155"/>
                        <a:pt x="142" y="157"/>
                        <a:pt x="140" y="159"/>
                      </a:cubicBezTo>
                      <a:cubicBezTo>
                        <a:pt x="137" y="155"/>
                        <a:pt x="132" y="151"/>
                        <a:pt x="128" y="149"/>
                      </a:cubicBezTo>
                      <a:cubicBezTo>
                        <a:pt x="136" y="138"/>
                        <a:pt x="141" y="125"/>
                        <a:pt x="141" y="111"/>
                      </a:cubicBezTo>
                      <a:cubicBezTo>
                        <a:pt x="141" y="102"/>
                        <a:pt x="139" y="93"/>
                        <a:pt x="135" y="85"/>
                      </a:cubicBezTo>
                      <a:cubicBezTo>
                        <a:pt x="129" y="72"/>
                        <a:pt x="118" y="61"/>
                        <a:pt x="105" y="55"/>
                      </a:cubicBezTo>
                      <a:cubicBezTo>
                        <a:pt x="97" y="51"/>
                        <a:pt x="88" y="49"/>
                        <a:pt x="79" y="49"/>
                      </a:cubicBezTo>
                      <a:cubicBezTo>
                        <a:pt x="45" y="49"/>
                        <a:pt x="17" y="77"/>
                        <a:pt x="17" y="111"/>
                      </a:cubicBezTo>
                      <a:cubicBezTo>
                        <a:pt x="17" y="125"/>
                        <a:pt x="22" y="138"/>
                        <a:pt x="30" y="149"/>
                      </a:cubicBezTo>
                      <a:cubicBezTo>
                        <a:pt x="23" y="153"/>
                        <a:pt x="17" y="158"/>
                        <a:pt x="12" y="165"/>
                      </a:cubicBezTo>
                      <a:cubicBezTo>
                        <a:pt x="5" y="174"/>
                        <a:pt x="0" y="186"/>
                        <a:pt x="0" y="198"/>
                      </a:cubicBezTo>
                      <a:cubicBezTo>
                        <a:pt x="0" y="266"/>
                        <a:pt x="0" y="266"/>
                        <a:pt x="0" y="266"/>
                      </a:cubicBezTo>
                      <a:cubicBezTo>
                        <a:pt x="0" y="276"/>
                        <a:pt x="7" y="284"/>
                        <a:pt x="17" y="284"/>
                      </a:cubicBezTo>
                      <a:cubicBezTo>
                        <a:pt x="128" y="284"/>
                        <a:pt x="128" y="284"/>
                        <a:pt x="128" y="284"/>
                      </a:cubicBezTo>
                      <a:cubicBezTo>
                        <a:pt x="128" y="288"/>
                        <a:pt x="128" y="288"/>
                        <a:pt x="128" y="288"/>
                      </a:cubicBezTo>
                      <a:cubicBezTo>
                        <a:pt x="128" y="300"/>
                        <a:pt x="136" y="310"/>
                        <a:pt x="148" y="310"/>
                      </a:cubicBezTo>
                      <a:cubicBezTo>
                        <a:pt x="314" y="310"/>
                        <a:pt x="314" y="310"/>
                        <a:pt x="314" y="310"/>
                      </a:cubicBezTo>
                      <a:cubicBezTo>
                        <a:pt x="326" y="310"/>
                        <a:pt x="334" y="300"/>
                        <a:pt x="334" y="288"/>
                      </a:cubicBezTo>
                      <a:cubicBezTo>
                        <a:pt x="334" y="284"/>
                        <a:pt x="334" y="284"/>
                        <a:pt x="334" y="284"/>
                      </a:cubicBezTo>
                      <a:cubicBezTo>
                        <a:pt x="444" y="284"/>
                        <a:pt x="444" y="284"/>
                        <a:pt x="444" y="284"/>
                      </a:cubicBezTo>
                      <a:cubicBezTo>
                        <a:pt x="454" y="284"/>
                        <a:pt x="461" y="276"/>
                        <a:pt x="461" y="266"/>
                      </a:cubicBezTo>
                      <a:cubicBezTo>
                        <a:pt x="461" y="198"/>
                        <a:pt x="461" y="198"/>
                        <a:pt x="461" y="198"/>
                      </a:cubicBezTo>
                      <a:cubicBezTo>
                        <a:pt x="461" y="186"/>
                        <a:pt x="456" y="174"/>
                        <a:pt x="449" y="165"/>
                      </a:cubicBezTo>
                      <a:close/>
                      <a:moveTo>
                        <a:pt x="79" y="65"/>
                      </a:moveTo>
                      <a:cubicBezTo>
                        <a:pt x="86" y="65"/>
                        <a:pt x="92" y="67"/>
                        <a:pt x="98" y="70"/>
                      </a:cubicBezTo>
                      <a:cubicBezTo>
                        <a:pt x="108" y="74"/>
                        <a:pt x="116" y="82"/>
                        <a:pt x="120" y="92"/>
                      </a:cubicBezTo>
                      <a:cubicBezTo>
                        <a:pt x="123" y="97"/>
                        <a:pt x="125" y="104"/>
                        <a:pt x="125" y="111"/>
                      </a:cubicBezTo>
                      <a:cubicBezTo>
                        <a:pt x="125" y="125"/>
                        <a:pt x="118" y="137"/>
                        <a:pt x="109" y="146"/>
                      </a:cubicBezTo>
                      <a:cubicBezTo>
                        <a:pt x="108" y="146"/>
                        <a:pt x="107" y="147"/>
                        <a:pt x="106" y="147"/>
                      </a:cubicBezTo>
                      <a:cubicBezTo>
                        <a:pt x="106" y="148"/>
                        <a:pt x="106" y="148"/>
                        <a:pt x="105" y="148"/>
                      </a:cubicBezTo>
                      <a:cubicBezTo>
                        <a:pt x="105" y="149"/>
                        <a:pt x="104" y="149"/>
                        <a:pt x="103" y="150"/>
                      </a:cubicBezTo>
                      <a:cubicBezTo>
                        <a:pt x="103" y="150"/>
                        <a:pt x="102" y="150"/>
                        <a:pt x="102" y="151"/>
                      </a:cubicBezTo>
                      <a:cubicBezTo>
                        <a:pt x="101" y="151"/>
                        <a:pt x="100" y="151"/>
                        <a:pt x="100" y="152"/>
                      </a:cubicBezTo>
                      <a:cubicBezTo>
                        <a:pt x="99" y="152"/>
                        <a:pt x="98" y="152"/>
                        <a:pt x="98" y="153"/>
                      </a:cubicBezTo>
                      <a:cubicBezTo>
                        <a:pt x="97" y="153"/>
                        <a:pt x="97" y="153"/>
                        <a:pt x="96" y="153"/>
                      </a:cubicBezTo>
                      <a:cubicBezTo>
                        <a:pt x="95" y="154"/>
                        <a:pt x="94" y="154"/>
                        <a:pt x="94" y="154"/>
                      </a:cubicBezTo>
                      <a:cubicBezTo>
                        <a:pt x="93" y="154"/>
                        <a:pt x="92" y="155"/>
                        <a:pt x="92" y="155"/>
                      </a:cubicBezTo>
                      <a:cubicBezTo>
                        <a:pt x="91" y="155"/>
                        <a:pt x="90" y="155"/>
                        <a:pt x="89" y="156"/>
                      </a:cubicBezTo>
                      <a:cubicBezTo>
                        <a:pt x="89" y="156"/>
                        <a:pt x="88" y="156"/>
                        <a:pt x="88" y="156"/>
                      </a:cubicBezTo>
                      <a:cubicBezTo>
                        <a:pt x="87" y="156"/>
                        <a:pt x="86" y="156"/>
                        <a:pt x="84" y="156"/>
                      </a:cubicBezTo>
                      <a:cubicBezTo>
                        <a:pt x="84" y="156"/>
                        <a:pt x="84" y="156"/>
                        <a:pt x="83" y="156"/>
                      </a:cubicBezTo>
                      <a:cubicBezTo>
                        <a:pt x="82" y="157"/>
                        <a:pt x="80" y="157"/>
                        <a:pt x="79" y="157"/>
                      </a:cubicBezTo>
                      <a:cubicBezTo>
                        <a:pt x="77" y="157"/>
                        <a:pt x="76" y="157"/>
                        <a:pt x="74" y="156"/>
                      </a:cubicBezTo>
                      <a:cubicBezTo>
                        <a:pt x="74" y="156"/>
                        <a:pt x="74" y="156"/>
                        <a:pt x="73" y="156"/>
                      </a:cubicBezTo>
                      <a:cubicBezTo>
                        <a:pt x="72" y="156"/>
                        <a:pt x="71" y="156"/>
                        <a:pt x="70" y="156"/>
                      </a:cubicBezTo>
                      <a:cubicBezTo>
                        <a:pt x="69" y="156"/>
                        <a:pt x="69" y="156"/>
                        <a:pt x="69" y="156"/>
                      </a:cubicBezTo>
                      <a:cubicBezTo>
                        <a:pt x="68" y="155"/>
                        <a:pt x="67" y="155"/>
                        <a:pt x="66" y="155"/>
                      </a:cubicBezTo>
                      <a:cubicBezTo>
                        <a:pt x="65" y="155"/>
                        <a:pt x="65" y="154"/>
                        <a:pt x="64" y="154"/>
                      </a:cubicBezTo>
                      <a:cubicBezTo>
                        <a:pt x="63" y="154"/>
                        <a:pt x="63" y="154"/>
                        <a:pt x="62" y="153"/>
                      </a:cubicBezTo>
                      <a:cubicBezTo>
                        <a:pt x="61" y="153"/>
                        <a:pt x="61" y="153"/>
                        <a:pt x="60" y="153"/>
                      </a:cubicBezTo>
                      <a:cubicBezTo>
                        <a:pt x="59" y="152"/>
                        <a:pt x="59" y="152"/>
                        <a:pt x="58" y="152"/>
                      </a:cubicBezTo>
                      <a:cubicBezTo>
                        <a:pt x="57" y="151"/>
                        <a:pt x="57" y="151"/>
                        <a:pt x="56" y="151"/>
                      </a:cubicBezTo>
                      <a:cubicBezTo>
                        <a:pt x="56" y="150"/>
                        <a:pt x="55" y="150"/>
                        <a:pt x="55" y="150"/>
                      </a:cubicBezTo>
                      <a:cubicBezTo>
                        <a:pt x="54" y="149"/>
                        <a:pt x="53" y="149"/>
                        <a:pt x="52" y="148"/>
                      </a:cubicBezTo>
                      <a:cubicBezTo>
                        <a:pt x="52" y="148"/>
                        <a:pt x="52" y="148"/>
                        <a:pt x="51" y="147"/>
                      </a:cubicBezTo>
                      <a:cubicBezTo>
                        <a:pt x="51" y="147"/>
                        <a:pt x="50" y="146"/>
                        <a:pt x="49" y="146"/>
                      </a:cubicBezTo>
                      <a:cubicBezTo>
                        <a:pt x="39" y="137"/>
                        <a:pt x="33" y="125"/>
                        <a:pt x="33" y="111"/>
                      </a:cubicBezTo>
                      <a:cubicBezTo>
                        <a:pt x="33" y="86"/>
                        <a:pt x="54" y="65"/>
                        <a:pt x="79" y="65"/>
                      </a:cubicBezTo>
                      <a:close/>
                      <a:moveTo>
                        <a:pt x="129" y="189"/>
                      </a:moveTo>
                      <a:cubicBezTo>
                        <a:pt x="128" y="190"/>
                        <a:pt x="128" y="191"/>
                        <a:pt x="128" y="192"/>
                      </a:cubicBezTo>
                      <a:cubicBezTo>
                        <a:pt x="128" y="194"/>
                        <a:pt x="128" y="195"/>
                        <a:pt x="128" y="196"/>
                      </a:cubicBezTo>
                      <a:cubicBezTo>
                        <a:pt x="128" y="196"/>
                        <a:pt x="128" y="196"/>
                        <a:pt x="128" y="196"/>
                      </a:cubicBezTo>
                      <a:cubicBezTo>
                        <a:pt x="128" y="268"/>
                        <a:pt x="128" y="268"/>
                        <a:pt x="128" y="268"/>
                      </a:cubicBezTo>
                      <a:cubicBezTo>
                        <a:pt x="43" y="268"/>
                        <a:pt x="43" y="268"/>
                        <a:pt x="43" y="268"/>
                      </a:cubicBezTo>
                      <a:cubicBezTo>
                        <a:pt x="43" y="206"/>
                        <a:pt x="43" y="206"/>
                        <a:pt x="43" y="206"/>
                      </a:cubicBezTo>
                      <a:cubicBezTo>
                        <a:pt x="43" y="202"/>
                        <a:pt x="39" y="198"/>
                        <a:pt x="35" y="198"/>
                      </a:cubicBezTo>
                      <a:cubicBezTo>
                        <a:pt x="31" y="198"/>
                        <a:pt x="27" y="202"/>
                        <a:pt x="27" y="206"/>
                      </a:cubicBezTo>
                      <a:cubicBezTo>
                        <a:pt x="27" y="268"/>
                        <a:pt x="27" y="268"/>
                        <a:pt x="27" y="268"/>
                      </a:cubicBezTo>
                      <a:cubicBezTo>
                        <a:pt x="17" y="268"/>
                        <a:pt x="17" y="268"/>
                        <a:pt x="17" y="268"/>
                      </a:cubicBezTo>
                      <a:cubicBezTo>
                        <a:pt x="17" y="268"/>
                        <a:pt x="17" y="268"/>
                        <a:pt x="17" y="268"/>
                      </a:cubicBezTo>
                      <a:cubicBezTo>
                        <a:pt x="16" y="268"/>
                        <a:pt x="16" y="267"/>
                        <a:pt x="16" y="266"/>
                      </a:cubicBezTo>
                      <a:cubicBezTo>
                        <a:pt x="16" y="198"/>
                        <a:pt x="16" y="198"/>
                        <a:pt x="16" y="198"/>
                      </a:cubicBezTo>
                      <a:cubicBezTo>
                        <a:pt x="16" y="191"/>
                        <a:pt x="19" y="182"/>
                        <a:pt x="25" y="174"/>
                      </a:cubicBezTo>
                      <a:cubicBezTo>
                        <a:pt x="30" y="168"/>
                        <a:pt x="36" y="163"/>
                        <a:pt x="42" y="160"/>
                      </a:cubicBezTo>
                      <a:cubicBezTo>
                        <a:pt x="42" y="161"/>
                        <a:pt x="42" y="161"/>
                        <a:pt x="43" y="161"/>
                      </a:cubicBezTo>
                      <a:cubicBezTo>
                        <a:pt x="44" y="162"/>
                        <a:pt x="45" y="162"/>
                        <a:pt x="46" y="163"/>
                      </a:cubicBezTo>
                      <a:cubicBezTo>
                        <a:pt x="46" y="163"/>
                        <a:pt x="47" y="164"/>
                        <a:pt x="47" y="164"/>
                      </a:cubicBezTo>
                      <a:cubicBezTo>
                        <a:pt x="48" y="164"/>
                        <a:pt x="49" y="165"/>
                        <a:pt x="50" y="166"/>
                      </a:cubicBezTo>
                      <a:cubicBezTo>
                        <a:pt x="50" y="166"/>
                        <a:pt x="51" y="166"/>
                        <a:pt x="51" y="166"/>
                      </a:cubicBezTo>
                      <a:cubicBezTo>
                        <a:pt x="53" y="167"/>
                        <a:pt x="55" y="168"/>
                        <a:pt x="57" y="169"/>
                      </a:cubicBezTo>
                      <a:cubicBezTo>
                        <a:pt x="58" y="169"/>
                        <a:pt x="59" y="169"/>
                        <a:pt x="60" y="170"/>
                      </a:cubicBezTo>
                      <a:cubicBezTo>
                        <a:pt x="60" y="170"/>
                        <a:pt x="61" y="170"/>
                        <a:pt x="62" y="170"/>
                      </a:cubicBezTo>
                      <a:cubicBezTo>
                        <a:pt x="63" y="171"/>
                        <a:pt x="64" y="171"/>
                        <a:pt x="65" y="171"/>
                      </a:cubicBezTo>
                      <a:cubicBezTo>
                        <a:pt x="66" y="171"/>
                        <a:pt x="67" y="171"/>
                        <a:pt x="67" y="172"/>
                      </a:cubicBezTo>
                      <a:cubicBezTo>
                        <a:pt x="69" y="172"/>
                        <a:pt x="70" y="172"/>
                        <a:pt x="71" y="172"/>
                      </a:cubicBezTo>
                      <a:cubicBezTo>
                        <a:pt x="72" y="172"/>
                        <a:pt x="72" y="172"/>
                        <a:pt x="73" y="172"/>
                      </a:cubicBezTo>
                      <a:cubicBezTo>
                        <a:pt x="75" y="173"/>
                        <a:pt x="77" y="173"/>
                        <a:pt x="79" y="173"/>
                      </a:cubicBezTo>
                      <a:cubicBezTo>
                        <a:pt x="81" y="173"/>
                        <a:pt x="83" y="173"/>
                        <a:pt x="85" y="172"/>
                      </a:cubicBezTo>
                      <a:cubicBezTo>
                        <a:pt x="85" y="172"/>
                        <a:pt x="86" y="172"/>
                        <a:pt x="86" y="172"/>
                      </a:cubicBezTo>
                      <a:cubicBezTo>
                        <a:pt x="88" y="172"/>
                        <a:pt x="89" y="172"/>
                        <a:pt x="90" y="172"/>
                      </a:cubicBezTo>
                      <a:cubicBezTo>
                        <a:pt x="91" y="171"/>
                        <a:pt x="92" y="171"/>
                        <a:pt x="92" y="171"/>
                      </a:cubicBezTo>
                      <a:cubicBezTo>
                        <a:pt x="94" y="171"/>
                        <a:pt x="95" y="171"/>
                        <a:pt x="96" y="170"/>
                      </a:cubicBezTo>
                      <a:cubicBezTo>
                        <a:pt x="96" y="170"/>
                        <a:pt x="97" y="170"/>
                        <a:pt x="98" y="170"/>
                      </a:cubicBezTo>
                      <a:cubicBezTo>
                        <a:pt x="99" y="169"/>
                        <a:pt x="100" y="169"/>
                        <a:pt x="101" y="169"/>
                      </a:cubicBezTo>
                      <a:cubicBezTo>
                        <a:pt x="103" y="168"/>
                        <a:pt x="105" y="167"/>
                        <a:pt x="107" y="166"/>
                      </a:cubicBezTo>
                      <a:cubicBezTo>
                        <a:pt x="107" y="166"/>
                        <a:pt x="108" y="166"/>
                        <a:pt x="108" y="166"/>
                      </a:cubicBezTo>
                      <a:cubicBezTo>
                        <a:pt x="109" y="165"/>
                        <a:pt x="110" y="164"/>
                        <a:pt x="111" y="164"/>
                      </a:cubicBezTo>
                      <a:cubicBezTo>
                        <a:pt x="111" y="164"/>
                        <a:pt x="112" y="163"/>
                        <a:pt x="112" y="163"/>
                      </a:cubicBezTo>
                      <a:cubicBezTo>
                        <a:pt x="113" y="162"/>
                        <a:pt x="114" y="162"/>
                        <a:pt x="115" y="161"/>
                      </a:cubicBezTo>
                      <a:cubicBezTo>
                        <a:pt x="115" y="161"/>
                        <a:pt x="116" y="161"/>
                        <a:pt x="116" y="160"/>
                      </a:cubicBezTo>
                      <a:cubicBezTo>
                        <a:pt x="122" y="163"/>
                        <a:pt x="128" y="168"/>
                        <a:pt x="133" y="174"/>
                      </a:cubicBezTo>
                      <a:cubicBezTo>
                        <a:pt x="131" y="179"/>
                        <a:pt x="129" y="184"/>
                        <a:pt x="129" y="189"/>
                      </a:cubicBezTo>
                      <a:close/>
                      <a:moveTo>
                        <a:pt x="318" y="288"/>
                      </a:moveTo>
                      <a:cubicBezTo>
                        <a:pt x="318" y="292"/>
                        <a:pt x="316" y="294"/>
                        <a:pt x="314" y="294"/>
                      </a:cubicBezTo>
                      <a:cubicBezTo>
                        <a:pt x="298" y="294"/>
                        <a:pt x="298" y="294"/>
                        <a:pt x="298" y="294"/>
                      </a:cubicBezTo>
                      <a:cubicBezTo>
                        <a:pt x="298" y="196"/>
                        <a:pt x="298" y="196"/>
                        <a:pt x="298" y="196"/>
                      </a:cubicBezTo>
                      <a:cubicBezTo>
                        <a:pt x="298" y="191"/>
                        <a:pt x="294" y="188"/>
                        <a:pt x="290" y="188"/>
                      </a:cubicBezTo>
                      <a:cubicBezTo>
                        <a:pt x="285" y="188"/>
                        <a:pt x="282" y="191"/>
                        <a:pt x="282" y="196"/>
                      </a:cubicBezTo>
                      <a:cubicBezTo>
                        <a:pt x="282" y="294"/>
                        <a:pt x="282" y="294"/>
                        <a:pt x="282" y="294"/>
                      </a:cubicBezTo>
                      <a:cubicBezTo>
                        <a:pt x="180" y="294"/>
                        <a:pt x="180" y="294"/>
                        <a:pt x="180" y="294"/>
                      </a:cubicBezTo>
                      <a:cubicBezTo>
                        <a:pt x="180" y="196"/>
                        <a:pt x="180" y="196"/>
                        <a:pt x="180" y="196"/>
                      </a:cubicBezTo>
                      <a:cubicBezTo>
                        <a:pt x="180" y="191"/>
                        <a:pt x="177" y="188"/>
                        <a:pt x="172" y="188"/>
                      </a:cubicBezTo>
                      <a:cubicBezTo>
                        <a:pt x="168" y="188"/>
                        <a:pt x="164" y="191"/>
                        <a:pt x="164" y="196"/>
                      </a:cubicBezTo>
                      <a:cubicBezTo>
                        <a:pt x="164" y="294"/>
                        <a:pt x="164" y="294"/>
                        <a:pt x="164" y="294"/>
                      </a:cubicBezTo>
                      <a:cubicBezTo>
                        <a:pt x="148" y="294"/>
                        <a:pt x="148" y="294"/>
                        <a:pt x="148" y="294"/>
                      </a:cubicBezTo>
                      <a:cubicBezTo>
                        <a:pt x="147" y="294"/>
                        <a:pt x="144" y="292"/>
                        <a:pt x="144" y="288"/>
                      </a:cubicBezTo>
                      <a:cubicBezTo>
                        <a:pt x="144" y="276"/>
                        <a:pt x="144" y="276"/>
                        <a:pt x="144" y="276"/>
                      </a:cubicBezTo>
                      <a:cubicBezTo>
                        <a:pt x="144" y="276"/>
                        <a:pt x="144" y="276"/>
                        <a:pt x="144" y="276"/>
                      </a:cubicBezTo>
                      <a:cubicBezTo>
                        <a:pt x="144" y="196"/>
                        <a:pt x="144" y="196"/>
                        <a:pt x="144" y="196"/>
                      </a:cubicBezTo>
                      <a:cubicBezTo>
                        <a:pt x="144" y="196"/>
                        <a:pt x="144" y="196"/>
                        <a:pt x="144" y="196"/>
                      </a:cubicBezTo>
                      <a:cubicBezTo>
                        <a:pt x="144" y="195"/>
                        <a:pt x="144" y="193"/>
                        <a:pt x="144" y="192"/>
                      </a:cubicBezTo>
                      <a:cubicBezTo>
                        <a:pt x="144" y="192"/>
                        <a:pt x="144" y="191"/>
                        <a:pt x="145" y="191"/>
                      </a:cubicBezTo>
                      <a:cubicBezTo>
                        <a:pt x="145" y="190"/>
                        <a:pt x="145" y="188"/>
                        <a:pt x="145" y="187"/>
                      </a:cubicBezTo>
                      <a:cubicBezTo>
                        <a:pt x="145" y="187"/>
                        <a:pt x="145" y="187"/>
                        <a:pt x="146" y="186"/>
                      </a:cubicBezTo>
                      <a:cubicBezTo>
                        <a:pt x="146" y="185"/>
                        <a:pt x="146" y="184"/>
                        <a:pt x="147" y="182"/>
                      </a:cubicBezTo>
                      <a:cubicBezTo>
                        <a:pt x="147" y="182"/>
                        <a:pt x="147" y="182"/>
                        <a:pt x="147" y="181"/>
                      </a:cubicBezTo>
                      <a:cubicBezTo>
                        <a:pt x="148" y="180"/>
                        <a:pt x="148" y="178"/>
                        <a:pt x="149" y="177"/>
                      </a:cubicBezTo>
                      <a:cubicBezTo>
                        <a:pt x="149" y="177"/>
                        <a:pt x="149" y="177"/>
                        <a:pt x="149" y="177"/>
                      </a:cubicBezTo>
                      <a:cubicBezTo>
                        <a:pt x="151" y="172"/>
                        <a:pt x="154" y="167"/>
                        <a:pt x="157" y="163"/>
                      </a:cubicBezTo>
                      <a:cubicBezTo>
                        <a:pt x="164" y="154"/>
                        <a:pt x="173" y="147"/>
                        <a:pt x="182" y="144"/>
                      </a:cubicBezTo>
                      <a:cubicBezTo>
                        <a:pt x="195" y="154"/>
                        <a:pt x="212" y="160"/>
                        <a:pt x="231" y="160"/>
                      </a:cubicBezTo>
                      <a:cubicBezTo>
                        <a:pt x="250" y="160"/>
                        <a:pt x="267" y="154"/>
                        <a:pt x="280" y="143"/>
                      </a:cubicBezTo>
                      <a:cubicBezTo>
                        <a:pt x="289" y="147"/>
                        <a:pt x="298" y="154"/>
                        <a:pt x="305" y="163"/>
                      </a:cubicBezTo>
                      <a:cubicBezTo>
                        <a:pt x="308" y="167"/>
                        <a:pt x="311" y="172"/>
                        <a:pt x="313" y="176"/>
                      </a:cubicBezTo>
                      <a:cubicBezTo>
                        <a:pt x="314" y="178"/>
                        <a:pt x="314" y="179"/>
                        <a:pt x="315" y="181"/>
                      </a:cubicBezTo>
                      <a:cubicBezTo>
                        <a:pt x="315" y="181"/>
                        <a:pt x="315" y="182"/>
                        <a:pt x="316" y="182"/>
                      </a:cubicBezTo>
                      <a:cubicBezTo>
                        <a:pt x="316" y="183"/>
                        <a:pt x="316" y="184"/>
                        <a:pt x="317" y="186"/>
                      </a:cubicBezTo>
                      <a:cubicBezTo>
                        <a:pt x="317" y="186"/>
                        <a:pt x="317" y="187"/>
                        <a:pt x="317" y="187"/>
                      </a:cubicBezTo>
                      <a:cubicBezTo>
                        <a:pt x="317" y="188"/>
                        <a:pt x="318" y="190"/>
                        <a:pt x="318" y="191"/>
                      </a:cubicBezTo>
                      <a:cubicBezTo>
                        <a:pt x="318" y="191"/>
                        <a:pt x="318" y="191"/>
                        <a:pt x="318" y="192"/>
                      </a:cubicBezTo>
                      <a:cubicBezTo>
                        <a:pt x="318" y="193"/>
                        <a:pt x="318" y="195"/>
                        <a:pt x="318" y="196"/>
                      </a:cubicBezTo>
                      <a:cubicBezTo>
                        <a:pt x="318" y="276"/>
                        <a:pt x="318" y="276"/>
                        <a:pt x="318" y="276"/>
                      </a:cubicBezTo>
                      <a:cubicBezTo>
                        <a:pt x="318" y="276"/>
                        <a:pt x="318" y="276"/>
                        <a:pt x="318" y="276"/>
                      </a:cubicBezTo>
                      <a:lnTo>
                        <a:pt x="318" y="288"/>
                      </a:lnTo>
                      <a:close/>
                      <a:moveTo>
                        <a:pt x="382" y="65"/>
                      </a:moveTo>
                      <a:cubicBezTo>
                        <a:pt x="389" y="65"/>
                        <a:pt x="396" y="67"/>
                        <a:pt x="402" y="70"/>
                      </a:cubicBezTo>
                      <a:cubicBezTo>
                        <a:pt x="412" y="74"/>
                        <a:pt x="419" y="82"/>
                        <a:pt x="424" y="92"/>
                      </a:cubicBezTo>
                      <a:cubicBezTo>
                        <a:pt x="427" y="97"/>
                        <a:pt x="428" y="104"/>
                        <a:pt x="428" y="111"/>
                      </a:cubicBezTo>
                      <a:cubicBezTo>
                        <a:pt x="428" y="125"/>
                        <a:pt x="422" y="137"/>
                        <a:pt x="412" y="146"/>
                      </a:cubicBezTo>
                      <a:cubicBezTo>
                        <a:pt x="411" y="146"/>
                        <a:pt x="411" y="147"/>
                        <a:pt x="410" y="147"/>
                      </a:cubicBezTo>
                      <a:cubicBezTo>
                        <a:pt x="410" y="148"/>
                        <a:pt x="409" y="148"/>
                        <a:pt x="409" y="148"/>
                      </a:cubicBezTo>
                      <a:cubicBezTo>
                        <a:pt x="408" y="149"/>
                        <a:pt x="407" y="149"/>
                        <a:pt x="407" y="150"/>
                      </a:cubicBezTo>
                      <a:cubicBezTo>
                        <a:pt x="406" y="150"/>
                        <a:pt x="406" y="150"/>
                        <a:pt x="405" y="151"/>
                      </a:cubicBezTo>
                      <a:cubicBezTo>
                        <a:pt x="405" y="151"/>
                        <a:pt x="404" y="151"/>
                        <a:pt x="403" y="152"/>
                      </a:cubicBezTo>
                      <a:cubicBezTo>
                        <a:pt x="403" y="152"/>
                        <a:pt x="402" y="152"/>
                        <a:pt x="401" y="153"/>
                      </a:cubicBezTo>
                      <a:cubicBezTo>
                        <a:pt x="401" y="153"/>
                        <a:pt x="400" y="153"/>
                        <a:pt x="399" y="153"/>
                      </a:cubicBezTo>
                      <a:cubicBezTo>
                        <a:pt x="399" y="154"/>
                        <a:pt x="398" y="154"/>
                        <a:pt x="397" y="154"/>
                      </a:cubicBezTo>
                      <a:cubicBezTo>
                        <a:pt x="397" y="154"/>
                        <a:pt x="396" y="155"/>
                        <a:pt x="396" y="155"/>
                      </a:cubicBezTo>
                      <a:cubicBezTo>
                        <a:pt x="395" y="155"/>
                        <a:pt x="394" y="155"/>
                        <a:pt x="393" y="156"/>
                      </a:cubicBezTo>
                      <a:cubicBezTo>
                        <a:pt x="392" y="156"/>
                        <a:pt x="392" y="156"/>
                        <a:pt x="391" y="156"/>
                      </a:cubicBezTo>
                      <a:cubicBezTo>
                        <a:pt x="390" y="156"/>
                        <a:pt x="389" y="156"/>
                        <a:pt x="388" y="156"/>
                      </a:cubicBezTo>
                      <a:cubicBezTo>
                        <a:pt x="388" y="156"/>
                        <a:pt x="387" y="156"/>
                        <a:pt x="387" y="156"/>
                      </a:cubicBezTo>
                      <a:cubicBezTo>
                        <a:pt x="385" y="157"/>
                        <a:pt x="384" y="157"/>
                        <a:pt x="382" y="157"/>
                      </a:cubicBezTo>
                      <a:cubicBezTo>
                        <a:pt x="382" y="157"/>
                        <a:pt x="382" y="157"/>
                        <a:pt x="382" y="157"/>
                      </a:cubicBezTo>
                      <a:cubicBezTo>
                        <a:pt x="381" y="157"/>
                        <a:pt x="379" y="157"/>
                        <a:pt x="378" y="156"/>
                      </a:cubicBezTo>
                      <a:cubicBezTo>
                        <a:pt x="378" y="156"/>
                        <a:pt x="377" y="156"/>
                        <a:pt x="377" y="156"/>
                      </a:cubicBezTo>
                      <a:cubicBezTo>
                        <a:pt x="376" y="156"/>
                        <a:pt x="375" y="156"/>
                        <a:pt x="374" y="156"/>
                      </a:cubicBezTo>
                      <a:cubicBezTo>
                        <a:pt x="373" y="156"/>
                        <a:pt x="373" y="156"/>
                        <a:pt x="372" y="155"/>
                      </a:cubicBezTo>
                      <a:cubicBezTo>
                        <a:pt x="371" y="155"/>
                        <a:pt x="370" y="155"/>
                        <a:pt x="369" y="155"/>
                      </a:cubicBezTo>
                      <a:cubicBezTo>
                        <a:pt x="369" y="155"/>
                        <a:pt x="368" y="154"/>
                        <a:pt x="368" y="154"/>
                      </a:cubicBezTo>
                      <a:cubicBezTo>
                        <a:pt x="367" y="154"/>
                        <a:pt x="366" y="154"/>
                        <a:pt x="365" y="153"/>
                      </a:cubicBezTo>
                      <a:cubicBezTo>
                        <a:pt x="365" y="153"/>
                        <a:pt x="364" y="153"/>
                        <a:pt x="363" y="153"/>
                      </a:cubicBezTo>
                      <a:cubicBezTo>
                        <a:pt x="363" y="152"/>
                        <a:pt x="362" y="152"/>
                        <a:pt x="362" y="152"/>
                      </a:cubicBezTo>
                      <a:cubicBezTo>
                        <a:pt x="361" y="151"/>
                        <a:pt x="360" y="151"/>
                        <a:pt x="360" y="151"/>
                      </a:cubicBezTo>
                      <a:cubicBezTo>
                        <a:pt x="359" y="150"/>
                        <a:pt x="359" y="150"/>
                        <a:pt x="358" y="150"/>
                      </a:cubicBezTo>
                      <a:cubicBezTo>
                        <a:pt x="357" y="149"/>
                        <a:pt x="357" y="149"/>
                        <a:pt x="356" y="148"/>
                      </a:cubicBezTo>
                      <a:cubicBezTo>
                        <a:pt x="356" y="148"/>
                        <a:pt x="355" y="148"/>
                        <a:pt x="355" y="148"/>
                      </a:cubicBezTo>
                      <a:cubicBezTo>
                        <a:pt x="354" y="147"/>
                        <a:pt x="353" y="146"/>
                        <a:pt x="353" y="146"/>
                      </a:cubicBezTo>
                      <a:cubicBezTo>
                        <a:pt x="343" y="137"/>
                        <a:pt x="337" y="125"/>
                        <a:pt x="337" y="111"/>
                      </a:cubicBezTo>
                      <a:cubicBezTo>
                        <a:pt x="337" y="86"/>
                        <a:pt x="357" y="65"/>
                        <a:pt x="382" y="65"/>
                      </a:cubicBezTo>
                      <a:close/>
                      <a:moveTo>
                        <a:pt x="445" y="266"/>
                      </a:moveTo>
                      <a:cubicBezTo>
                        <a:pt x="445" y="267"/>
                        <a:pt x="445" y="268"/>
                        <a:pt x="445" y="268"/>
                      </a:cubicBezTo>
                      <a:cubicBezTo>
                        <a:pt x="444" y="268"/>
                        <a:pt x="444" y="268"/>
                        <a:pt x="444" y="268"/>
                      </a:cubicBezTo>
                      <a:cubicBezTo>
                        <a:pt x="434" y="268"/>
                        <a:pt x="434" y="268"/>
                        <a:pt x="434" y="268"/>
                      </a:cubicBezTo>
                      <a:cubicBezTo>
                        <a:pt x="434" y="206"/>
                        <a:pt x="434" y="206"/>
                        <a:pt x="434" y="206"/>
                      </a:cubicBezTo>
                      <a:cubicBezTo>
                        <a:pt x="434" y="202"/>
                        <a:pt x="431" y="198"/>
                        <a:pt x="426" y="198"/>
                      </a:cubicBezTo>
                      <a:cubicBezTo>
                        <a:pt x="422" y="198"/>
                        <a:pt x="418" y="202"/>
                        <a:pt x="418" y="206"/>
                      </a:cubicBezTo>
                      <a:cubicBezTo>
                        <a:pt x="418" y="268"/>
                        <a:pt x="418" y="268"/>
                        <a:pt x="418" y="268"/>
                      </a:cubicBezTo>
                      <a:cubicBezTo>
                        <a:pt x="334" y="268"/>
                        <a:pt x="334" y="268"/>
                        <a:pt x="334" y="268"/>
                      </a:cubicBezTo>
                      <a:cubicBezTo>
                        <a:pt x="334" y="264"/>
                        <a:pt x="334" y="264"/>
                        <a:pt x="334" y="264"/>
                      </a:cubicBezTo>
                      <a:cubicBezTo>
                        <a:pt x="334" y="196"/>
                        <a:pt x="334" y="196"/>
                        <a:pt x="334" y="196"/>
                      </a:cubicBezTo>
                      <a:cubicBezTo>
                        <a:pt x="334" y="196"/>
                        <a:pt x="334" y="196"/>
                        <a:pt x="334" y="196"/>
                      </a:cubicBezTo>
                      <a:cubicBezTo>
                        <a:pt x="334" y="194"/>
                        <a:pt x="334" y="193"/>
                        <a:pt x="334" y="191"/>
                      </a:cubicBezTo>
                      <a:cubicBezTo>
                        <a:pt x="334" y="190"/>
                        <a:pt x="334" y="189"/>
                        <a:pt x="333" y="188"/>
                      </a:cubicBezTo>
                      <a:cubicBezTo>
                        <a:pt x="333" y="187"/>
                        <a:pt x="333" y="186"/>
                        <a:pt x="333" y="185"/>
                      </a:cubicBezTo>
                      <a:cubicBezTo>
                        <a:pt x="333" y="184"/>
                        <a:pt x="333" y="183"/>
                        <a:pt x="332" y="183"/>
                      </a:cubicBezTo>
                      <a:cubicBezTo>
                        <a:pt x="332" y="182"/>
                        <a:pt x="332" y="180"/>
                        <a:pt x="331" y="179"/>
                      </a:cubicBezTo>
                      <a:cubicBezTo>
                        <a:pt x="331" y="179"/>
                        <a:pt x="331" y="178"/>
                        <a:pt x="331" y="178"/>
                      </a:cubicBezTo>
                      <a:cubicBezTo>
                        <a:pt x="330" y="176"/>
                        <a:pt x="330" y="175"/>
                        <a:pt x="329" y="174"/>
                      </a:cubicBezTo>
                      <a:cubicBezTo>
                        <a:pt x="329" y="174"/>
                        <a:pt x="329" y="173"/>
                        <a:pt x="329" y="173"/>
                      </a:cubicBezTo>
                      <a:cubicBezTo>
                        <a:pt x="334" y="168"/>
                        <a:pt x="340" y="163"/>
                        <a:pt x="346" y="160"/>
                      </a:cubicBezTo>
                      <a:cubicBezTo>
                        <a:pt x="346" y="161"/>
                        <a:pt x="346" y="161"/>
                        <a:pt x="346" y="161"/>
                      </a:cubicBezTo>
                      <a:cubicBezTo>
                        <a:pt x="347" y="162"/>
                        <a:pt x="348" y="162"/>
                        <a:pt x="349" y="163"/>
                      </a:cubicBezTo>
                      <a:cubicBezTo>
                        <a:pt x="350" y="163"/>
                        <a:pt x="350" y="164"/>
                        <a:pt x="351" y="164"/>
                      </a:cubicBezTo>
                      <a:cubicBezTo>
                        <a:pt x="352" y="164"/>
                        <a:pt x="353" y="165"/>
                        <a:pt x="354" y="166"/>
                      </a:cubicBezTo>
                      <a:cubicBezTo>
                        <a:pt x="354" y="166"/>
                        <a:pt x="355" y="166"/>
                        <a:pt x="355" y="166"/>
                      </a:cubicBezTo>
                      <a:cubicBezTo>
                        <a:pt x="357" y="167"/>
                        <a:pt x="359" y="168"/>
                        <a:pt x="360" y="169"/>
                      </a:cubicBezTo>
                      <a:cubicBezTo>
                        <a:pt x="361" y="169"/>
                        <a:pt x="362" y="169"/>
                        <a:pt x="363" y="170"/>
                      </a:cubicBezTo>
                      <a:cubicBezTo>
                        <a:pt x="364" y="170"/>
                        <a:pt x="365" y="170"/>
                        <a:pt x="366" y="170"/>
                      </a:cubicBezTo>
                      <a:cubicBezTo>
                        <a:pt x="367" y="171"/>
                        <a:pt x="368" y="171"/>
                        <a:pt x="369" y="171"/>
                      </a:cubicBezTo>
                      <a:cubicBezTo>
                        <a:pt x="370" y="171"/>
                        <a:pt x="370" y="171"/>
                        <a:pt x="371" y="172"/>
                      </a:cubicBezTo>
                      <a:cubicBezTo>
                        <a:pt x="372" y="172"/>
                        <a:pt x="374" y="172"/>
                        <a:pt x="375" y="172"/>
                      </a:cubicBezTo>
                      <a:cubicBezTo>
                        <a:pt x="375" y="172"/>
                        <a:pt x="376" y="172"/>
                        <a:pt x="377" y="172"/>
                      </a:cubicBezTo>
                      <a:cubicBezTo>
                        <a:pt x="379" y="173"/>
                        <a:pt x="380" y="173"/>
                        <a:pt x="382" y="173"/>
                      </a:cubicBezTo>
                      <a:cubicBezTo>
                        <a:pt x="382" y="173"/>
                        <a:pt x="382" y="173"/>
                        <a:pt x="382" y="173"/>
                      </a:cubicBezTo>
                      <a:cubicBezTo>
                        <a:pt x="384" y="173"/>
                        <a:pt x="386" y="173"/>
                        <a:pt x="388" y="172"/>
                      </a:cubicBezTo>
                      <a:cubicBezTo>
                        <a:pt x="389" y="172"/>
                        <a:pt x="389" y="172"/>
                        <a:pt x="390" y="172"/>
                      </a:cubicBezTo>
                      <a:cubicBezTo>
                        <a:pt x="391" y="172"/>
                        <a:pt x="393" y="172"/>
                        <a:pt x="394" y="172"/>
                      </a:cubicBezTo>
                      <a:cubicBezTo>
                        <a:pt x="395" y="171"/>
                        <a:pt x="395" y="171"/>
                        <a:pt x="396" y="171"/>
                      </a:cubicBezTo>
                      <a:cubicBezTo>
                        <a:pt x="397" y="171"/>
                        <a:pt x="398" y="171"/>
                        <a:pt x="399" y="170"/>
                      </a:cubicBezTo>
                      <a:cubicBezTo>
                        <a:pt x="400" y="170"/>
                        <a:pt x="401" y="170"/>
                        <a:pt x="402" y="170"/>
                      </a:cubicBezTo>
                      <a:cubicBezTo>
                        <a:pt x="402" y="169"/>
                        <a:pt x="403" y="169"/>
                        <a:pt x="404" y="169"/>
                      </a:cubicBezTo>
                      <a:cubicBezTo>
                        <a:pt x="408" y="167"/>
                        <a:pt x="411" y="166"/>
                        <a:pt x="414" y="164"/>
                      </a:cubicBezTo>
                      <a:cubicBezTo>
                        <a:pt x="415" y="163"/>
                        <a:pt x="415" y="163"/>
                        <a:pt x="416" y="163"/>
                      </a:cubicBezTo>
                      <a:cubicBezTo>
                        <a:pt x="417" y="162"/>
                        <a:pt x="418" y="162"/>
                        <a:pt x="419" y="161"/>
                      </a:cubicBezTo>
                      <a:cubicBezTo>
                        <a:pt x="419" y="161"/>
                        <a:pt x="419" y="161"/>
                        <a:pt x="419" y="160"/>
                      </a:cubicBezTo>
                      <a:cubicBezTo>
                        <a:pt x="425" y="163"/>
                        <a:pt x="431" y="168"/>
                        <a:pt x="436" y="174"/>
                      </a:cubicBezTo>
                      <a:cubicBezTo>
                        <a:pt x="442" y="182"/>
                        <a:pt x="445" y="191"/>
                        <a:pt x="445" y="198"/>
                      </a:cubicBezTo>
                      <a:lnTo>
                        <a:pt x="445" y="266"/>
                      </a:lnTo>
                      <a:close/>
                    </a:path>
                  </a:pathLst>
                </a:custGeom>
                <a:grpFill/>
                <a:ln>
                  <a:noFill/>
                </a:ln>
              </p:spPr>
              <p:txBody>
                <a:bodyPr/>
                <a:lstStyle/>
                <a:p>
                  <a:endParaRPr lang="sv-SE" dirty="0">
                    <a:solidFill>
                      <a:srgbClr val="58585A"/>
                    </a:solidFill>
                  </a:endParaRPr>
                </a:p>
              </p:txBody>
            </p:sp>
            <p:sp>
              <p:nvSpPr>
                <p:cNvPr id="104" name="Freeform 3">
                  <a:extLst>
                    <a:ext uri="{FF2B5EF4-FFF2-40B4-BE49-F238E27FC236}">
                      <a16:creationId xmlns:a16="http://schemas.microsoft.com/office/drawing/2014/main" id="{FB78DD7A-4976-4DEC-B9F2-D6C09CD7612E}"/>
                    </a:ext>
                  </a:extLst>
                </p:cNvPr>
                <p:cNvSpPr>
                  <a:spLocks noChangeAspect="1" noEditPoints="1"/>
                </p:cNvSpPr>
                <p:nvPr/>
              </p:nvSpPr>
              <p:spPr bwMode="auto">
                <a:xfrm>
                  <a:off x="8421689" y="5324226"/>
                  <a:ext cx="541274" cy="385761"/>
                </a:xfrm>
                <a:custGeom>
                  <a:avLst/>
                  <a:gdLst>
                    <a:gd name="T0" fmla="*/ 2147483647 w 417"/>
                    <a:gd name="T1" fmla="*/ 2147483647 h 297"/>
                    <a:gd name="T2" fmla="*/ 2147483647 w 417"/>
                    <a:gd name="T3" fmla="*/ 2147483647 h 297"/>
                    <a:gd name="T4" fmla="*/ 2147483647 w 417"/>
                    <a:gd name="T5" fmla="*/ 2147483647 h 297"/>
                    <a:gd name="T6" fmla="*/ 2147483647 w 417"/>
                    <a:gd name="T7" fmla="*/ 2147483647 h 297"/>
                    <a:gd name="T8" fmla="*/ 2147483647 w 417"/>
                    <a:gd name="T9" fmla="*/ 2147483647 h 297"/>
                    <a:gd name="T10" fmla="*/ 2147483647 w 417"/>
                    <a:gd name="T11" fmla="*/ 2147483647 h 297"/>
                    <a:gd name="T12" fmla="*/ 2147483647 w 417"/>
                    <a:gd name="T13" fmla="*/ 2147483647 h 297"/>
                    <a:gd name="T14" fmla="*/ 2147483647 w 417"/>
                    <a:gd name="T15" fmla="*/ 2147483647 h 297"/>
                    <a:gd name="T16" fmla="*/ 2147483647 w 417"/>
                    <a:gd name="T17" fmla="*/ 2147483647 h 297"/>
                    <a:gd name="T18" fmla="*/ 2147483647 w 417"/>
                    <a:gd name="T19" fmla="*/ 2147483647 h 297"/>
                    <a:gd name="T20" fmla="*/ 2147483647 w 417"/>
                    <a:gd name="T21" fmla="*/ 2147483647 h 297"/>
                    <a:gd name="T22" fmla="*/ 2147483647 w 417"/>
                    <a:gd name="T23" fmla="*/ 2147483647 h 297"/>
                    <a:gd name="T24" fmla="*/ 2147483647 w 417"/>
                    <a:gd name="T25" fmla="*/ 2147483647 h 297"/>
                    <a:gd name="T26" fmla="*/ 2147483647 w 417"/>
                    <a:gd name="T27" fmla="*/ 2147483647 h 297"/>
                    <a:gd name="T28" fmla="*/ 2147483647 w 417"/>
                    <a:gd name="T29" fmla="*/ 2147483647 h 297"/>
                    <a:gd name="T30" fmla="*/ 2147483647 w 417"/>
                    <a:gd name="T31" fmla="*/ 2147483647 h 297"/>
                    <a:gd name="T32" fmla="*/ 2147483647 w 417"/>
                    <a:gd name="T33" fmla="*/ 0 h 297"/>
                    <a:gd name="T34" fmla="*/ 0 w 417"/>
                    <a:gd name="T35" fmla="*/ 2147483647 h 297"/>
                    <a:gd name="T36" fmla="*/ 2147483647 w 417"/>
                    <a:gd name="T37" fmla="*/ 2147483647 h 297"/>
                    <a:gd name="T38" fmla="*/ 2147483647 w 417"/>
                    <a:gd name="T39" fmla="*/ 2147483647 h 297"/>
                    <a:gd name="T40" fmla="*/ 2147483647 w 417"/>
                    <a:gd name="T41" fmla="*/ 2147483647 h 297"/>
                    <a:gd name="T42" fmla="*/ 2147483647 w 417"/>
                    <a:gd name="T43" fmla="*/ 2147483647 h 297"/>
                    <a:gd name="T44" fmla="*/ 2147483647 w 417"/>
                    <a:gd name="T45" fmla="*/ 2147483647 h 297"/>
                    <a:gd name="T46" fmla="*/ 2147483647 w 417"/>
                    <a:gd name="T47" fmla="*/ 2147483647 h 297"/>
                    <a:gd name="T48" fmla="*/ 2147483647 w 417"/>
                    <a:gd name="T49" fmla="*/ 2147483647 h 297"/>
                    <a:gd name="T50" fmla="*/ 2147483647 w 417"/>
                    <a:gd name="T51" fmla="*/ 2147483647 h 297"/>
                    <a:gd name="T52" fmla="*/ 2147483647 w 417"/>
                    <a:gd name="T53" fmla="*/ 2147483647 h 297"/>
                    <a:gd name="T54" fmla="*/ 2147483647 w 417"/>
                    <a:gd name="T55" fmla="*/ 2147483647 h 297"/>
                    <a:gd name="T56" fmla="*/ 2147483647 w 417"/>
                    <a:gd name="T57" fmla="*/ 2147483647 h 297"/>
                    <a:gd name="T58" fmla="*/ 2147483647 w 417"/>
                    <a:gd name="T59" fmla="*/ 2147483647 h 297"/>
                    <a:gd name="T60" fmla="*/ 2147483647 w 417"/>
                    <a:gd name="T61" fmla="*/ 2147483647 h 297"/>
                    <a:gd name="T62" fmla="*/ 2147483647 w 417"/>
                    <a:gd name="T63" fmla="*/ 2147483647 h 297"/>
                    <a:gd name="T64" fmla="*/ 2147483647 w 417"/>
                    <a:gd name="T65" fmla="*/ 2147483647 h 297"/>
                    <a:gd name="T66" fmla="*/ 2147483647 w 417"/>
                    <a:gd name="T67" fmla="*/ 2147483647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17" h="297">
                      <a:moveTo>
                        <a:pt x="409" y="63"/>
                      </a:moveTo>
                      <a:cubicBezTo>
                        <a:pt x="404" y="63"/>
                        <a:pt x="401" y="67"/>
                        <a:pt x="401" y="71"/>
                      </a:cubicBezTo>
                      <a:cubicBezTo>
                        <a:pt x="401" y="71"/>
                        <a:pt x="401" y="71"/>
                        <a:pt x="401" y="71"/>
                      </a:cubicBezTo>
                      <a:cubicBezTo>
                        <a:pt x="401" y="138"/>
                        <a:pt x="401" y="138"/>
                        <a:pt x="401" y="138"/>
                      </a:cubicBezTo>
                      <a:cubicBezTo>
                        <a:pt x="344" y="138"/>
                        <a:pt x="344" y="138"/>
                        <a:pt x="344" y="138"/>
                      </a:cubicBezTo>
                      <a:cubicBezTo>
                        <a:pt x="323" y="64"/>
                        <a:pt x="323" y="64"/>
                        <a:pt x="323" y="64"/>
                      </a:cubicBezTo>
                      <a:cubicBezTo>
                        <a:pt x="322" y="61"/>
                        <a:pt x="318" y="58"/>
                        <a:pt x="315" y="58"/>
                      </a:cubicBezTo>
                      <a:cubicBezTo>
                        <a:pt x="315" y="58"/>
                        <a:pt x="315" y="58"/>
                        <a:pt x="315" y="58"/>
                      </a:cubicBezTo>
                      <a:cubicBezTo>
                        <a:pt x="311" y="58"/>
                        <a:pt x="308" y="61"/>
                        <a:pt x="307" y="64"/>
                      </a:cubicBezTo>
                      <a:cubicBezTo>
                        <a:pt x="272" y="193"/>
                        <a:pt x="272" y="193"/>
                        <a:pt x="272" y="193"/>
                      </a:cubicBezTo>
                      <a:cubicBezTo>
                        <a:pt x="252" y="111"/>
                        <a:pt x="252" y="111"/>
                        <a:pt x="252" y="111"/>
                      </a:cubicBezTo>
                      <a:cubicBezTo>
                        <a:pt x="251" y="108"/>
                        <a:pt x="248" y="105"/>
                        <a:pt x="245" y="105"/>
                      </a:cubicBezTo>
                      <a:cubicBezTo>
                        <a:pt x="242" y="105"/>
                        <a:pt x="238" y="107"/>
                        <a:pt x="237" y="110"/>
                      </a:cubicBezTo>
                      <a:cubicBezTo>
                        <a:pt x="225" y="138"/>
                        <a:pt x="225" y="138"/>
                        <a:pt x="225" y="138"/>
                      </a:cubicBezTo>
                      <a:cubicBezTo>
                        <a:pt x="194" y="138"/>
                        <a:pt x="194" y="138"/>
                        <a:pt x="194" y="138"/>
                      </a:cubicBezTo>
                      <a:cubicBezTo>
                        <a:pt x="173" y="64"/>
                        <a:pt x="173" y="64"/>
                        <a:pt x="173" y="64"/>
                      </a:cubicBezTo>
                      <a:cubicBezTo>
                        <a:pt x="172" y="60"/>
                        <a:pt x="169" y="58"/>
                        <a:pt x="165" y="58"/>
                      </a:cubicBezTo>
                      <a:cubicBezTo>
                        <a:pt x="165" y="58"/>
                        <a:pt x="165" y="58"/>
                        <a:pt x="165" y="58"/>
                      </a:cubicBezTo>
                      <a:cubicBezTo>
                        <a:pt x="161" y="58"/>
                        <a:pt x="158" y="61"/>
                        <a:pt x="157" y="64"/>
                      </a:cubicBezTo>
                      <a:cubicBezTo>
                        <a:pt x="122" y="194"/>
                        <a:pt x="122" y="194"/>
                        <a:pt x="122" y="194"/>
                      </a:cubicBezTo>
                      <a:cubicBezTo>
                        <a:pt x="99" y="110"/>
                        <a:pt x="99" y="110"/>
                        <a:pt x="99" y="110"/>
                      </a:cubicBezTo>
                      <a:cubicBezTo>
                        <a:pt x="98" y="107"/>
                        <a:pt x="95" y="104"/>
                        <a:pt x="92" y="104"/>
                      </a:cubicBezTo>
                      <a:cubicBezTo>
                        <a:pt x="88" y="104"/>
                        <a:pt x="85" y="106"/>
                        <a:pt x="84" y="109"/>
                      </a:cubicBezTo>
                      <a:cubicBezTo>
                        <a:pt x="73" y="138"/>
                        <a:pt x="73" y="138"/>
                        <a:pt x="73" y="138"/>
                      </a:cubicBezTo>
                      <a:cubicBezTo>
                        <a:pt x="16" y="138"/>
                        <a:pt x="16" y="138"/>
                        <a:pt x="16" y="138"/>
                      </a:cubicBezTo>
                      <a:cubicBezTo>
                        <a:pt x="16" y="25"/>
                        <a:pt x="16" y="25"/>
                        <a:pt x="16" y="25"/>
                      </a:cubicBezTo>
                      <a:cubicBezTo>
                        <a:pt x="16" y="20"/>
                        <a:pt x="20" y="16"/>
                        <a:pt x="25" y="16"/>
                      </a:cubicBezTo>
                      <a:cubicBezTo>
                        <a:pt x="392" y="16"/>
                        <a:pt x="392" y="16"/>
                        <a:pt x="392" y="16"/>
                      </a:cubicBezTo>
                      <a:cubicBezTo>
                        <a:pt x="397" y="16"/>
                        <a:pt x="401" y="20"/>
                        <a:pt x="401" y="25"/>
                      </a:cubicBezTo>
                      <a:cubicBezTo>
                        <a:pt x="401" y="39"/>
                        <a:pt x="401" y="39"/>
                        <a:pt x="401" y="39"/>
                      </a:cubicBezTo>
                      <a:cubicBezTo>
                        <a:pt x="401" y="43"/>
                        <a:pt x="404" y="47"/>
                        <a:pt x="409" y="47"/>
                      </a:cubicBezTo>
                      <a:cubicBezTo>
                        <a:pt x="413" y="47"/>
                        <a:pt x="417" y="43"/>
                        <a:pt x="417" y="39"/>
                      </a:cubicBezTo>
                      <a:cubicBezTo>
                        <a:pt x="417" y="25"/>
                        <a:pt x="417" y="25"/>
                        <a:pt x="417" y="25"/>
                      </a:cubicBezTo>
                      <a:cubicBezTo>
                        <a:pt x="417" y="11"/>
                        <a:pt x="406" y="0"/>
                        <a:pt x="392" y="0"/>
                      </a:cubicBezTo>
                      <a:cubicBezTo>
                        <a:pt x="25" y="0"/>
                        <a:pt x="25" y="0"/>
                        <a:pt x="25" y="0"/>
                      </a:cubicBezTo>
                      <a:cubicBezTo>
                        <a:pt x="11" y="0"/>
                        <a:pt x="0" y="11"/>
                        <a:pt x="0" y="25"/>
                      </a:cubicBezTo>
                      <a:cubicBezTo>
                        <a:pt x="0" y="272"/>
                        <a:pt x="0" y="272"/>
                        <a:pt x="0" y="272"/>
                      </a:cubicBezTo>
                      <a:cubicBezTo>
                        <a:pt x="0" y="286"/>
                        <a:pt x="11" y="297"/>
                        <a:pt x="25" y="297"/>
                      </a:cubicBezTo>
                      <a:cubicBezTo>
                        <a:pt x="392" y="297"/>
                        <a:pt x="392" y="297"/>
                        <a:pt x="392" y="297"/>
                      </a:cubicBezTo>
                      <a:cubicBezTo>
                        <a:pt x="406" y="297"/>
                        <a:pt x="417" y="286"/>
                        <a:pt x="417" y="272"/>
                      </a:cubicBezTo>
                      <a:cubicBezTo>
                        <a:pt x="417" y="71"/>
                        <a:pt x="417" y="71"/>
                        <a:pt x="417" y="71"/>
                      </a:cubicBezTo>
                      <a:cubicBezTo>
                        <a:pt x="417" y="67"/>
                        <a:pt x="413" y="63"/>
                        <a:pt x="409" y="63"/>
                      </a:cubicBezTo>
                      <a:close/>
                      <a:moveTo>
                        <a:pt x="401" y="272"/>
                      </a:moveTo>
                      <a:cubicBezTo>
                        <a:pt x="401" y="277"/>
                        <a:pt x="397" y="281"/>
                        <a:pt x="392" y="281"/>
                      </a:cubicBezTo>
                      <a:cubicBezTo>
                        <a:pt x="25" y="281"/>
                        <a:pt x="25" y="281"/>
                        <a:pt x="25" y="281"/>
                      </a:cubicBezTo>
                      <a:cubicBezTo>
                        <a:pt x="20" y="281"/>
                        <a:pt x="16" y="277"/>
                        <a:pt x="16" y="272"/>
                      </a:cubicBezTo>
                      <a:cubicBezTo>
                        <a:pt x="16" y="154"/>
                        <a:pt x="16" y="154"/>
                        <a:pt x="16" y="154"/>
                      </a:cubicBezTo>
                      <a:cubicBezTo>
                        <a:pt x="78" y="154"/>
                        <a:pt x="78" y="154"/>
                        <a:pt x="78" y="154"/>
                      </a:cubicBezTo>
                      <a:cubicBezTo>
                        <a:pt x="81" y="154"/>
                        <a:pt x="84" y="152"/>
                        <a:pt x="85" y="149"/>
                      </a:cubicBezTo>
                      <a:cubicBezTo>
                        <a:pt x="90" y="138"/>
                        <a:pt x="90" y="138"/>
                        <a:pt x="90" y="138"/>
                      </a:cubicBezTo>
                      <a:cubicBezTo>
                        <a:pt x="115" y="227"/>
                        <a:pt x="115" y="227"/>
                        <a:pt x="115" y="227"/>
                      </a:cubicBezTo>
                      <a:cubicBezTo>
                        <a:pt x="116" y="230"/>
                        <a:pt x="119" y="232"/>
                        <a:pt x="122" y="232"/>
                      </a:cubicBezTo>
                      <a:cubicBezTo>
                        <a:pt x="122" y="232"/>
                        <a:pt x="122" y="232"/>
                        <a:pt x="122" y="232"/>
                      </a:cubicBezTo>
                      <a:cubicBezTo>
                        <a:pt x="126" y="232"/>
                        <a:pt x="129" y="230"/>
                        <a:pt x="130" y="227"/>
                      </a:cubicBezTo>
                      <a:cubicBezTo>
                        <a:pt x="165" y="96"/>
                        <a:pt x="165" y="96"/>
                        <a:pt x="165" y="96"/>
                      </a:cubicBezTo>
                      <a:cubicBezTo>
                        <a:pt x="180" y="148"/>
                        <a:pt x="180" y="148"/>
                        <a:pt x="180" y="148"/>
                      </a:cubicBezTo>
                      <a:cubicBezTo>
                        <a:pt x="181" y="151"/>
                        <a:pt x="185" y="154"/>
                        <a:pt x="188" y="154"/>
                      </a:cubicBezTo>
                      <a:cubicBezTo>
                        <a:pt x="230" y="154"/>
                        <a:pt x="230" y="154"/>
                        <a:pt x="230" y="154"/>
                      </a:cubicBezTo>
                      <a:cubicBezTo>
                        <a:pt x="233" y="154"/>
                        <a:pt x="236" y="152"/>
                        <a:pt x="237" y="149"/>
                      </a:cubicBezTo>
                      <a:cubicBezTo>
                        <a:pt x="242" y="138"/>
                        <a:pt x="242" y="138"/>
                        <a:pt x="242" y="138"/>
                      </a:cubicBezTo>
                      <a:cubicBezTo>
                        <a:pt x="264" y="226"/>
                        <a:pt x="264" y="226"/>
                        <a:pt x="264" y="226"/>
                      </a:cubicBezTo>
                      <a:cubicBezTo>
                        <a:pt x="265" y="230"/>
                        <a:pt x="268" y="232"/>
                        <a:pt x="272" y="232"/>
                      </a:cubicBezTo>
                      <a:cubicBezTo>
                        <a:pt x="272" y="232"/>
                        <a:pt x="272" y="232"/>
                        <a:pt x="272" y="232"/>
                      </a:cubicBezTo>
                      <a:cubicBezTo>
                        <a:pt x="275" y="232"/>
                        <a:pt x="278" y="230"/>
                        <a:pt x="279" y="227"/>
                      </a:cubicBezTo>
                      <a:cubicBezTo>
                        <a:pt x="315" y="96"/>
                        <a:pt x="315" y="96"/>
                        <a:pt x="315" y="96"/>
                      </a:cubicBezTo>
                      <a:cubicBezTo>
                        <a:pt x="330" y="149"/>
                        <a:pt x="330" y="149"/>
                        <a:pt x="330" y="149"/>
                      </a:cubicBezTo>
                      <a:cubicBezTo>
                        <a:pt x="331" y="152"/>
                        <a:pt x="334" y="154"/>
                        <a:pt x="338" y="154"/>
                      </a:cubicBezTo>
                      <a:cubicBezTo>
                        <a:pt x="401" y="154"/>
                        <a:pt x="401" y="154"/>
                        <a:pt x="401" y="154"/>
                      </a:cubicBezTo>
                      <a:lnTo>
                        <a:pt x="401" y="272"/>
                      </a:lnTo>
                      <a:close/>
                    </a:path>
                  </a:pathLst>
                </a:custGeom>
                <a:grpFill/>
                <a:ln>
                  <a:noFill/>
                </a:ln>
              </p:spPr>
              <p:txBody>
                <a:bodyPr/>
                <a:lstStyle/>
                <a:p>
                  <a:endParaRPr lang="sv-SE" dirty="0">
                    <a:solidFill>
                      <a:srgbClr val="58585A"/>
                    </a:solidFill>
                  </a:endParaRPr>
                </a:p>
              </p:txBody>
            </p:sp>
          </p:grpSp>
          <p:sp>
            <p:nvSpPr>
              <p:cNvPr id="101" name="Freeform 3">
                <a:extLst>
                  <a:ext uri="{FF2B5EF4-FFF2-40B4-BE49-F238E27FC236}">
                    <a16:creationId xmlns:a16="http://schemas.microsoft.com/office/drawing/2014/main" id="{CDC36D86-C573-4939-9D37-2340914AD7B0}"/>
                  </a:ext>
                </a:extLst>
              </p:cNvPr>
              <p:cNvSpPr>
                <a:spLocks noChangeAspect="1" noEditPoints="1"/>
              </p:cNvSpPr>
              <p:nvPr/>
            </p:nvSpPr>
            <p:spPr bwMode="auto">
              <a:xfrm>
                <a:off x="9087587" y="3525936"/>
                <a:ext cx="495300" cy="480424"/>
              </a:xfrm>
              <a:custGeom>
                <a:avLst/>
                <a:gdLst>
                  <a:gd name="T0" fmla="*/ 2147483647 w 479"/>
                  <a:gd name="T1" fmla="*/ 2147483647 h 465"/>
                  <a:gd name="T2" fmla="*/ 2147483647 w 479"/>
                  <a:gd name="T3" fmla="*/ 0 h 465"/>
                  <a:gd name="T4" fmla="*/ 2147483647 w 479"/>
                  <a:gd name="T5" fmla="*/ 2147483647 h 465"/>
                  <a:gd name="T6" fmla="*/ 2147483647 w 479"/>
                  <a:gd name="T7" fmla="*/ 2147483647 h 465"/>
                  <a:gd name="T8" fmla="*/ 2147483647 w 479"/>
                  <a:gd name="T9" fmla="*/ 2147483647 h 465"/>
                  <a:gd name="T10" fmla="*/ 2147483647 w 479"/>
                  <a:gd name="T11" fmla="*/ 2147483647 h 465"/>
                  <a:gd name="T12" fmla="*/ 2147483647 w 479"/>
                  <a:gd name="T13" fmla="*/ 2147483647 h 465"/>
                  <a:gd name="T14" fmla="*/ 2147483647 w 479"/>
                  <a:gd name="T15" fmla="*/ 2147483647 h 465"/>
                  <a:gd name="T16" fmla="*/ 2147483647 w 479"/>
                  <a:gd name="T17" fmla="*/ 2147483647 h 465"/>
                  <a:gd name="T18" fmla="*/ 2147483647 w 479"/>
                  <a:gd name="T19" fmla="*/ 2147483647 h 465"/>
                  <a:gd name="T20" fmla="*/ 2147483647 w 479"/>
                  <a:gd name="T21" fmla="*/ 2147483647 h 465"/>
                  <a:gd name="T22" fmla="*/ 2147483647 w 479"/>
                  <a:gd name="T23" fmla="*/ 2147483647 h 465"/>
                  <a:gd name="T24" fmla="*/ 2147483647 w 479"/>
                  <a:gd name="T25" fmla="*/ 2147483647 h 465"/>
                  <a:gd name="T26" fmla="*/ 2147483647 w 479"/>
                  <a:gd name="T27" fmla="*/ 2147483647 h 465"/>
                  <a:gd name="T28" fmla="*/ 2147483647 w 479"/>
                  <a:gd name="T29" fmla="*/ 2147483647 h 465"/>
                  <a:gd name="T30" fmla="*/ 2147483647 w 479"/>
                  <a:gd name="T31" fmla="*/ 2147483647 h 465"/>
                  <a:gd name="T32" fmla="*/ 2147483647 w 479"/>
                  <a:gd name="T33" fmla="*/ 2147483647 h 465"/>
                  <a:gd name="T34" fmla="*/ 2147483647 w 479"/>
                  <a:gd name="T35" fmla="*/ 2147483647 h 465"/>
                  <a:gd name="T36" fmla="*/ 2147483647 w 479"/>
                  <a:gd name="T37" fmla="*/ 2147483647 h 465"/>
                  <a:gd name="T38" fmla="*/ 2147483647 w 479"/>
                  <a:gd name="T39" fmla="*/ 2147483647 h 465"/>
                  <a:gd name="T40" fmla="*/ 2147483647 w 479"/>
                  <a:gd name="T41" fmla="*/ 2147483647 h 465"/>
                  <a:gd name="T42" fmla="*/ 2147483647 w 479"/>
                  <a:gd name="T43" fmla="*/ 2147483647 h 465"/>
                  <a:gd name="T44" fmla="*/ 2147483647 w 479"/>
                  <a:gd name="T45" fmla="*/ 2147483647 h 465"/>
                  <a:gd name="T46" fmla="*/ 2147483647 w 479"/>
                  <a:gd name="T47" fmla="*/ 2147483647 h 465"/>
                  <a:gd name="T48" fmla="*/ 2147483647 w 479"/>
                  <a:gd name="T49" fmla="*/ 2147483647 h 465"/>
                  <a:gd name="T50" fmla="*/ 2147483647 w 479"/>
                  <a:gd name="T51" fmla="*/ 2147483647 h 465"/>
                  <a:gd name="T52" fmla="*/ 2147483647 w 479"/>
                  <a:gd name="T53" fmla="*/ 2147483647 h 465"/>
                  <a:gd name="T54" fmla="*/ 2147483647 w 479"/>
                  <a:gd name="T55" fmla="*/ 2147483647 h 465"/>
                  <a:gd name="T56" fmla="*/ 2147483647 w 479"/>
                  <a:gd name="T57" fmla="*/ 2147483647 h 465"/>
                  <a:gd name="T58" fmla="*/ 2147483647 w 479"/>
                  <a:gd name="T59" fmla="*/ 2147483647 h 465"/>
                  <a:gd name="T60" fmla="*/ 2147483647 w 479"/>
                  <a:gd name="T61" fmla="*/ 2147483647 h 465"/>
                  <a:gd name="T62" fmla="*/ 2147483647 w 479"/>
                  <a:gd name="T63" fmla="*/ 2147483647 h 465"/>
                  <a:gd name="T64" fmla="*/ 2147483647 w 479"/>
                  <a:gd name="T65" fmla="*/ 2147483647 h 465"/>
                  <a:gd name="T66" fmla="*/ 2147483647 w 479"/>
                  <a:gd name="T67" fmla="*/ 2147483647 h 465"/>
                  <a:gd name="T68" fmla="*/ 2147483647 w 479"/>
                  <a:gd name="T69" fmla="*/ 2147483647 h 465"/>
                  <a:gd name="T70" fmla="*/ 2147483647 w 479"/>
                  <a:gd name="T71" fmla="*/ 2147483647 h 465"/>
                  <a:gd name="T72" fmla="*/ 2147483647 w 479"/>
                  <a:gd name="T73" fmla="*/ 2147483647 h 465"/>
                  <a:gd name="T74" fmla="*/ 2147483647 w 479"/>
                  <a:gd name="T75" fmla="*/ 2147483647 h 465"/>
                  <a:gd name="T76" fmla="*/ 2147483647 w 479"/>
                  <a:gd name="T77" fmla="*/ 2147483647 h 465"/>
                  <a:gd name="T78" fmla="*/ 2147483647 w 479"/>
                  <a:gd name="T79" fmla="*/ 2147483647 h 465"/>
                  <a:gd name="T80" fmla="*/ 2147483647 w 479"/>
                  <a:gd name="T81" fmla="*/ 2147483647 h 465"/>
                  <a:gd name="T82" fmla="*/ 2147483647 w 479"/>
                  <a:gd name="T83" fmla="*/ 2147483647 h 465"/>
                  <a:gd name="T84" fmla="*/ 2147483647 w 479"/>
                  <a:gd name="T85" fmla="*/ 2147483647 h 465"/>
                  <a:gd name="T86" fmla="*/ 2147483647 w 479"/>
                  <a:gd name="T87" fmla="*/ 2147483647 h 465"/>
                  <a:gd name="T88" fmla="*/ 2147483647 w 479"/>
                  <a:gd name="T89" fmla="*/ 2147483647 h 465"/>
                  <a:gd name="T90" fmla="*/ 2147483647 w 479"/>
                  <a:gd name="T91" fmla="*/ 2147483647 h 465"/>
                  <a:gd name="T92" fmla="*/ 2147483647 w 479"/>
                  <a:gd name="T93" fmla="*/ 2147483647 h 465"/>
                  <a:gd name="T94" fmla="*/ 2147483647 w 479"/>
                  <a:gd name="T95" fmla="*/ 2147483647 h 465"/>
                  <a:gd name="T96" fmla="*/ 2147483647 w 479"/>
                  <a:gd name="T97" fmla="*/ 2147483647 h 465"/>
                  <a:gd name="T98" fmla="*/ 2147483647 w 479"/>
                  <a:gd name="T99" fmla="*/ 2147483647 h 465"/>
                  <a:gd name="T100" fmla="*/ 2147483647 w 479"/>
                  <a:gd name="T101" fmla="*/ 2147483647 h 465"/>
                  <a:gd name="T102" fmla="*/ 2147483647 w 479"/>
                  <a:gd name="T103" fmla="*/ 2147483647 h 465"/>
                  <a:gd name="T104" fmla="*/ 2147483647 w 479"/>
                  <a:gd name="T105" fmla="*/ 2147483647 h 465"/>
                  <a:gd name="T106" fmla="*/ 2147483647 w 479"/>
                  <a:gd name="T107" fmla="*/ 2147483647 h 465"/>
                  <a:gd name="T108" fmla="*/ 2147483647 w 479"/>
                  <a:gd name="T109" fmla="*/ 2147483647 h 465"/>
                  <a:gd name="T110" fmla="*/ 2147483647 w 479"/>
                  <a:gd name="T111" fmla="*/ 2147483647 h 465"/>
                  <a:gd name="T112" fmla="*/ 2147483647 w 479"/>
                  <a:gd name="T113" fmla="*/ 2147483647 h 465"/>
                  <a:gd name="T114" fmla="*/ 2147483647 w 479"/>
                  <a:gd name="T115" fmla="*/ 2147483647 h 465"/>
                  <a:gd name="T116" fmla="*/ 2147483647 w 479"/>
                  <a:gd name="T117" fmla="*/ 2147483647 h 4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79" h="465">
                    <a:moveTo>
                      <a:pt x="316" y="16"/>
                    </a:moveTo>
                    <a:cubicBezTo>
                      <a:pt x="316" y="16"/>
                      <a:pt x="316" y="16"/>
                      <a:pt x="316" y="16"/>
                    </a:cubicBezTo>
                    <a:cubicBezTo>
                      <a:pt x="382" y="17"/>
                      <a:pt x="436" y="70"/>
                      <a:pt x="436" y="137"/>
                    </a:cubicBezTo>
                    <a:cubicBezTo>
                      <a:pt x="436" y="141"/>
                      <a:pt x="440" y="145"/>
                      <a:pt x="444" y="145"/>
                    </a:cubicBezTo>
                    <a:cubicBezTo>
                      <a:pt x="448" y="145"/>
                      <a:pt x="452" y="141"/>
                      <a:pt x="452" y="137"/>
                    </a:cubicBezTo>
                    <a:cubicBezTo>
                      <a:pt x="452" y="62"/>
                      <a:pt x="391" y="0"/>
                      <a:pt x="316" y="0"/>
                    </a:cubicBezTo>
                    <a:cubicBezTo>
                      <a:pt x="311" y="0"/>
                      <a:pt x="308" y="4"/>
                      <a:pt x="308" y="8"/>
                    </a:cubicBezTo>
                    <a:cubicBezTo>
                      <a:pt x="308" y="13"/>
                      <a:pt x="311" y="16"/>
                      <a:pt x="316" y="16"/>
                    </a:cubicBezTo>
                    <a:close/>
                    <a:moveTo>
                      <a:pt x="316" y="93"/>
                    </a:moveTo>
                    <a:cubicBezTo>
                      <a:pt x="316" y="93"/>
                      <a:pt x="316" y="93"/>
                      <a:pt x="316" y="93"/>
                    </a:cubicBezTo>
                    <a:cubicBezTo>
                      <a:pt x="340" y="93"/>
                      <a:pt x="359" y="113"/>
                      <a:pt x="359" y="137"/>
                    </a:cubicBezTo>
                    <a:cubicBezTo>
                      <a:pt x="359" y="141"/>
                      <a:pt x="363" y="145"/>
                      <a:pt x="367" y="145"/>
                    </a:cubicBezTo>
                    <a:cubicBezTo>
                      <a:pt x="371" y="145"/>
                      <a:pt x="375" y="141"/>
                      <a:pt x="375" y="137"/>
                    </a:cubicBezTo>
                    <a:cubicBezTo>
                      <a:pt x="375" y="104"/>
                      <a:pt x="348" y="77"/>
                      <a:pt x="316" y="77"/>
                    </a:cubicBezTo>
                    <a:cubicBezTo>
                      <a:pt x="311" y="77"/>
                      <a:pt x="308" y="81"/>
                      <a:pt x="308" y="85"/>
                    </a:cubicBezTo>
                    <a:cubicBezTo>
                      <a:pt x="308" y="90"/>
                      <a:pt x="311" y="93"/>
                      <a:pt x="316" y="93"/>
                    </a:cubicBezTo>
                    <a:close/>
                    <a:moveTo>
                      <a:pt x="316" y="55"/>
                    </a:moveTo>
                    <a:cubicBezTo>
                      <a:pt x="316" y="55"/>
                      <a:pt x="316" y="55"/>
                      <a:pt x="316" y="55"/>
                    </a:cubicBezTo>
                    <a:cubicBezTo>
                      <a:pt x="361" y="55"/>
                      <a:pt x="397" y="92"/>
                      <a:pt x="398" y="137"/>
                    </a:cubicBezTo>
                    <a:cubicBezTo>
                      <a:pt x="398" y="141"/>
                      <a:pt x="401" y="145"/>
                      <a:pt x="406" y="145"/>
                    </a:cubicBezTo>
                    <a:cubicBezTo>
                      <a:pt x="410" y="145"/>
                      <a:pt x="414" y="141"/>
                      <a:pt x="414" y="137"/>
                    </a:cubicBezTo>
                    <a:cubicBezTo>
                      <a:pt x="414" y="83"/>
                      <a:pt x="370" y="39"/>
                      <a:pt x="316" y="39"/>
                    </a:cubicBezTo>
                    <a:cubicBezTo>
                      <a:pt x="311" y="39"/>
                      <a:pt x="308" y="43"/>
                      <a:pt x="308" y="47"/>
                    </a:cubicBezTo>
                    <a:cubicBezTo>
                      <a:pt x="308" y="51"/>
                      <a:pt x="311" y="55"/>
                      <a:pt x="316" y="55"/>
                    </a:cubicBezTo>
                    <a:close/>
                    <a:moveTo>
                      <a:pt x="119" y="222"/>
                    </a:moveTo>
                    <a:cubicBezTo>
                      <a:pt x="119" y="258"/>
                      <a:pt x="148" y="287"/>
                      <a:pt x="184" y="287"/>
                    </a:cubicBezTo>
                    <a:cubicBezTo>
                      <a:pt x="221" y="287"/>
                      <a:pt x="250" y="258"/>
                      <a:pt x="250" y="222"/>
                    </a:cubicBezTo>
                    <a:cubicBezTo>
                      <a:pt x="250" y="185"/>
                      <a:pt x="221" y="156"/>
                      <a:pt x="184" y="156"/>
                    </a:cubicBezTo>
                    <a:cubicBezTo>
                      <a:pt x="148" y="156"/>
                      <a:pt x="119" y="185"/>
                      <a:pt x="119" y="222"/>
                    </a:cubicBezTo>
                    <a:close/>
                    <a:moveTo>
                      <a:pt x="201" y="186"/>
                    </a:moveTo>
                    <a:cubicBezTo>
                      <a:pt x="201" y="205"/>
                      <a:pt x="201" y="205"/>
                      <a:pt x="201" y="205"/>
                    </a:cubicBezTo>
                    <a:cubicBezTo>
                      <a:pt x="220" y="205"/>
                      <a:pt x="220" y="205"/>
                      <a:pt x="220" y="205"/>
                    </a:cubicBezTo>
                    <a:cubicBezTo>
                      <a:pt x="225" y="205"/>
                      <a:pt x="230" y="210"/>
                      <a:pt x="230" y="215"/>
                    </a:cubicBezTo>
                    <a:cubicBezTo>
                      <a:pt x="230" y="228"/>
                      <a:pt x="230" y="228"/>
                      <a:pt x="230" y="228"/>
                    </a:cubicBezTo>
                    <a:cubicBezTo>
                      <a:pt x="230" y="234"/>
                      <a:pt x="225" y="238"/>
                      <a:pt x="220" y="238"/>
                    </a:cubicBezTo>
                    <a:cubicBezTo>
                      <a:pt x="201" y="238"/>
                      <a:pt x="201" y="238"/>
                      <a:pt x="201" y="238"/>
                    </a:cubicBezTo>
                    <a:cubicBezTo>
                      <a:pt x="201" y="257"/>
                      <a:pt x="201" y="257"/>
                      <a:pt x="201" y="257"/>
                    </a:cubicBezTo>
                    <a:cubicBezTo>
                      <a:pt x="201" y="263"/>
                      <a:pt x="196" y="267"/>
                      <a:pt x="191" y="267"/>
                    </a:cubicBezTo>
                    <a:cubicBezTo>
                      <a:pt x="178" y="267"/>
                      <a:pt x="178" y="267"/>
                      <a:pt x="178" y="267"/>
                    </a:cubicBezTo>
                    <a:cubicBezTo>
                      <a:pt x="172" y="267"/>
                      <a:pt x="168" y="263"/>
                      <a:pt x="168" y="257"/>
                    </a:cubicBezTo>
                    <a:cubicBezTo>
                      <a:pt x="168" y="238"/>
                      <a:pt x="168" y="238"/>
                      <a:pt x="168" y="238"/>
                    </a:cubicBezTo>
                    <a:cubicBezTo>
                      <a:pt x="149" y="238"/>
                      <a:pt x="149" y="238"/>
                      <a:pt x="149" y="238"/>
                    </a:cubicBezTo>
                    <a:cubicBezTo>
                      <a:pt x="143" y="238"/>
                      <a:pt x="139" y="234"/>
                      <a:pt x="139" y="228"/>
                    </a:cubicBezTo>
                    <a:cubicBezTo>
                      <a:pt x="139" y="215"/>
                      <a:pt x="139" y="215"/>
                      <a:pt x="139" y="215"/>
                    </a:cubicBezTo>
                    <a:cubicBezTo>
                      <a:pt x="139" y="210"/>
                      <a:pt x="143" y="205"/>
                      <a:pt x="149" y="205"/>
                    </a:cubicBezTo>
                    <a:cubicBezTo>
                      <a:pt x="168" y="205"/>
                      <a:pt x="168" y="205"/>
                      <a:pt x="168" y="205"/>
                    </a:cubicBezTo>
                    <a:cubicBezTo>
                      <a:pt x="168" y="186"/>
                      <a:pt x="168" y="186"/>
                      <a:pt x="168" y="186"/>
                    </a:cubicBezTo>
                    <a:cubicBezTo>
                      <a:pt x="168" y="181"/>
                      <a:pt x="172" y="176"/>
                      <a:pt x="178" y="176"/>
                    </a:cubicBezTo>
                    <a:cubicBezTo>
                      <a:pt x="191" y="176"/>
                      <a:pt x="191" y="176"/>
                      <a:pt x="191" y="176"/>
                    </a:cubicBezTo>
                    <a:cubicBezTo>
                      <a:pt x="196" y="176"/>
                      <a:pt x="201" y="181"/>
                      <a:pt x="201" y="186"/>
                    </a:cubicBezTo>
                    <a:close/>
                    <a:moveTo>
                      <a:pt x="468" y="372"/>
                    </a:moveTo>
                    <a:cubicBezTo>
                      <a:pt x="462" y="364"/>
                      <a:pt x="451" y="359"/>
                      <a:pt x="440" y="359"/>
                    </a:cubicBezTo>
                    <a:cubicBezTo>
                      <a:pt x="433" y="359"/>
                      <a:pt x="427" y="361"/>
                      <a:pt x="420" y="364"/>
                    </a:cubicBezTo>
                    <a:cubicBezTo>
                      <a:pt x="414" y="366"/>
                      <a:pt x="409" y="368"/>
                      <a:pt x="404" y="370"/>
                    </a:cubicBezTo>
                    <a:cubicBezTo>
                      <a:pt x="450" y="322"/>
                      <a:pt x="450" y="322"/>
                      <a:pt x="450" y="322"/>
                    </a:cubicBezTo>
                    <a:cubicBezTo>
                      <a:pt x="452" y="319"/>
                      <a:pt x="452" y="314"/>
                      <a:pt x="450" y="311"/>
                    </a:cubicBezTo>
                    <a:cubicBezTo>
                      <a:pt x="448" y="308"/>
                      <a:pt x="443" y="307"/>
                      <a:pt x="440" y="309"/>
                    </a:cubicBezTo>
                    <a:cubicBezTo>
                      <a:pt x="400" y="330"/>
                      <a:pt x="400" y="330"/>
                      <a:pt x="400" y="330"/>
                    </a:cubicBezTo>
                    <a:cubicBezTo>
                      <a:pt x="413" y="311"/>
                      <a:pt x="413" y="311"/>
                      <a:pt x="413" y="311"/>
                    </a:cubicBezTo>
                    <a:cubicBezTo>
                      <a:pt x="415" y="308"/>
                      <a:pt x="415" y="304"/>
                      <a:pt x="412" y="301"/>
                    </a:cubicBezTo>
                    <a:cubicBezTo>
                      <a:pt x="410" y="298"/>
                      <a:pt x="406" y="297"/>
                      <a:pt x="403" y="299"/>
                    </a:cubicBezTo>
                    <a:cubicBezTo>
                      <a:pt x="355" y="320"/>
                      <a:pt x="355" y="320"/>
                      <a:pt x="355" y="320"/>
                    </a:cubicBezTo>
                    <a:cubicBezTo>
                      <a:pt x="400" y="276"/>
                      <a:pt x="400" y="276"/>
                      <a:pt x="400" y="276"/>
                    </a:cubicBezTo>
                    <a:cubicBezTo>
                      <a:pt x="403" y="273"/>
                      <a:pt x="403" y="269"/>
                      <a:pt x="401" y="265"/>
                    </a:cubicBezTo>
                    <a:cubicBezTo>
                      <a:pt x="399" y="262"/>
                      <a:pt x="394" y="261"/>
                      <a:pt x="391" y="263"/>
                    </a:cubicBezTo>
                    <a:cubicBezTo>
                      <a:pt x="345" y="285"/>
                      <a:pt x="345" y="285"/>
                      <a:pt x="345" y="285"/>
                    </a:cubicBezTo>
                    <a:cubicBezTo>
                      <a:pt x="332" y="273"/>
                      <a:pt x="323" y="268"/>
                      <a:pt x="317" y="266"/>
                    </a:cubicBezTo>
                    <a:cubicBezTo>
                      <a:pt x="317" y="197"/>
                      <a:pt x="317" y="197"/>
                      <a:pt x="317" y="197"/>
                    </a:cubicBezTo>
                    <a:cubicBezTo>
                      <a:pt x="317" y="193"/>
                      <a:pt x="313" y="189"/>
                      <a:pt x="309" y="189"/>
                    </a:cubicBezTo>
                    <a:cubicBezTo>
                      <a:pt x="305" y="189"/>
                      <a:pt x="301" y="193"/>
                      <a:pt x="301" y="197"/>
                    </a:cubicBezTo>
                    <a:cubicBezTo>
                      <a:pt x="301" y="197"/>
                      <a:pt x="301" y="197"/>
                      <a:pt x="301" y="197"/>
                    </a:cubicBezTo>
                    <a:cubicBezTo>
                      <a:pt x="301" y="298"/>
                      <a:pt x="301" y="298"/>
                      <a:pt x="301" y="298"/>
                    </a:cubicBezTo>
                    <a:cubicBezTo>
                      <a:pt x="301" y="300"/>
                      <a:pt x="300" y="301"/>
                      <a:pt x="298" y="301"/>
                    </a:cubicBezTo>
                    <a:cubicBezTo>
                      <a:pt x="70" y="301"/>
                      <a:pt x="70" y="301"/>
                      <a:pt x="70" y="301"/>
                    </a:cubicBezTo>
                    <a:cubicBezTo>
                      <a:pt x="69" y="301"/>
                      <a:pt x="68" y="300"/>
                      <a:pt x="68" y="298"/>
                    </a:cubicBezTo>
                    <a:cubicBezTo>
                      <a:pt x="68" y="145"/>
                      <a:pt x="68" y="145"/>
                      <a:pt x="68" y="145"/>
                    </a:cubicBezTo>
                    <a:cubicBezTo>
                      <a:pt x="68" y="144"/>
                      <a:pt x="69" y="142"/>
                      <a:pt x="70" y="142"/>
                    </a:cubicBezTo>
                    <a:cubicBezTo>
                      <a:pt x="298" y="142"/>
                      <a:pt x="298" y="142"/>
                      <a:pt x="298" y="142"/>
                    </a:cubicBezTo>
                    <a:cubicBezTo>
                      <a:pt x="300" y="142"/>
                      <a:pt x="301" y="144"/>
                      <a:pt x="301" y="145"/>
                    </a:cubicBezTo>
                    <a:cubicBezTo>
                      <a:pt x="301" y="165"/>
                      <a:pt x="301" y="165"/>
                      <a:pt x="301" y="165"/>
                    </a:cubicBezTo>
                    <a:cubicBezTo>
                      <a:pt x="301" y="169"/>
                      <a:pt x="305" y="173"/>
                      <a:pt x="309" y="173"/>
                    </a:cubicBezTo>
                    <a:cubicBezTo>
                      <a:pt x="313" y="173"/>
                      <a:pt x="317" y="169"/>
                      <a:pt x="317" y="165"/>
                    </a:cubicBezTo>
                    <a:cubicBezTo>
                      <a:pt x="317" y="145"/>
                      <a:pt x="317" y="145"/>
                      <a:pt x="317" y="145"/>
                    </a:cubicBezTo>
                    <a:cubicBezTo>
                      <a:pt x="317" y="135"/>
                      <a:pt x="309" y="126"/>
                      <a:pt x="298" y="126"/>
                    </a:cubicBezTo>
                    <a:cubicBezTo>
                      <a:pt x="235" y="126"/>
                      <a:pt x="235" y="126"/>
                      <a:pt x="235" y="126"/>
                    </a:cubicBezTo>
                    <a:cubicBezTo>
                      <a:pt x="235" y="120"/>
                      <a:pt x="235" y="120"/>
                      <a:pt x="235" y="120"/>
                    </a:cubicBezTo>
                    <a:cubicBezTo>
                      <a:pt x="235" y="110"/>
                      <a:pt x="227" y="102"/>
                      <a:pt x="217" y="102"/>
                    </a:cubicBezTo>
                    <a:cubicBezTo>
                      <a:pt x="151" y="102"/>
                      <a:pt x="151" y="102"/>
                      <a:pt x="151" y="102"/>
                    </a:cubicBezTo>
                    <a:cubicBezTo>
                      <a:pt x="142" y="102"/>
                      <a:pt x="133" y="110"/>
                      <a:pt x="133" y="120"/>
                    </a:cubicBezTo>
                    <a:cubicBezTo>
                      <a:pt x="133" y="126"/>
                      <a:pt x="133" y="126"/>
                      <a:pt x="133" y="126"/>
                    </a:cubicBezTo>
                    <a:cubicBezTo>
                      <a:pt x="70" y="126"/>
                      <a:pt x="70" y="126"/>
                      <a:pt x="70" y="126"/>
                    </a:cubicBezTo>
                    <a:cubicBezTo>
                      <a:pt x="60" y="126"/>
                      <a:pt x="52" y="135"/>
                      <a:pt x="52" y="145"/>
                    </a:cubicBezTo>
                    <a:cubicBezTo>
                      <a:pt x="52" y="298"/>
                      <a:pt x="52" y="298"/>
                      <a:pt x="52" y="298"/>
                    </a:cubicBezTo>
                    <a:cubicBezTo>
                      <a:pt x="52" y="309"/>
                      <a:pt x="60" y="317"/>
                      <a:pt x="70" y="317"/>
                    </a:cubicBezTo>
                    <a:cubicBezTo>
                      <a:pt x="298" y="317"/>
                      <a:pt x="298" y="317"/>
                      <a:pt x="298" y="317"/>
                    </a:cubicBezTo>
                    <a:cubicBezTo>
                      <a:pt x="309" y="317"/>
                      <a:pt x="317" y="309"/>
                      <a:pt x="317" y="298"/>
                    </a:cubicBezTo>
                    <a:cubicBezTo>
                      <a:pt x="317" y="283"/>
                      <a:pt x="317" y="283"/>
                      <a:pt x="317" y="283"/>
                    </a:cubicBezTo>
                    <a:cubicBezTo>
                      <a:pt x="322" y="286"/>
                      <a:pt x="328" y="291"/>
                      <a:pt x="337" y="300"/>
                    </a:cubicBezTo>
                    <a:cubicBezTo>
                      <a:pt x="340" y="302"/>
                      <a:pt x="343" y="303"/>
                      <a:pt x="346" y="301"/>
                    </a:cubicBezTo>
                    <a:cubicBezTo>
                      <a:pt x="356" y="297"/>
                      <a:pt x="356" y="297"/>
                      <a:pt x="356" y="297"/>
                    </a:cubicBezTo>
                    <a:cubicBezTo>
                      <a:pt x="313" y="340"/>
                      <a:pt x="313" y="340"/>
                      <a:pt x="313" y="340"/>
                    </a:cubicBezTo>
                    <a:cubicBezTo>
                      <a:pt x="311" y="342"/>
                      <a:pt x="310" y="347"/>
                      <a:pt x="312" y="350"/>
                    </a:cubicBezTo>
                    <a:cubicBezTo>
                      <a:pt x="315" y="353"/>
                      <a:pt x="319" y="354"/>
                      <a:pt x="322" y="353"/>
                    </a:cubicBezTo>
                    <a:cubicBezTo>
                      <a:pt x="383" y="325"/>
                      <a:pt x="383" y="325"/>
                      <a:pt x="383" y="325"/>
                    </a:cubicBezTo>
                    <a:cubicBezTo>
                      <a:pt x="368" y="347"/>
                      <a:pt x="368" y="347"/>
                      <a:pt x="368" y="347"/>
                    </a:cubicBezTo>
                    <a:cubicBezTo>
                      <a:pt x="366" y="350"/>
                      <a:pt x="366" y="354"/>
                      <a:pt x="369" y="357"/>
                    </a:cubicBezTo>
                    <a:cubicBezTo>
                      <a:pt x="371" y="360"/>
                      <a:pt x="375" y="360"/>
                      <a:pt x="378" y="359"/>
                    </a:cubicBezTo>
                    <a:cubicBezTo>
                      <a:pt x="407" y="344"/>
                      <a:pt x="407" y="344"/>
                      <a:pt x="407" y="344"/>
                    </a:cubicBezTo>
                    <a:cubicBezTo>
                      <a:pt x="369" y="385"/>
                      <a:pt x="369" y="385"/>
                      <a:pt x="369" y="385"/>
                    </a:cubicBezTo>
                    <a:cubicBezTo>
                      <a:pt x="367" y="387"/>
                      <a:pt x="366" y="390"/>
                      <a:pt x="367" y="393"/>
                    </a:cubicBezTo>
                    <a:cubicBezTo>
                      <a:pt x="369" y="396"/>
                      <a:pt x="372" y="398"/>
                      <a:pt x="375" y="398"/>
                    </a:cubicBezTo>
                    <a:cubicBezTo>
                      <a:pt x="375" y="398"/>
                      <a:pt x="375" y="398"/>
                      <a:pt x="375" y="398"/>
                    </a:cubicBezTo>
                    <a:cubicBezTo>
                      <a:pt x="377" y="398"/>
                      <a:pt x="377" y="398"/>
                      <a:pt x="379" y="397"/>
                    </a:cubicBezTo>
                    <a:cubicBezTo>
                      <a:pt x="382" y="396"/>
                      <a:pt x="392" y="393"/>
                      <a:pt x="426" y="379"/>
                    </a:cubicBezTo>
                    <a:cubicBezTo>
                      <a:pt x="431" y="376"/>
                      <a:pt x="436" y="375"/>
                      <a:pt x="440" y="375"/>
                    </a:cubicBezTo>
                    <a:cubicBezTo>
                      <a:pt x="454" y="375"/>
                      <a:pt x="462" y="387"/>
                      <a:pt x="462" y="399"/>
                    </a:cubicBezTo>
                    <a:cubicBezTo>
                      <a:pt x="462" y="409"/>
                      <a:pt x="458" y="419"/>
                      <a:pt x="445" y="424"/>
                    </a:cubicBezTo>
                    <a:cubicBezTo>
                      <a:pt x="412" y="438"/>
                      <a:pt x="389" y="448"/>
                      <a:pt x="358" y="448"/>
                    </a:cubicBezTo>
                    <a:cubicBezTo>
                      <a:pt x="350" y="448"/>
                      <a:pt x="341" y="447"/>
                      <a:pt x="332" y="446"/>
                    </a:cubicBezTo>
                    <a:cubicBezTo>
                      <a:pt x="309" y="442"/>
                      <a:pt x="293" y="430"/>
                      <a:pt x="276" y="418"/>
                    </a:cubicBezTo>
                    <a:cubicBezTo>
                      <a:pt x="260" y="407"/>
                      <a:pt x="244" y="396"/>
                      <a:pt x="222" y="394"/>
                    </a:cubicBezTo>
                    <a:cubicBezTo>
                      <a:pt x="222" y="367"/>
                      <a:pt x="222" y="367"/>
                      <a:pt x="222" y="367"/>
                    </a:cubicBezTo>
                    <a:cubicBezTo>
                      <a:pt x="222" y="354"/>
                      <a:pt x="211" y="343"/>
                      <a:pt x="198" y="343"/>
                    </a:cubicBezTo>
                    <a:cubicBezTo>
                      <a:pt x="76" y="343"/>
                      <a:pt x="76" y="343"/>
                      <a:pt x="76" y="343"/>
                    </a:cubicBezTo>
                    <a:cubicBezTo>
                      <a:pt x="65" y="343"/>
                      <a:pt x="56" y="350"/>
                      <a:pt x="53" y="359"/>
                    </a:cubicBezTo>
                    <a:cubicBezTo>
                      <a:pt x="16" y="359"/>
                      <a:pt x="16" y="359"/>
                      <a:pt x="16" y="359"/>
                    </a:cubicBezTo>
                    <a:cubicBezTo>
                      <a:pt x="7" y="359"/>
                      <a:pt x="0" y="366"/>
                      <a:pt x="0" y="375"/>
                    </a:cubicBezTo>
                    <a:cubicBezTo>
                      <a:pt x="0" y="433"/>
                      <a:pt x="0" y="433"/>
                      <a:pt x="0" y="433"/>
                    </a:cubicBezTo>
                    <a:cubicBezTo>
                      <a:pt x="0" y="442"/>
                      <a:pt x="7" y="449"/>
                      <a:pt x="16" y="449"/>
                    </a:cubicBezTo>
                    <a:cubicBezTo>
                      <a:pt x="53" y="449"/>
                      <a:pt x="53" y="449"/>
                      <a:pt x="53" y="449"/>
                    </a:cubicBezTo>
                    <a:cubicBezTo>
                      <a:pt x="56" y="458"/>
                      <a:pt x="65" y="465"/>
                      <a:pt x="76" y="465"/>
                    </a:cubicBezTo>
                    <a:cubicBezTo>
                      <a:pt x="198" y="465"/>
                      <a:pt x="198" y="465"/>
                      <a:pt x="198" y="465"/>
                    </a:cubicBezTo>
                    <a:cubicBezTo>
                      <a:pt x="211" y="465"/>
                      <a:pt x="222" y="454"/>
                      <a:pt x="222" y="441"/>
                    </a:cubicBezTo>
                    <a:cubicBezTo>
                      <a:pt x="222" y="410"/>
                      <a:pt x="222" y="410"/>
                      <a:pt x="222" y="410"/>
                    </a:cubicBezTo>
                    <a:cubicBezTo>
                      <a:pt x="238" y="412"/>
                      <a:pt x="252" y="421"/>
                      <a:pt x="267" y="431"/>
                    </a:cubicBezTo>
                    <a:cubicBezTo>
                      <a:pt x="284" y="443"/>
                      <a:pt x="302" y="457"/>
                      <a:pt x="329" y="462"/>
                    </a:cubicBezTo>
                    <a:cubicBezTo>
                      <a:pt x="340" y="463"/>
                      <a:pt x="349" y="464"/>
                      <a:pt x="358" y="464"/>
                    </a:cubicBezTo>
                    <a:cubicBezTo>
                      <a:pt x="358" y="464"/>
                      <a:pt x="358" y="464"/>
                      <a:pt x="358" y="464"/>
                    </a:cubicBezTo>
                    <a:cubicBezTo>
                      <a:pt x="393" y="464"/>
                      <a:pt x="419" y="453"/>
                      <a:pt x="451" y="439"/>
                    </a:cubicBezTo>
                    <a:cubicBezTo>
                      <a:pt x="470" y="431"/>
                      <a:pt x="479" y="415"/>
                      <a:pt x="478" y="399"/>
                    </a:cubicBezTo>
                    <a:cubicBezTo>
                      <a:pt x="478" y="389"/>
                      <a:pt x="475" y="380"/>
                      <a:pt x="468" y="372"/>
                    </a:cubicBezTo>
                    <a:close/>
                    <a:moveTo>
                      <a:pt x="149" y="120"/>
                    </a:moveTo>
                    <a:cubicBezTo>
                      <a:pt x="149" y="119"/>
                      <a:pt x="150" y="118"/>
                      <a:pt x="151" y="118"/>
                    </a:cubicBezTo>
                    <a:cubicBezTo>
                      <a:pt x="217" y="118"/>
                      <a:pt x="217" y="118"/>
                      <a:pt x="217" y="118"/>
                    </a:cubicBezTo>
                    <a:cubicBezTo>
                      <a:pt x="218" y="118"/>
                      <a:pt x="219" y="119"/>
                      <a:pt x="219" y="120"/>
                    </a:cubicBezTo>
                    <a:cubicBezTo>
                      <a:pt x="219" y="126"/>
                      <a:pt x="219" y="126"/>
                      <a:pt x="219" y="126"/>
                    </a:cubicBezTo>
                    <a:cubicBezTo>
                      <a:pt x="149" y="126"/>
                      <a:pt x="149" y="126"/>
                      <a:pt x="149" y="126"/>
                    </a:cubicBezTo>
                    <a:lnTo>
                      <a:pt x="149" y="120"/>
                    </a:lnTo>
                    <a:close/>
                    <a:moveTo>
                      <a:pt x="50" y="432"/>
                    </a:moveTo>
                    <a:cubicBezTo>
                      <a:pt x="50" y="435"/>
                      <a:pt x="48" y="437"/>
                      <a:pt x="45" y="437"/>
                    </a:cubicBezTo>
                    <a:cubicBezTo>
                      <a:pt x="32" y="437"/>
                      <a:pt x="32" y="437"/>
                      <a:pt x="32" y="437"/>
                    </a:cubicBezTo>
                    <a:cubicBezTo>
                      <a:pt x="29" y="437"/>
                      <a:pt x="27" y="435"/>
                      <a:pt x="27" y="432"/>
                    </a:cubicBezTo>
                    <a:cubicBezTo>
                      <a:pt x="27" y="417"/>
                      <a:pt x="27" y="417"/>
                      <a:pt x="27" y="417"/>
                    </a:cubicBezTo>
                    <a:cubicBezTo>
                      <a:pt x="27" y="415"/>
                      <a:pt x="29" y="412"/>
                      <a:pt x="32" y="412"/>
                    </a:cubicBezTo>
                    <a:cubicBezTo>
                      <a:pt x="45" y="412"/>
                      <a:pt x="45" y="412"/>
                      <a:pt x="45" y="412"/>
                    </a:cubicBezTo>
                    <a:cubicBezTo>
                      <a:pt x="48" y="412"/>
                      <a:pt x="50" y="415"/>
                      <a:pt x="50" y="417"/>
                    </a:cubicBezTo>
                    <a:lnTo>
                      <a:pt x="50" y="432"/>
                    </a:lnTo>
                    <a:close/>
                    <a:moveTo>
                      <a:pt x="50" y="391"/>
                    </a:moveTo>
                    <a:cubicBezTo>
                      <a:pt x="50" y="394"/>
                      <a:pt x="48" y="396"/>
                      <a:pt x="45" y="396"/>
                    </a:cubicBezTo>
                    <a:cubicBezTo>
                      <a:pt x="32" y="396"/>
                      <a:pt x="32" y="396"/>
                      <a:pt x="32" y="396"/>
                    </a:cubicBezTo>
                    <a:cubicBezTo>
                      <a:pt x="29" y="396"/>
                      <a:pt x="27" y="394"/>
                      <a:pt x="27" y="391"/>
                    </a:cubicBezTo>
                    <a:cubicBezTo>
                      <a:pt x="27" y="376"/>
                      <a:pt x="27" y="376"/>
                      <a:pt x="27" y="376"/>
                    </a:cubicBezTo>
                    <a:cubicBezTo>
                      <a:pt x="27" y="374"/>
                      <a:pt x="29" y="372"/>
                      <a:pt x="32" y="372"/>
                    </a:cubicBezTo>
                    <a:cubicBezTo>
                      <a:pt x="45" y="372"/>
                      <a:pt x="45" y="372"/>
                      <a:pt x="45" y="372"/>
                    </a:cubicBezTo>
                    <a:cubicBezTo>
                      <a:pt x="48" y="372"/>
                      <a:pt x="50" y="374"/>
                      <a:pt x="50" y="376"/>
                    </a:cubicBezTo>
                    <a:lnTo>
                      <a:pt x="50" y="391"/>
                    </a:lnTo>
                    <a:close/>
                    <a:moveTo>
                      <a:pt x="206" y="401"/>
                    </a:moveTo>
                    <a:cubicBezTo>
                      <a:pt x="206" y="401"/>
                      <a:pt x="206" y="401"/>
                      <a:pt x="206" y="401"/>
                    </a:cubicBezTo>
                    <a:cubicBezTo>
                      <a:pt x="206" y="401"/>
                      <a:pt x="206" y="401"/>
                      <a:pt x="206" y="401"/>
                    </a:cubicBezTo>
                    <a:cubicBezTo>
                      <a:pt x="206" y="441"/>
                      <a:pt x="206" y="441"/>
                      <a:pt x="206" y="441"/>
                    </a:cubicBezTo>
                    <a:cubicBezTo>
                      <a:pt x="206" y="446"/>
                      <a:pt x="202" y="449"/>
                      <a:pt x="198" y="449"/>
                    </a:cubicBezTo>
                    <a:cubicBezTo>
                      <a:pt x="76" y="449"/>
                      <a:pt x="76" y="449"/>
                      <a:pt x="76" y="449"/>
                    </a:cubicBezTo>
                    <a:cubicBezTo>
                      <a:pt x="71" y="449"/>
                      <a:pt x="68" y="446"/>
                      <a:pt x="68" y="441"/>
                    </a:cubicBezTo>
                    <a:cubicBezTo>
                      <a:pt x="68" y="367"/>
                      <a:pt x="68" y="367"/>
                      <a:pt x="68" y="367"/>
                    </a:cubicBezTo>
                    <a:cubicBezTo>
                      <a:pt x="68" y="363"/>
                      <a:pt x="71" y="359"/>
                      <a:pt x="76" y="359"/>
                    </a:cubicBezTo>
                    <a:cubicBezTo>
                      <a:pt x="198" y="359"/>
                      <a:pt x="198" y="359"/>
                      <a:pt x="198" y="359"/>
                    </a:cubicBezTo>
                    <a:cubicBezTo>
                      <a:pt x="202" y="359"/>
                      <a:pt x="206" y="363"/>
                      <a:pt x="206" y="367"/>
                    </a:cubicBezTo>
                    <a:lnTo>
                      <a:pt x="206" y="401"/>
                    </a:lnTo>
                    <a:close/>
                  </a:path>
                </a:pathLst>
              </a:custGeom>
              <a:grpFill/>
              <a:ln>
                <a:noFill/>
              </a:ln>
            </p:spPr>
            <p:txBody>
              <a:bodyPr/>
              <a:lstStyle/>
              <a:p>
                <a:endParaRPr lang="sv-SE" dirty="0">
                  <a:solidFill>
                    <a:srgbClr val="58585A"/>
                  </a:solidFill>
                </a:endParaRPr>
              </a:p>
            </p:txBody>
          </p:sp>
        </p:grpSp>
        <p:grpSp>
          <p:nvGrpSpPr>
            <p:cNvPr id="95" name="Grupp 97">
              <a:extLst>
                <a:ext uri="{FF2B5EF4-FFF2-40B4-BE49-F238E27FC236}">
                  <a16:creationId xmlns:a16="http://schemas.microsoft.com/office/drawing/2014/main" id="{C2AFDF58-2BCD-45E9-AF62-BA1192E37FFC}"/>
                </a:ext>
              </a:extLst>
            </p:cNvPr>
            <p:cNvGrpSpPr/>
            <p:nvPr/>
          </p:nvGrpSpPr>
          <p:grpSpPr>
            <a:xfrm>
              <a:off x="9971268" y="3483244"/>
              <a:ext cx="832911" cy="763093"/>
              <a:chOff x="-2282261" y="2466975"/>
              <a:chExt cx="1311687" cy="1201738"/>
            </a:xfrm>
            <a:grpFill/>
          </p:grpSpPr>
          <p:sp>
            <p:nvSpPr>
              <p:cNvPr id="96" name="Freeform 3">
                <a:extLst>
                  <a:ext uri="{FF2B5EF4-FFF2-40B4-BE49-F238E27FC236}">
                    <a16:creationId xmlns:a16="http://schemas.microsoft.com/office/drawing/2014/main" id="{6F2B698F-5C49-4C1E-BB79-AC384A1E6FD0}"/>
                  </a:ext>
                </a:extLst>
              </p:cNvPr>
              <p:cNvSpPr>
                <a:spLocks noChangeAspect="1" noEditPoints="1"/>
              </p:cNvSpPr>
              <p:nvPr/>
            </p:nvSpPr>
            <p:spPr bwMode="auto">
              <a:xfrm>
                <a:off x="-2019299" y="3277553"/>
                <a:ext cx="838200" cy="391160"/>
              </a:xfrm>
              <a:custGeom>
                <a:avLst/>
                <a:gdLst>
                  <a:gd name="T0" fmla="*/ 2147483647 w 489"/>
                  <a:gd name="T1" fmla="*/ 2147483647 h 228"/>
                  <a:gd name="T2" fmla="*/ 2147483647 w 489"/>
                  <a:gd name="T3" fmla="*/ 2147483647 h 228"/>
                  <a:gd name="T4" fmla="*/ 2147483647 w 489"/>
                  <a:gd name="T5" fmla="*/ 2147483647 h 228"/>
                  <a:gd name="T6" fmla="*/ 2147483647 w 489"/>
                  <a:gd name="T7" fmla="*/ 2147483647 h 228"/>
                  <a:gd name="T8" fmla="*/ 2147483647 w 489"/>
                  <a:gd name="T9" fmla="*/ 2147483647 h 228"/>
                  <a:gd name="T10" fmla="*/ 2147483647 w 489"/>
                  <a:gd name="T11" fmla="*/ 2147483647 h 228"/>
                  <a:gd name="T12" fmla="*/ 2147483647 w 489"/>
                  <a:gd name="T13" fmla="*/ 2147483647 h 228"/>
                  <a:gd name="T14" fmla="*/ 2147483647 w 489"/>
                  <a:gd name="T15" fmla="*/ 2147483647 h 228"/>
                  <a:gd name="T16" fmla="*/ 2147483647 w 489"/>
                  <a:gd name="T17" fmla="*/ 2147483647 h 228"/>
                  <a:gd name="T18" fmla="*/ 2147483647 w 489"/>
                  <a:gd name="T19" fmla="*/ 2147483647 h 228"/>
                  <a:gd name="T20" fmla="*/ 2147483647 w 489"/>
                  <a:gd name="T21" fmla="*/ 2147483647 h 228"/>
                  <a:gd name="T22" fmla="*/ 2147483647 w 489"/>
                  <a:gd name="T23" fmla="*/ 2147483647 h 228"/>
                  <a:gd name="T24" fmla="*/ 2147483647 w 489"/>
                  <a:gd name="T25" fmla="*/ 2147483647 h 228"/>
                  <a:gd name="T26" fmla="*/ 2147483647 w 489"/>
                  <a:gd name="T27" fmla="*/ 2147483647 h 228"/>
                  <a:gd name="T28" fmla="*/ 2147483647 w 489"/>
                  <a:gd name="T29" fmla="*/ 2147483647 h 228"/>
                  <a:gd name="T30" fmla="*/ 2147483647 w 489"/>
                  <a:gd name="T31" fmla="*/ 2147483647 h 228"/>
                  <a:gd name="T32" fmla="*/ 2147483647 w 489"/>
                  <a:gd name="T33" fmla="*/ 2147483647 h 228"/>
                  <a:gd name="T34" fmla="*/ 2147483647 w 489"/>
                  <a:gd name="T35" fmla="*/ 2147483647 h 228"/>
                  <a:gd name="T36" fmla="*/ 2147483647 w 489"/>
                  <a:gd name="T37" fmla="*/ 0 h 228"/>
                  <a:gd name="T38" fmla="*/ 2147483647 w 489"/>
                  <a:gd name="T39" fmla="*/ 2147483647 h 228"/>
                  <a:gd name="T40" fmla="*/ 2147483647 w 489"/>
                  <a:gd name="T41" fmla="*/ 2147483647 h 228"/>
                  <a:gd name="T42" fmla="*/ 2147483647 w 489"/>
                  <a:gd name="T43" fmla="*/ 2147483647 h 228"/>
                  <a:gd name="T44" fmla="*/ 2147483647 w 489"/>
                  <a:gd name="T45" fmla="*/ 2147483647 h 228"/>
                  <a:gd name="T46" fmla="*/ 2147483647 w 489"/>
                  <a:gd name="T47" fmla="*/ 2147483647 h 228"/>
                  <a:gd name="T48" fmla="*/ 2147483647 w 489"/>
                  <a:gd name="T49" fmla="*/ 2147483647 h 228"/>
                  <a:gd name="T50" fmla="*/ 2147483647 w 489"/>
                  <a:gd name="T51" fmla="*/ 2147483647 h 228"/>
                  <a:gd name="T52" fmla="*/ 2147483647 w 489"/>
                  <a:gd name="T53" fmla="*/ 2147483647 h 228"/>
                  <a:gd name="T54" fmla="*/ 2147483647 w 489"/>
                  <a:gd name="T55" fmla="*/ 2147483647 h 228"/>
                  <a:gd name="T56" fmla="*/ 2147483647 w 489"/>
                  <a:gd name="T57" fmla="*/ 2147483647 h 228"/>
                  <a:gd name="T58" fmla="*/ 2147483647 w 489"/>
                  <a:gd name="T59" fmla="*/ 2147483647 h 228"/>
                  <a:gd name="T60" fmla="*/ 2147483647 w 489"/>
                  <a:gd name="T61" fmla="*/ 2147483647 h 228"/>
                  <a:gd name="T62" fmla="*/ 2147483647 w 489"/>
                  <a:gd name="T63" fmla="*/ 2147483647 h 228"/>
                  <a:gd name="T64" fmla="*/ 2147483647 w 489"/>
                  <a:gd name="T65" fmla="*/ 2147483647 h 228"/>
                  <a:gd name="T66" fmla="*/ 2147483647 w 489"/>
                  <a:gd name="T67" fmla="*/ 2147483647 h 228"/>
                  <a:gd name="T68" fmla="*/ 2147483647 w 489"/>
                  <a:gd name="T69" fmla="*/ 2147483647 h 228"/>
                  <a:gd name="T70" fmla="*/ 2147483647 w 489"/>
                  <a:gd name="T71" fmla="*/ 2147483647 h 228"/>
                  <a:gd name="T72" fmla="*/ 2147483647 w 489"/>
                  <a:gd name="T73" fmla="*/ 2147483647 h 228"/>
                  <a:gd name="T74" fmla="*/ 2147483647 w 489"/>
                  <a:gd name="T75" fmla="*/ 2147483647 h 228"/>
                  <a:gd name="T76" fmla="*/ 2147483647 w 489"/>
                  <a:gd name="T77" fmla="*/ 2147483647 h 228"/>
                  <a:gd name="T78" fmla="*/ 2147483647 w 489"/>
                  <a:gd name="T79" fmla="*/ 2147483647 h 228"/>
                  <a:gd name="T80" fmla="*/ 2147483647 w 489"/>
                  <a:gd name="T81" fmla="*/ 2147483647 h 228"/>
                  <a:gd name="T82" fmla="*/ 2147483647 w 489"/>
                  <a:gd name="T83" fmla="*/ 2147483647 h 228"/>
                  <a:gd name="T84" fmla="*/ 2147483647 w 489"/>
                  <a:gd name="T85" fmla="*/ 2147483647 h 228"/>
                  <a:gd name="T86" fmla="*/ 2147483647 w 489"/>
                  <a:gd name="T87" fmla="*/ 2147483647 h 228"/>
                  <a:gd name="T88" fmla="*/ 2147483647 w 489"/>
                  <a:gd name="T89" fmla="*/ 2147483647 h 228"/>
                  <a:gd name="T90" fmla="*/ 2147483647 w 489"/>
                  <a:gd name="T91" fmla="*/ 2147483647 h 228"/>
                  <a:gd name="T92" fmla="*/ 2147483647 w 489"/>
                  <a:gd name="T93" fmla="*/ 2147483647 h 228"/>
                  <a:gd name="T94" fmla="*/ 2147483647 w 489"/>
                  <a:gd name="T95" fmla="*/ 2147483647 h 228"/>
                  <a:gd name="T96" fmla="*/ 2147483647 w 489"/>
                  <a:gd name="T97" fmla="*/ 2147483647 h 228"/>
                  <a:gd name="T98" fmla="*/ 2147483647 w 489"/>
                  <a:gd name="T99" fmla="*/ 2147483647 h 228"/>
                  <a:gd name="T100" fmla="*/ 2147483647 w 489"/>
                  <a:gd name="T101" fmla="*/ 2147483647 h 228"/>
                  <a:gd name="T102" fmla="*/ 2147483647 w 489"/>
                  <a:gd name="T103" fmla="*/ 2147483647 h 228"/>
                  <a:gd name="T104" fmla="*/ 2147483647 w 489"/>
                  <a:gd name="T105" fmla="*/ 2147483647 h 228"/>
                  <a:gd name="T106" fmla="*/ 2147483647 w 489"/>
                  <a:gd name="T107" fmla="*/ 2147483647 h 228"/>
                  <a:gd name="T108" fmla="*/ 2147483647 w 489"/>
                  <a:gd name="T109" fmla="*/ 2147483647 h 228"/>
                  <a:gd name="T110" fmla="*/ 2147483647 w 489"/>
                  <a:gd name="T111" fmla="*/ 2147483647 h 228"/>
                  <a:gd name="T112" fmla="*/ 2147483647 w 489"/>
                  <a:gd name="T113" fmla="*/ 2147483647 h 228"/>
                  <a:gd name="T114" fmla="*/ 2147483647 w 489"/>
                  <a:gd name="T115" fmla="*/ 2147483647 h 2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89" h="228">
                    <a:moveTo>
                      <a:pt x="481" y="212"/>
                    </a:moveTo>
                    <a:cubicBezTo>
                      <a:pt x="8" y="212"/>
                      <a:pt x="8" y="212"/>
                      <a:pt x="8" y="212"/>
                    </a:cubicBezTo>
                    <a:cubicBezTo>
                      <a:pt x="3" y="212"/>
                      <a:pt x="0" y="216"/>
                      <a:pt x="0" y="220"/>
                    </a:cubicBezTo>
                    <a:cubicBezTo>
                      <a:pt x="0" y="224"/>
                      <a:pt x="3" y="228"/>
                      <a:pt x="8" y="228"/>
                    </a:cubicBezTo>
                    <a:cubicBezTo>
                      <a:pt x="481" y="228"/>
                      <a:pt x="481" y="228"/>
                      <a:pt x="481" y="228"/>
                    </a:cubicBezTo>
                    <a:cubicBezTo>
                      <a:pt x="485" y="228"/>
                      <a:pt x="489" y="224"/>
                      <a:pt x="489" y="220"/>
                    </a:cubicBezTo>
                    <a:cubicBezTo>
                      <a:pt x="489" y="216"/>
                      <a:pt x="485" y="212"/>
                      <a:pt x="481" y="212"/>
                    </a:cubicBezTo>
                    <a:close/>
                    <a:moveTo>
                      <a:pt x="291" y="99"/>
                    </a:moveTo>
                    <a:cubicBezTo>
                      <a:pt x="340" y="99"/>
                      <a:pt x="340" y="99"/>
                      <a:pt x="340" y="99"/>
                    </a:cubicBezTo>
                    <a:cubicBezTo>
                      <a:pt x="346" y="99"/>
                      <a:pt x="351" y="94"/>
                      <a:pt x="351" y="88"/>
                    </a:cubicBezTo>
                    <a:cubicBezTo>
                      <a:pt x="351" y="80"/>
                      <a:pt x="351" y="80"/>
                      <a:pt x="351" y="80"/>
                    </a:cubicBezTo>
                    <a:cubicBezTo>
                      <a:pt x="351" y="74"/>
                      <a:pt x="346" y="69"/>
                      <a:pt x="340" y="69"/>
                    </a:cubicBezTo>
                    <a:cubicBezTo>
                      <a:pt x="291" y="69"/>
                      <a:pt x="291" y="69"/>
                      <a:pt x="291" y="69"/>
                    </a:cubicBezTo>
                    <a:cubicBezTo>
                      <a:pt x="285" y="69"/>
                      <a:pt x="280" y="74"/>
                      <a:pt x="280" y="80"/>
                    </a:cubicBezTo>
                    <a:cubicBezTo>
                      <a:pt x="280" y="88"/>
                      <a:pt x="280" y="88"/>
                      <a:pt x="280" y="88"/>
                    </a:cubicBezTo>
                    <a:cubicBezTo>
                      <a:pt x="280" y="94"/>
                      <a:pt x="285" y="99"/>
                      <a:pt x="291" y="99"/>
                    </a:cubicBezTo>
                    <a:close/>
                    <a:moveTo>
                      <a:pt x="57" y="170"/>
                    </a:moveTo>
                    <a:cubicBezTo>
                      <a:pt x="71" y="170"/>
                      <a:pt x="71" y="170"/>
                      <a:pt x="71" y="170"/>
                    </a:cubicBezTo>
                    <a:cubicBezTo>
                      <a:pt x="76" y="181"/>
                      <a:pt x="87" y="187"/>
                      <a:pt x="99" y="187"/>
                    </a:cubicBezTo>
                    <a:cubicBezTo>
                      <a:pt x="117" y="187"/>
                      <a:pt x="131" y="173"/>
                      <a:pt x="131" y="156"/>
                    </a:cubicBezTo>
                    <a:cubicBezTo>
                      <a:pt x="139" y="156"/>
                      <a:pt x="139" y="156"/>
                      <a:pt x="139" y="156"/>
                    </a:cubicBezTo>
                    <a:cubicBezTo>
                      <a:pt x="140" y="173"/>
                      <a:pt x="154" y="187"/>
                      <a:pt x="172" y="187"/>
                    </a:cubicBezTo>
                    <a:cubicBezTo>
                      <a:pt x="184" y="187"/>
                      <a:pt x="194" y="181"/>
                      <a:pt x="200" y="170"/>
                    </a:cubicBezTo>
                    <a:cubicBezTo>
                      <a:pt x="281" y="170"/>
                      <a:pt x="281" y="170"/>
                      <a:pt x="281" y="170"/>
                    </a:cubicBezTo>
                    <a:cubicBezTo>
                      <a:pt x="286" y="181"/>
                      <a:pt x="297" y="187"/>
                      <a:pt x="309" y="187"/>
                    </a:cubicBezTo>
                    <a:cubicBezTo>
                      <a:pt x="327" y="187"/>
                      <a:pt x="341" y="173"/>
                      <a:pt x="341" y="156"/>
                    </a:cubicBezTo>
                    <a:cubicBezTo>
                      <a:pt x="349" y="156"/>
                      <a:pt x="349" y="156"/>
                      <a:pt x="349" y="156"/>
                    </a:cubicBezTo>
                    <a:cubicBezTo>
                      <a:pt x="350" y="173"/>
                      <a:pt x="364" y="187"/>
                      <a:pt x="382" y="187"/>
                    </a:cubicBezTo>
                    <a:cubicBezTo>
                      <a:pt x="394" y="187"/>
                      <a:pt x="404" y="181"/>
                      <a:pt x="410" y="170"/>
                    </a:cubicBezTo>
                    <a:cubicBezTo>
                      <a:pt x="432" y="170"/>
                      <a:pt x="432" y="170"/>
                      <a:pt x="432" y="170"/>
                    </a:cubicBezTo>
                    <a:cubicBezTo>
                      <a:pt x="450" y="170"/>
                      <a:pt x="464" y="156"/>
                      <a:pt x="464" y="138"/>
                    </a:cubicBezTo>
                    <a:cubicBezTo>
                      <a:pt x="464" y="116"/>
                      <a:pt x="464" y="116"/>
                      <a:pt x="464" y="116"/>
                    </a:cubicBezTo>
                    <a:cubicBezTo>
                      <a:pt x="464" y="77"/>
                      <a:pt x="400" y="28"/>
                      <a:pt x="349" y="28"/>
                    </a:cubicBezTo>
                    <a:cubicBezTo>
                      <a:pt x="115" y="28"/>
                      <a:pt x="115" y="28"/>
                      <a:pt x="115" y="28"/>
                    </a:cubicBezTo>
                    <a:cubicBezTo>
                      <a:pt x="115" y="16"/>
                      <a:pt x="115" y="16"/>
                      <a:pt x="115" y="16"/>
                    </a:cubicBezTo>
                    <a:cubicBezTo>
                      <a:pt x="152" y="16"/>
                      <a:pt x="152" y="16"/>
                      <a:pt x="152" y="16"/>
                    </a:cubicBezTo>
                    <a:cubicBezTo>
                      <a:pt x="156" y="16"/>
                      <a:pt x="160" y="12"/>
                      <a:pt x="160" y="8"/>
                    </a:cubicBezTo>
                    <a:cubicBezTo>
                      <a:pt x="160" y="3"/>
                      <a:pt x="156" y="0"/>
                      <a:pt x="152" y="0"/>
                    </a:cubicBezTo>
                    <a:cubicBezTo>
                      <a:pt x="62" y="0"/>
                      <a:pt x="62" y="0"/>
                      <a:pt x="62" y="0"/>
                    </a:cubicBezTo>
                    <a:cubicBezTo>
                      <a:pt x="58" y="0"/>
                      <a:pt x="54" y="3"/>
                      <a:pt x="54" y="8"/>
                    </a:cubicBezTo>
                    <a:cubicBezTo>
                      <a:pt x="54" y="12"/>
                      <a:pt x="58" y="16"/>
                      <a:pt x="62" y="16"/>
                    </a:cubicBezTo>
                    <a:cubicBezTo>
                      <a:pt x="99" y="16"/>
                      <a:pt x="99" y="16"/>
                      <a:pt x="99" y="16"/>
                    </a:cubicBezTo>
                    <a:cubicBezTo>
                      <a:pt x="99" y="28"/>
                      <a:pt x="99" y="28"/>
                      <a:pt x="99" y="28"/>
                    </a:cubicBezTo>
                    <a:cubicBezTo>
                      <a:pt x="57" y="28"/>
                      <a:pt x="57" y="28"/>
                      <a:pt x="57" y="28"/>
                    </a:cubicBezTo>
                    <a:cubicBezTo>
                      <a:pt x="39" y="28"/>
                      <a:pt x="25" y="43"/>
                      <a:pt x="25" y="60"/>
                    </a:cubicBezTo>
                    <a:cubicBezTo>
                      <a:pt x="25" y="69"/>
                      <a:pt x="25" y="69"/>
                      <a:pt x="25" y="69"/>
                    </a:cubicBezTo>
                    <a:cubicBezTo>
                      <a:pt x="25" y="74"/>
                      <a:pt x="28" y="77"/>
                      <a:pt x="33" y="77"/>
                    </a:cubicBezTo>
                    <a:cubicBezTo>
                      <a:pt x="37" y="77"/>
                      <a:pt x="41" y="74"/>
                      <a:pt x="41" y="69"/>
                    </a:cubicBezTo>
                    <a:cubicBezTo>
                      <a:pt x="41" y="60"/>
                      <a:pt x="41" y="60"/>
                      <a:pt x="41" y="60"/>
                    </a:cubicBezTo>
                    <a:cubicBezTo>
                      <a:pt x="41" y="52"/>
                      <a:pt x="48" y="44"/>
                      <a:pt x="57" y="44"/>
                    </a:cubicBezTo>
                    <a:cubicBezTo>
                      <a:pt x="349" y="44"/>
                      <a:pt x="349" y="44"/>
                      <a:pt x="349" y="44"/>
                    </a:cubicBezTo>
                    <a:cubicBezTo>
                      <a:pt x="371" y="44"/>
                      <a:pt x="395" y="55"/>
                      <a:pt x="414" y="69"/>
                    </a:cubicBezTo>
                    <a:cubicBezTo>
                      <a:pt x="396" y="69"/>
                      <a:pt x="396" y="69"/>
                      <a:pt x="396" y="69"/>
                    </a:cubicBezTo>
                    <a:cubicBezTo>
                      <a:pt x="389" y="69"/>
                      <a:pt x="384" y="74"/>
                      <a:pt x="384" y="80"/>
                    </a:cubicBezTo>
                    <a:cubicBezTo>
                      <a:pt x="384" y="88"/>
                      <a:pt x="384" y="88"/>
                      <a:pt x="384" y="88"/>
                    </a:cubicBezTo>
                    <a:cubicBezTo>
                      <a:pt x="384" y="94"/>
                      <a:pt x="389" y="99"/>
                      <a:pt x="396" y="99"/>
                    </a:cubicBezTo>
                    <a:cubicBezTo>
                      <a:pt x="442" y="99"/>
                      <a:pt x="442" y="99"/>
                      <a:pt x="442" y="99"/>
                    </a:cubicBezTo>
                    <a:cubicBezTo>
                      <a:pt x="446" y="105"/>
                      <a:pt x="448" y="111"/>
                      <a:pt x="448" y="116"/>
                    </a:cubicBezTo>
                    <a:cubicBezTo>
                      <a:pt x="448" y="138"/>
                      <a:pt x="448" y="138"/>
                      <a:pt x="448" y="138"/>
                    </a:cubicBezTo>
                    <a:cubicBezTo>
                      <a:pt x="448" y="147"/>
                      <a:pt x="441" y="154"/>
                      <a:pt x="432" y="154"/>
                    </a:cubicBezTo>
                    <a:cubicBezTo>
                      <a:pt x="410" y="154"/>
                      <a:pt x="410" y="154"/>
                      <a:pt x="410" y="154"/>
                    </a:cubicBezTo>
                    <a:cubicBezTo>
                      <a:pt x="401" y="143"/>
                      <a:pt x="401" y="143"/>
                      <a:pt x="401" y="143"/>
                    </a:cubicBezTo>
                    <a:cubicBezTo>
                      <a:pt x="399" y="141"/>
                      <a:pt x="397" y="140"/>
                      <a:pt x="395" y="140"/>
                    </a:cubicBezTo>
                    <a:cubicBezTo>
                      <a:pt x="295" y="140"/>
                      <a:pt x="295" y="140"/>
                      <a:pt x="295" y="140"/>
                    </a:cubicBezTo>
                    <a:cubicBezTo>
                      <a:pt x="292" y="140"/>
                      <a:pt x="290" y="141"/>
                      <a:pt x="288" y="143"/>
                    </a:cubicBezTo>
                    <a:cubicBezTo>
                      <a:pt x="281" y="154"/>
                      <a:pt x="281" y="154"/>
                      <a:pt x="281" y="154"/>
                    </a:cubicBezTo>
                    <a:cubicBezTo>
                      <a:pt x="199" y="154"/>
                      <a:pt x="199" y="154"/>
                      <a:pt x="199" y="154"/>
                    </a:cubicBezTo>
                    <a:cubicBezTo>
                      <a:pt x="191" y="143"/>
                      <a:pt x="191" y="143"/>
                      <a:pt x="191" y="143"/>
                    </a:cubicBezTo>
                    <a:cubicBezTo>
                      <a:pt x="189" y="141"/>
                      <a:pt x="187" y="140"/>
                      <a:pt x="184" y="140"/>
                    </a:cubicBezTo>
                    <a:cubicBezTo>
                      <a:pt x="85" y="140"/>
                      <a:pt x="85" y="140"/>
                      <a:pt x="85" y="140"/>
                    </a:cubicBezTo>
                    <a:cubicBezTo>
                      <a:pt x="82" y="140"/>
                      <a:pt x="80" y="141"/>
                      <a:pt x="78" y="143"/>
                    </a:cubicBezTo>
                    <a:cubicBezTo>
                      <a:pt x="71" y="154"/>
                      <a:pt x="71" y="154"/>
                      <a:pt x="71" y="154"/>
                    </a:cubicBezTo>
                    <a:cubicBezTo>
                      <a:pt x="57" y="154"/>
                      <a:pt x="57" y="154"/>
                      <a:pt x="57" y="154"/>
                    </a:cubicBezTo>
                    <a:cubicBezTo>
                      <a:pt x="48" y="154"/>
                      <a:pt x="41" y="147"/>
                      <a:pt x="41" y="138"/>
                    </a:cubicBezTo>
                    <a:cubicBezTo>
                      <a:pt x="41" y="100"/>
                      <a:pt x="41" y="100"/>
                      <a:pt x="41" y="100"/>
                    </a:cubicBezTo>
                    <a:cubicBezTo>
                      <a:pt x="41" y="96"/>
                      <a:pt x="37" y="92"/>
                      <a:pt x="33" y="92"/>
                    </a:cubicBezTo>
                    <a:cubicBezTo>
                      <a:pt x="28" y="92"/>
                      <a:pt x="25" y="96"/>
                      <a:pt x="25" y="100"/>
                    </a:cubicBezTo>
                    <a:cubicBezTo>
                      <a:pt x="25" y="138"/>
                      <a:pt x="25" y="138"/>
                      <a:pt x="25" y="138"/>
                    </a:cubicBezTo>
                    <a:cubicBezTo>
                      <a:pt x="25" y="156"/>
                      <a:pt x="39" y="170"/>
                      <a:pt x="57" y="170"/>
                    </a:cubicBezTo>
                    <a:close/>
                    <a:moveTo>
                      <a:pt x="391" y="156"/>
                    </a:moveTo>
                    <a:cubicBezTo>
                      <a:pt x="396" y="163"/>
                      <a:pt x="396" y="163"/>
                      <a:pt x="396" y="163"/>
                    </a:cubicBezTo>
                    <a:cubicBezTo>
                      <a:pt x="393" y="168"/>
                      <a:pt x="388" y="171"/>
                      <a:pt x="382" y="171"/>
                    </a:cubicBezTo>
                    <a:cubicBezTo>
                      <a:pt x="373" y="171"/>
                      <a:pt x="366" y="164"/>
                      <a:pt x="365" y="156"/>
                    </a:cubicBezTo>
                    <a:lnTo>
                      <a:pt x="391" y="156"/>
                    </a:lnTo>
                    <a:close/>
                    <a:moveTo>
                      <a:pt x="299" y="156"/>
                    </a:moveTo>
                    <a:cubicBezTo>
                      <a:pt x="325" y="156"/>
                      <a:pt x="325" y="156"/>
                      <a:pt x="325" y="156"/>
                    </a:cubicBezTo>
                    <a:cubicBezTo>
                      <a:pt x="325" y="164"/>
                      <a:pt x="318" y="171"/>
                      <a:pt x="309" y="171"/>
                    </a:cubicBezTo>
                    <a:cubicBezTo>
                      <a:pt x="303" y="171"/>
                      <a:pt x="297" y="168"/>
                      <a:pt x="295" y="163"/>
                    </a:cubicBezTo>
                    <a:lnTo>
                      <a:pt x="299" y="156"/>
                    </a:lnTo>
                    <a:close/>
                    <a:moveTo>
                      <a:pt x="180" y="156"/>
                    </a:moveTo>
                    <a:cubicBezTo>
                      <a:pt x="186" y="163"/>
                      <a:pt x="186" y="163"/>
                      <a:pt x="186" y="163"/>
                    </a:cubicBezTo>
                    <a:cubicBezTo>
                      <a:pt x="183" y="168"/>
                      <a:pt x="178" y="171"/>
                      <a:pt x="172" y="171"/>
                    </a:cubicBezTo>
                    <a:cubicBezTo>
                      <a:pt x="163" y="171"/>
                      <a:pt x="156" y="164"/>
                      <a:pt x="156" y="156"/>
                    </a:cubicBezTo>
                    <a:lnTo>
                      <a:pt x="180" y="156"/>
                    </a:lnTo>
                    <a:close/>
                    <a:moveTo>
                      <a:pt x="89" y="156"/>
                    </a:moveTo>
                    <a:cubicBezTo>
                      <a:pt x="115" y="156"/>
                      <a:pt x="115" y="156"/>
                      <a:pt x="115" y="156"/>
                    </a:cubicBezTo>
                    <a:cubicBezTo>
                      <a:pt x="115" y="164"/>
                      <a:pt x="108" y="171"/>
                      <a:pt x="99" y="171"/>
                    </a:cubicBezTo>
                    <a:cubicBezTo>
                      <a:pt x="93" y="171"/>
                      <a:pt x="87" y="168"/>
                      <a:pt x="85" y="162"/>
                    </a:cubicBezTo>
                    <a:lnTo>
                      <a:pt x="89" y="156"/>
                    </a:lnTo>
                    <a:close/>
                    <a:moveTo>
                      <a:pt x="236" y="99"/>
                    </a:moveTo>
                    <a:cubicBezTo>
                      <a:pt x="242" y="99"/>
                      <a:pt x="247" y="94"/>
                      <a:pt x="247" y="88"/>
                    </a:cubicBezTo>
                    <a:cubicBezTo>
                      <a:pt x="247" y="80"/>
                      <a:pt x="247" y="80"/>
                      <a:pt x="247" y="80"/>
                    </a:cubicBezTo>
                    <a:cubicBezTo>
                      <a:pt x="247" y="74"/>
                      <a:pt x="242" y="69"/>
                      <a:pt x="236" y="69"/>
                    </a:cubicBezTo>
                    <a:cubicBezTo>
                      <a:pt x="187" y="69"/>
                      <a:pt x="187" y="69"/>
                      <a:pt x="187" y="69"/>
                    </a:cubicBezTo>
                    <a:cubicBezTo>
                      <a:pt x="181" y="69"/>
                      <a:pt x="175" y="74"/>
                      <a:pt x="175" y="80"/>
                    </a:cubicBezTo>
                    <a:cubicBezTo>
                      <a:pt x="175" y="88"/>
                      <a:pt x="175" y="88"/>
                      <a:pt x="175" y="88"/>
                    </a:cubicBezTo>
                    <a:cubicBezTo>
                      <a:pt x="175" y="94"/>
                      <a:pt x="181" y="99"/>
                      <a:pt x="187" y="99"/>
                    </a:cubicBezTo>
                    <a:lnTo>
                      <a:pt x="236" y="99"/>
                    </a:lnTo>
                    <a:close/>
                    <a:moveTo>
                      <a:pt x="131" y="99"/>
                    </a:moveTo>
                    <a:cubicBezTo>
                      <a:pt x="138" y="99"/>
                      <a:pt x="143" y="94"/>
                      <a:pt x="143" y="88"/>
                    </a:cubicBezTo>
                    <a:cubicBezTo>
                      <a:pt x="143" y="80"/>
                      <a:pt x="143" y="80"/>
                      <a:pt x="143" y="80"/>
                    </a:cubicBezTo>
                    <a:cubicBezTo>
                      <a:pt x="143" y="74"/>
                      <a:pt x="138" y="69"/>
                      <a:pt x="131" y="69"/>
                    </a:cubicBezTo>
                    <a:cubicBezTo>
                      <a:pt x="82" y="69"/>
                      <a:pt x="82" y="69"/>
                      <a:pt x="82" y="69"/>
                    </a:cubicBezTo>
                    <a:cubicBezTo>
                      <a:pt x="76" y="69"/>
                      <a:pt x="71" y="74"/>
                      <a:pt x="71" y="80"/>
                    </a:cubicBezTo>
                    <a:cubicBezTo>
                      <a:pt x="71" y="88"/>
                      <a:pt x="71" y="88"/>
                      <a:pt x="71" y="88"/>
                    </a:cubicBezTo>
                    <a:cubicBezTo>
                      <a:pt x="71" y="94"/>
                      <a:pt x="76" y="99"/>
                      <a:pt x="82" y="99"/>
                    </a:cubicBezTo>
                    <a:lnTo>
                      <a:pt x="131" y="99"/>
                    </a:lnTo>
                    <a:close/>
                  </a:path>
                </a:pathLst>
              </a:custGeom>
              <a:grpFill/>
              <a:ln>
                <a:noFill/>
              </a:ln>
            </p:spPr>
            <p:txBody>
              <a:bodyPr/>
              <a:lstStyle/>
              <a:p>
                <a:endParaRPr lang="sv-SE" dirty="0">
                  <a:solidFill>
                    <a:srgbClr val="58585A"/>
                  </a:solidFill>
                </a:endParaRPr>
              </a:p>
            </p:txBody>
          </p:sp>
          <p:sp>
            <p:nvSpPr>
              <p:cNvPr id="97" name="Freeform 3">
                <a:extLst>
                  <a:ext uri="{FF2B5EF4-FFF2-40B4-BE49-F238E27FC236}">
                    <a16:creationId xmlns:a16="http://schemas.microsoft.com/office/drawing/2014/main" id="{923F5C97-48F5-4733-92EA-B7AD4D578E61}"/>
                  </a:ext>
                </a:extLst>
              </p:cNvPr>
              <p:cNvSpPr>
                <a:spLocks noChangeAspect="1" noEditPoints="1"/>
              </p:cNvSpPr>
              <p:nvPr/>
            </p:nvSpPr>
            <p:spPr bwMode="auto">
              <a:xfrm>
                <a:off x="-2282261" y="2691624"/>
                <a:ext cx="339160" cy="462188"/>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grpFill/>
              <a:ln>
                <a:noFill/>
              </a:ln>
            </p:spPr>
            <p:txBody>
              <a:bodyPr/>
              <a:lstStyle/>
              <a:p>
                <a:endParaRPr lang="sv-SE" dirty="0">
                  <a:solidFill>
                    <a:srgbClr val="58585A"/>
                  </a:solidFill>
                </a:endParaRPr>
              </a:p>
            </p:txBody>
          </p:sp>
          <p:sp>
            <p:nvSpPr>
              <p:cNvPr id="98" name="Freeform 3">
                <a:extLst>
                  <a:ext uri="{FF2B5EF4-FFF2-40B4-BE49-F238E27FC236}">
                    <a16:creationId xmlns:a16="http://schemas.microsoft.com/office/drawing/2014/main" id="{DF129373-6C40-464D-81B2-BF9137325776}"/>
                  </a:ext>
                </a:extLst>
              </p:cNvPr>
              <p:cNvSpPr>
                <a:spLocks noChangeAspect="1"/>
              </p:cNvSpPr>
              <p:nvPr/>
            </p:nvSpPr>
            <p:spPr bwMode="auto">
              <a:xfrm>
                <a:off x="-1870075" y="2466975"/>
                <a:ext cx="426620" cy="657225"/>
              </a:xfrm>
              <a:custGeom>
                <a:avLst/>
                <a:gdLst>
                  <a:gd name="T0" fmla="*/ 2147483647 w 266"/>
                  <a:gd name="T1" fmla="*/ 2147483647 h 410"/>
                  <a:gd name="T2" fmla="*/ 2147483647 w 266"/>
                  <a:gd name="T3" fmla="*/ 2147483647 h 410"/>
                  <a:gd name="T4" fmla="*/ 2147483647 w 266"/>
                  <a:gd name="T5" fmla="*/ 2147483647 h 410"/>
                  <a:gd name="T6" fmla="*/ 2147483647 w 266"/>
                  <a:gd name="T7" fmla="*/ 2147483647 h 410"/>
                  <a:gd name="T8" fmla="*/ 2147483647 w 266"/>
                  <a:gd name="T9" fmla="*/ 2147483647 h 410"/>
                  <a:gd name="T10" fmla="*/ 2147483647 w 266"/>
                  <a:gd name="T11" fmla="*/ 2147483647 h 410"/>
                  <a:gd name="T12" fmla="*/ 2147483647 w 266"/>
                  <a:gd name="T13" fmla="*/ 2147483647 h 410"/>
                  <a:gd name="T14" fmla="*/ 2147483647 w 266"/>
                  <a:gd name="T15" fmla="*/ 2147483647 h 410"/>
                  <a:gd name="T16" fmla="*/ 2147483647 w 266"/>
                  <a:gd name="T17" fmla="*/ 2147483647 h 410"/>
                  <a:gd name="T18" fmla="*/ 2147483647 w 266"/>
                  <a:gd name="T19" fmla="*/ 2147483647 h 410"/>
                  <a:gd name="T20" fmla="*/ 2147483647 w 266"/>
                  <a:gd name="T21" fmla="*/ 0 h 410"/>
                  <a:gd name="T22" fmla="*/ 2147483647 w 266"/>
                  <a:gd name="T23" fmla="*/ 2147483647 h 410"/>
                  <a:gd name="T24" fmla="*/ 2147483647 w 266"/>
                  <a:gd name="T25" fmla="*/ 2147483647 h 410"/>
                  <a:gd name="T26" fmla="*/ 2147483647 w 266"/>
                  <a:gd name="T27" fmla="*/ 2147483647 h 410"/>
                  <a:gd name="T28" fmla="*/ 2147483647 w 266"/>
                  <a:gd name="T29" fmla="*/ 2147483647 h 410"/>
                  <a:gd name="T30" fmla="*/ 2147483647 w 266"/>
                  <a:gd name="T31" fmla="*/ 2147483647 h 410"/>
                  <a:gd name="T32" fmla="*/ 2147483647 w 266"/>
                  <a:gd name="T33" fmla="*/ 2147483647 h 410"/>
                  <a:gd name="T34" fmla="*/ 2147483647 w 266"/>
                  <a:gd name="T35" fmla="*/ 2147483647 h 410"/>
                  <a:gd name="T36" fmla="*/ 2147483647 w 266"/>
                  <a:gd name="T37" fmla="*/ 2147483647 h 410"/>
                  <a:gd name="T38" fmla="*/ 2147483647 w 266"/>
                  <a:gd name="T39" fmla="*/ 2147483647 h 410"/>
                  <a:gd name="T40" fmla="*/ 2147483647 w 266"/>
                  <a:gd name="T41" fmla="*/ 2147483647 h 410"/>
                  <a:gd name="T42" fmla="*/ 2147483647 w 266"/>
                  <a:gd name="T43" fmla="*/ 2147483647 h 410"/>
                  <a:gd name="T44" fmla="*/ 0 w 266"/>
                  <a:gd name="T45" fmla="*/ 2147483647 h 410"/>
                  <a:gd name="T46" fmla="*/ 2147483647 w 266"/>
                  <a:gd name="T47" fmla="*/ 2147483647 h 410"/>
                  <a:gd name="T48" fmla="*/ 2147483647 w 266"/>
                  <a:gd name="T49" fmla="*/ 2147483647 h 410"/>
                  <a:gd name="T50" fmla="*/ 2147483647 w 266"/>
                  <a:gd name="T51" fmla="*/ 2147483647 h 410"/>
                  <a:gd name="T52" fmla="*/ 2147483647 w 266"/>
                  <a:gd name="T53" fmla="*/ 2147483647 h 410"/>
                  <a:gd name="T54" fmla="*/ 2147483647 w 266"/>
                  <a:gd name="T55" fmla="*/ 2147483647 h 410"/>
                  <a:gd name="T56" fmla="*/ 2147483647 w 266"/>
                  <a:gd name="T57" fmla="*/ 2147483647 h 410"/>
                  <a:gd name="T58" fmla="*/ 2147483647 w 266"/>
                  <a:gd name="T59" fmla="*/ 2147483647 h 410"/>
                  <a:gd name="T60" fmla="*/ 2147483647 w 266"/>
                  <a:gd name="T61" fmla="*/ 2147483647 h 410"/>
                  <a:gd name="T62" fmla="*/ 2147483647 w 266"/>
                  <a:gd name="T63" fmla="*/ 2147483647 h 410"/>
                  <a:gd name="T64" fmla="*/ 2147483647 w 266"/>
                  <a:gd name="T65" fmla="*/ 2147483647 h 410"/>
                  <a:gd name="T66" fmla="*/ 2147483647 w 266"/>
                  <a:gd name="T67" fmla="*/ 2147483647 h 410"/>
                  <a:gd name="T68" fmla="*/ 2147483647 w 266"/>
                  <a:gd name="T69" fmla="*/ 2147483647 h 410"/>
                  <a:gd name="T70" fmla="*/ 2147483647 w 266"/>
                  <a:gd name="T71" fmla="*/ 2147483647 h 410"/>
                  <a:gd name="T72" fmla="*/ 2147483647 w 266"/>
                  <a:gd name="T73" fmla="*/ 2147483647 h 410"/>
                  <a:gd name="T74" fmla="*/ 2147483647 w 266"/>
                  <a:gd name="T75" fmla="*/ 2147483647 h 410"/>
                  <a:gd name="T76" fmla="*/ 2147483647 w 266"/>
                  <a:gd name="T77" fmla="*/ 2147483647 h 410"/>
                  <a:gd name="T78" fmla="*/ 2147483647 w 266"/>
                  <a:gd name="T79" fmla="*/ 2147483647 h 410"/>
                  <a:gd name="T80" fmla="*/ 2147483647 w 266"/>
                  <a:gd name="T81" fmla="*/ 2147483647 h 410"/>
                  <a:gd name="T82" fmla="*/ 2147483647 w 266"/>
                  <a:gd name="T83" fmla="*/ 2147483647 h 410"/>
                  <a:gd name="T84" fmla="*/ 2147483647 w 266"/>
                  <a:gd name="T85" fmla="*/ 2147483647 h 410"/>
                  <a:gd name="T86" fmla="*/ 2147483647 w 266"/>
                  <a:gd name="T87" fmla="*/ 2147483647 h 410"/>
                  <a:gd name="T88" fmla="*/ 2147483647 w 266"/>
                  <a:gd name="T89" fmla="*/ 2147483647 h 410"/>
                  <a:gd name="T90" fmla="*/ 2147483647 w 266"/>
                  <a:gd name="T91" fmla="*/ 2147483647 h 410"/>
                  <a:gd name="T92" fmla="*/ 2147483647 w 266"/>
                  <a:gd name="T93" fmla="*/ 2147483647 h 410"/>
                  <a:gd name="T94" fmla="*/ 2147483647 w 266"/>
                  <a:gd name="T95" fmla="*/ 2147483647 h 410"/>
                  <a:gd name="T96" fmla="*/ 2147483647 w 266"/>
                  <a:gd name="T97" fmla="*/ 2147483647 h 410"/>
                  <a:gd name="T98" fmla="*/ 2147483647 w 266"/>
                  <a:gd name="T99" fmla="*/ 2147483647 h 410"/>
                  <a:gd name="T100" fmla="*/ 2147483647 w 266"/>
                  <a:gd name="T101" fmla="*/ 2147483647 h 410"/>
                  <a:gd name="T102" fmla="*/ 2147483647 w 266"/>
                  <a:gd name="T103" fmla="*/ 2147483647 h 410"/>
                  <a:gd name="T104" fmla="*/ 2147483647 w 266"/>
                  <a:gd name="T105" fmla="*/ 2147483647 h 410"/>
                  <a:gd name="T106" fmla="*/ 2147483647 w 266"/>
                  <a:gd name="T107" fmla="*/ 2147483647 h 410"/>
                  <a:gd name="T108" fmla="*/ 2147483647 w 266"/>
                  <a:gd name="T109" fmla="*/ 2147483647 h 410"/>
                  <a:gd name="T110" fmla="*/ 2147483647 w 266"/>
                  <a:gd name="T111" fmla="*/ 2147483647 h 410"/>
                  <a:gd name="T112" fmla="*/ 2147483647 w 266"/>
                  <a:gd name="T113" fmla="*/ 2147483647 h 410"/>
                  <a:gd name="T114" fmla="*/ 2147483647 w 266"/>
                  <a:gd name="T115" fmla="*/ 2147483647 h 410"/>
                  <a:gd name="T116" fmla="*/ 2147483647 w 266"/>
                  <a:gd name="T117" fmla="*/ 2147483647 h 410"/>
                  <a:gd name="T118" fmla="*/ 2147483647 w 266"/>
                  <a:gd name="T119" fmla="*/ 2147483647 h 410"/>
                  <a:gd name="T120" fmla="*/ 2147483647 w 266"/>
                  <a:gd name="T121" fmla="*/ 2147483647 h 410"/>
                  <a:gd name="T122" fmla="*/ 2147483647 w 266"/>
                  <a:gd name="T123" fmla="*/ 2147483647 h 4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66" h="410">
                    <a:moveTo>
                      <a:pt x="253" y="57"/>
                    </a:moveTo>
                    <a:cubicBezTo>
                      <a:pt x="251" y="57"/>
                      <a:pt x="251" y="57"/>
                      <a:pt x="251" y="57"/>
                    </a:cubicBezTo>
                    <a:cubicBezTo>
                      <a:pt x="251" y="51"/>
                      <a:pt x="251" y="51"/>
                      <a:pt x="251" y="51"/>
                    </a:cubicBezTo>
                    <a:cubicBezTo>
                      <a:pt x="253" y="49"/>
                      <a:pt x="255" y="46"/>
                      <a:pt x="255" y="43"/>
                    </a:cubicBezTo>
                    <a:cubicBezTo>
                      <a:pt x="255" y="28"/>
                      <a:pt x="255" y="28"/>
                      <a:pt x="255" y="28"/>
                    </a:cubicBezTo>
                    <a:cubicBezTo>
                      <a:pt x="255" y="22"/>
                      <a:pt x="250" y="17"/>
                      <a:pt x="243" y="17"/>
                    </a:cubicBezTo>
                    <a:cubicBezTo>
                      <a:pt x="237" y="17"/>
                      <a:pt x="232" y="22"/>
                      <a:pt x="232" y="28"/>
                    </a:cubicBezTo>
                    <a:cubicBezTo>
                      <a:pt x="232" y="43"/>
                      <a:pt x="232" y="43"/>
                      <a:pt x="232" y="43"/>
                    </a:cubicBezTo>
                    <a:cubicBezTo>
                      <a:pt x="232" y="46"/>
                      <a:pt x="233" y="49"/>
                      <a:pt x="235" y="51"/>
                    </a:cubicBezTo>
                    <a:cubicBezTo>
                      <a:pt x="235" y="57"/>
                      <a:pt x="235" y="57"/>
                      <a:pt x="235" y="57"/>
                    </a:cubicBezTo>
                    <a:cubicBezTo>
                      <a:pt x="215" y="57"/>
                      <a:pt x="215" y="57"/>
                      <a:pt x="215" y="57"/>
                    </a:cubicBezTo>
                    <a:cubicBezTo>
                      <a:pt x="215" y="51"/>
                      <a:pt x="215" y="51"/>
                      <a:pt x="215" y="51"/>
                    </a:cubicBezTo>
                    <a:cubicBezTo>
                      <a:pt x="217" y="49"/>
                      <a:pt x="218" y="46"/>
                      <a:pt x="218" y="43"/>
                    </a:cubicBezTo>
                    <a:cubicBezTo>
                      <a:pt x="218" y="28"/>
                      <a:pt x="218" y="28"/>
                      <a:pt x="218" y="28"/>
                    </a:cubicBezTo>
                    <a:cubicBezTo>
                      <a:pt x="218" y="22"/>
                      <a:pt x="213" y="17"/>
                      <a:pt x="207" y="17"/>
                    </a:cubicBezTo>
                    <a:cubicBezTo>
                      <a:pt x="200" y="17"/>
                      <a:pt x="195" y="22"/>
                      <a:pt x="195" y="28"/>
                    </a:cubicBezTo>
                    <a:cubicBezTo>
                      <a:pt x="195" y="43"/>
                      <a:pt x="195" y="43"/>
                      <a:pt x="195" y="43"/>
                    </a:cubicBezTo>
                    <a:cubicBezTo>
                      <a:pt x="195" y="46"/>
                      <a:pt x="197" y="49"/>
                      <a:pt x="199" y="51"/>
                    </a:cubicBezTo>
                    <a:cubicBezTo>
                      <a:pt x="199" y="57"/>
                      <a:pt x="199" y="57"/>
                      <a:pt x="199" y="57"/>
                    </a:cubicBezTo>
                    <a:cubicBezTo>
                      <a:pt x="167" y="57"/>
                      <a:pt x="167" y="57"/>
                      <a:pt x="167" y="57"/>
                    </a:cubicBezTo>
                    <a:cubicBezTo>
                      <a:pt x="167" y="25"/>
                      <a:pt x="167" y="25"/>
                      <a:pt x="167" y="25"/>
                    </a:cubicBezTo>
                    <a:cubicBezTo>
                      <a:pt x="167" y="11"/>
                      <a:pt x="155" y="0"/>
                      <a:pt x="142" y="0"/>
                    </a:cubicBezTo>
                    <a:cubicBezTo>
                      <a:pt x="125" y="0"/>
                      <a:pt x="125" y="0"/>
                      <a:pt x="125" y="0"/>
                    </a:cubicBezTo>
                    <a:cubicBezTo>
                      <a:pt x="111" y="0"/>
                      <a:pt x="100" y="11"/>
                      <a:pt x="100" y="25"/>
                    </a:cubicBezTo>
                    <a:cubicBezTo>
                      <a:pt x="100" y="57"/>
                      <a:pt x="100" y="57"/>
                      <a:pt x="100" y="57"/>
                    </a:cubicBezTo>
                    <a:cubicBezTo>
                      <a:pt x="69" y="57"/>
                      <a:pt x="69" y="57"/>
                      <a:pt x="69" y="57"/>
                    </a:cubicBezTo>
                    <a:cubicBezTo>
                      <a:pt x="69" y="51"/>
                      <a:pt x="69" y="51"/>
                      <a:pt x="69" y="51"/>
                    </a:cubicBezTo>
                    <a:cubicBezTo>
                      <a:pt x="71" y="49"/>
                      <a:pt x="72" y="46"/>
                      <a:pt x="72" y="43"/>
                    </a:cubicBezTo>
                    <a:cubicBezTo>
                      <a:pt x="72" y="28"/>
                      <a:pt x="72" y="28"/>
                      <a:pt x="72" y="28"/>
                    </a:cubicBezTo>
                    <a:cubicBezTo>
                      <a:pt x="72" y="22"/>
                      <a:pt x="67" y="17"/>
                      <a:pt x="61" y="17"/>
                    </a:cubicBezTo>
                    <a:cubicBezTo>
                      <a:pt x="55" y="17"/>
                      <a:pt x="50" y="22"/>
                      <a:pt x="50" y="28"/>
                    </a:cubicBezTo>
                    <a:cubicBezTo>
                      <a:pt x="50" y="43"/>
                      <a:pt x="50" y="43"/>
                      <a:pt x="50" y="43"/>
                    </a:cubicBezTo>
                    <a:cubicBezTo>
                      <a:pt x="50" y="46"/>
                      <a:pt x="51" y="49"/>
                      <a:pt x="53" y="51"/>
                    </a:cubicBezTo>
                    <a:cubicBezTo>
                      <a:pt x="53" y="57"/>
                      <a:pt x="53" y="57"/>
                      <a:pt x="53" y="57"/>
                    </a:cubicBezTo>
                    <a:cubicBezTo>
                      <a:pt x="32" y="57"/>
                      <a:pt x="32" y="57"/>
                      <a:pt x="32" y="57"/>
                    </a:cubicBezTo>
                    <a:cubicBezTo>
                      <a:pt x="32" y="51"/>
                      <a:pt x="32" y="51"/>
                      <a:pt x="32" y="51"/>
                    </a:cubicBezTo>
                    <a:cubicBezTo>
                      <a:pt x="34" y="49"/>
                      <a:pt x="36" y="46"/>
                      <a:pt x="36" y="43"/>
                    </a:cubicBezTo>
                    <a:cubicBezTo>
                      <a:pt x="36" y="28"/>
                      <a:pt x="36" y="28"/>
                      <a:pt x="36" y="28"/>
                    </a:cubicBezTo>
                    <a:cubicBezTo>
                      <a:pt x="36" y="22"/>
                      <a:pt x="31" y="17"/>
                      <a:pt x="24" y="17"/>
                    </a:cubicBezTo>
                    <a:cubicBezTo>
                      <a:pt x="18" y="17"/>
                      <a:pt x="13" y="22"/>
                      <a:pt x="13" y="28"/>
                    </a:cubicBezTo>
                    <a:cubicBezTo>
                      <a:pt x="13" y="43"/>
                      <a:pt x="13" y="43"/>
                      <a:pt x="13" y="43"/>
                    </a:cubicBezTo>
                    <a:cubicBezTo>
                      <a:pt x="13" y="46"/>
                      <a:pt x="14" y="49"/>
                      <a:pt x="16" y="51"/>
                    </a:cubicBezTo>
                    <a:cubicBezTo>
                      <a:pt x="16" y="57"/>
                      <a:pt x="16" y="57"/>
                      <a:pt x="16" y="57"/>
                    </a:cubicBezTo>
                    <a:cubicBezTo>
                      <a:pt x="14" y="57"/>
                      <a:pt x="14" y="57"/>
                      <a:pt x="14" y="57"/>
                    </a:cubicBezTo>
                    <a:cubicBezTo>
                      <a:pt x="6" y="57"/>
                      <a:pt x="0" y="63"/>
                      <a:pt x="0" y="71"/>
                    </a:cubicBezTo>
                    <a:cubicBezTo>
                      <a:pt x="0" y="99"/>
                      <a:pt x="0" y="99"/>
                      <a:pt x="0" y="99"/>
                    </a:cubicBezTo>
                    <a:cubicBezTo>
                      <a:pt x="0" y="107"/>
                      <a:pt x="6" y="113"/>
                      <a:pt x="14" y="113"/>
                    </a:cubicBezTo>
                    <a:cubicBezTo>
                      <a:pt x="100" y="113"/>
                      <a:pt x="100" y="113"/>
                      <a:pt x="100" y="113"/>
                    </a:cubicBezTo>
                    <a:cubicBezTo>
                      <a:pt x="100" y="163"/>
                      <a:pt x="100" y="163"/>
                      <a:pt x="100" y="163"/>
                    </a:cubicBezTo>
                    <a:cubicBezTo>
                      <a:pt x="62" y="163"/>
                      <a:pt x="62" y="163"/>
                      <a:pt x="62" y="163"/>
                    </a:cubicBezTo>
                    <a:cubicBezTo>
                      <a:pt x="62" y="156"/>
                      <a:pt x="62" y="156"/>
                      <a:pt x="62" y="156"/>
                    </a:cubicBezTo>
                    <a:cubicBezTo>
                      <a:pt x="64" y="154"/>
                      <a:pt x="65" y="151"/>
                      <a:pt x="65" y="148"/>
                    </a:cubicBezTo>
                    <a:cubicBezTo>
                      <a:pt x="65" y="133"/>
                      <a:pt x="65" y="133"/>
                      <a:pt x="65" y="133"/>
                    </a:cubicBezTo>
                    <a:cubicBezTo>
                      <a:pt x="65" y="127"/>
                      <a:pt x="60" y="122"/>
                      <a:pt x="54" y="122"/>
                    </a:cubicBezTo>
                    <a:cubicBezTo>
                      <a:pt x="47" y="122"/>
                      <a:pt x="42" y="127"/>
                      <a:pt x="42" y="133"/>
                    </a:cubicBezTo>
                    <a:cubicBezTo>
                      <a:pt x="42" y="148"/>
                      <a:pt x="42" y="148"/>
                      <a:pt x="42" y="148"/>
                    </a:cubicBezTo>
                    <a:cubicBezTo>
                      <a:pt x="42" y="151"/>
                      <a:pt x="44" y="154"/>
                      <a:pt x="46" y="156"/>
                    </a:cubicBezTo>
                    <a:cubicBezTo>
                      <a:pt x="46" y="163"/>
                      <a:pt x="46" y="163"/>
                      <a:pt x="46" y="163"/>
                    </a:cubicBezTo>
                    <a:cubicBezTo>
                      <a:pt x="42" y="163"/>
                      <a:pt x="42" y="163"/>
                      <a:pt x="42" y="163"/>
                    </a:cubicBezTo>
                    <a:cubicBezTo>
                      <a:pt x="35" y="163"/>
                      <a:pt x="29" y="169"/>
                      <a:pt x="29" y="176"/>
                    </a:cubicBezTo>
                    <a:cubicBezTo>
                      <a:pt x="29" y="204"/>
                      <a:pt x="29" y="204"/>
                      <a:pt x="29" y="204"/>
                    </a:cubicBezTo>
                    <a:cubicBezTo>
                      <a:pt x="29" y="212"/>
                      <a:pt x="35" y="218"/>
                      <a:pt x="42" y="218"/>
                    </a:cubicBezTo>
                    <a:cubicBezTo>
                      <a:pt x="100" y="218"/>
                      <a:pt x="100" y="218"/>
                      <a:pt x="100" y="218"/>
                    </a:cubicBezTo>
                    <a:cubicBezTo>
                      <a:pt x="100" y="385"/>
                      <a:pt x="100" y="385"/>
                      <a:pt x="100" y="385"/>
                    </a:cubicBezTo>
                    <a:cubicBezTo>
                      <a:pt x="100" y="398"/>
                      <a:pt x="111" y="410"/>
                      <a:pt x="125" y="410"/>
                    </a:cubicBezTo>
                    <a:cubicBezTo>
                      <a:pt x="142" y="410"/>
                      <a:pt x="142" y="410"/>
                      <a:pt x="142" y="410"/>
                    </a:cubicBezTo>
                    <a:cubicBezTo>
                      <a:pt x="155" y="410"/>
                      <a:pt x="167" y="398"/>
                      <a:pt x="167" y="385"/>
                    </a:cubicBezTo>
                    <a:cubicBezTo>
                      <a:pt x="167" y="367"/>
                      <a:pt x="167" y="367"/>
                      <a:pt x="167" y="367"/>
                    </a:cubicBezTo>
                    <a:cubicBezTo>
                      <a:pt x="167" y="363"/>
                      <a:pt x="163" y="359"/>
                      <a:pt x="159" y="359"/>
                    </a:cubicBezTo>
                    <a:cubicBezTo>
                      <a:pt x="154" y="359"/>
                      <a:pt x="151" y="363"/>
                      <a:pt x="151" y="367"/>
                    </a:cubicBezTo>
                    <a:cubicBezTo>
                      <a:pt x="151" y="385"/>
                      <a:pt x="151" y="385"/>
                      <a:pt x="151" y="385"/>
                    </a:cubicBezTo>
                    <a:cubicBezTo>
                      <a:pt x="151" y="390"/>
                      <a:pt x="147" y="394"/>
                      <a:pt x="142" y="394"/>
                    </a:cubicBezTo>
                    <a:cubicBezTo>
                      <a:pt x="125" y="394"/>
                      <a:pt x="125" y="394"/>
                      <a:pt x="125" y="394"/>
                    </a:cubicBezTo>
                    <a:cubicBezTo>
                      <a:pt x="120" y="394"/>
                      <a:pt x="116" y="390"/>
                      <a:pt x="116" y="385"/>
                    </a:cubicBezTo>
                    <a:cubicBezTo>
                      <a:pt x="116" y="210"/>
                      <a:pt x="116" y="210"/>
                      <a:pt x="116" y="210"/>
                    </a:cubicBezTo>
                    <a:cubicBezTo>
                      <a:pt x="116" y="206"/>
                      <a:pt x="112" y="202"/>
                      <a:pt x="108" y="202"/>
                    </a:cubicBezTo>
                    <a:cubicBezTo>
                      <a:pt x="45" y="202"/>
                      <a:pt x="45" y="202"/>
                      <a:pt x="45" y="202"/>
                    </a:cubicBezTo>
                    <a:cubicBezTo>
                      <a:pt x="45" y="179"/>
                      <a:pt x="45" y="179"/>
                      <a:pt x="45" y="179"/>
                    </a:cubicBezTo>
                    <a:cubicBezTo>
                      <a:pt x="108" y="179"/>
                      <a:pt x="108" y="179"/>
                      <a:pt x="108" y="179"/>
                    </a:cubicBezTo>
                    <a:cubicBezTo>
                      <a:pt x="112" y="179"/>
                      <a:pt x="116" y="175"/>
                      <a:pt x="116" y="171"/>
                    </a:cubicBezTo>
                    <a:cubicBezTo>
                      <a:pt x="116" y="105"/>
                      <a:pt x="116" y="105"/>
                      <a:pt x="116" y="105"/>
                    </a:cubicBezTo>
                    <a:cubicBezTo>
                      <a:pt x="116" y="100"/>
                      <a:pt x="112" y="97"/>
                      <a:pt x="108" y="97"/>
                    </a:cubicBezTo>
                    <a:cubicBezTo>
                      <a:pt x="16" y="97"/>
                      <a:pt x="16" y="97"/>
                      <a:pt x="16" y="97"/>
                    </a:cubicBezTo>
                    <a:cubicBezTo>
                      <a:pt x="16" y="73"/>
                      <a:pt x="16" y="73"/>
                      <a:pt x="16" y="73"/>
                    </a:cubicBezTo>
                    <a:cubicBezTo>
                      <a:pt x="108" y="73"/>
                      <a:pt x="108" y="73"/>
                      <a:pt x="108" y="73"/>
                    </a:cubicBezTo>
                    <a:cubicBezTo>
                      <a:pt x="112" y="73"/>
                      <a:pt x="116" y="70"/>
                      <a:pt x="116" y="65"/>
                    </a:cubicBezTo>
                    <a:cubicBezTo>
                      <a:pt x="116" y="25"/>
                      <a:pt x="116" y="25"/>
                      <a:pt x="116" y="25"/>
                    </a:cubicBezTo>
                    <a:cubicBezTo>
                      <a:pt x="116" y="20"/>
                      <a:pt x="120" y="16"/>
                      <a:pt x="125" y="16"/>
                    </a:cubicBezTo>
                    <a:cubicBezTo>
                      <a:pt x="142" y="16"/>
                      <a:pt x="142" y="16"/>
                      <a:pt x="142" y="16"/>
                    </a:cubicBezTo>
                    <a:cubicBezTo>
                      <a:pt x="147" y="16"/>
                      <a:pt x="151" y="20"/>
                      <a:pt x="151" y="25"/>
                    </a:cubicBezTo>
                    <a:cubicBezTo>
                      <a:pt x="151" y="65"/>
                      <a:pt x="151" y="65"/>
                      <a:pt x="151" y="65"/>
                    </a:cubicBezTo>
                    <a:cubicBezTo>
                      <a:pt x="151" y="70"/>
                      <a:pt x="154" y="73"/>
                      <a:pt x="159" y="73"/>
                    </a:cubicBezTo>
                    <a:cubicBezTo>
                      <a:pt x="250" y="73"/>
                      <a:pt x="250" y="73"/>
                      <a:pt x="250" y="73"/>
                    </a:cubicBezTo>
                    <a:cubicBezTo>
                      <a:pt x="250" y="97"/>
                      <a:pt x="250" y="97"/>
                      <a:pt x="250" y="97"/>
                    </a:cubicBezTo>
                    <a:cubicBezTo>
                      <a:pt x="159" y="97"/>
                      <a:pt x="159" y="97"/>
                      <a:pt x="159" y="97"/>
                    </a:cubicBezTo>
                    <a:cubicBezTo>
                      <a:pt x="154" y="97"/>
                      <a:pt x="151" y="100"/>
                      <a:pt x="151" y="105"/>
                    </a:cubicBezTo>
                    <a:cubicBezTo>
                      <a:pt x="151" y="171"/>
                      <a:pt x="151" y="171"/>
                      <a:pt x="151" y="171"/>
                    </a:cubicBezTo>
                    <a:cubicBezTo>
                      <a:pt x="151" y="175"/>
                      <a:pt x="154" y="179"/>
                      <a:pt x="159" y="179"/>
                    </a:cubicBezTo>
                    <a:cubicBezTo>
                      <a:pt x="222" y="179"/>
                      <a:pt x="222" y="179"/>
                      <a:pt x="222" y="179"/>
                    </a:cubicBezTo>
                    <a:cubicBezTo>
                      <a:pt x="222" y="202"/>
                      <a:pt x="222" y="202"/>
                      <a:pt x="222" y="202"/>
                    </a:cubicBezTo>
                    <a:cubicBezTo>
                      <a:pt x="159" y="202"/>
                      <a:pt x="159" y="202"/>
                      <a:pt x="159" y="202"/>
                    </a:cubicBezTo>
                    <a:cubicBezTo>
                      <a:pt x="154" y="202"/>
                      <a:pt x="151" y="206"/>
                      <a:pt x="151" y="210"/>
                    </a:cubicBezTo>
                    <a:cubicBezTo>
                      <a:pt x="151" y="335"/>
                      <a:pt x="151" y="335"/>
                      <a:pt x="151" y="335"/>
                    </a:cubicBezTo>
                    <a:cubicBezTo>
                      <a:pt x="151" y="340"/>
                      <a:pt x="154" y="343"/>
                      <a:pt x="159" y="343"/>
                    </a:cubicBezTo>
                    <a:cubicBezTo>
                      <a:pt x="163" y="343"/>
                      <a:pt x="167" y="340"/>
                      <a:pt x="167" y="335"/>
                    </a:cubicBezTo>
                    <a:cubicBezTo>
                      <a:pt x="167" y="218"/>
                      <a:pt x="167" y="218"/>
                      <a:pt x="167" y="218"/>
                    </a:cubicBezTo>
                    <a:cubicBezTo>
                      <a:pt x="224" y="218"/>
                      <a:pt x="224" y="218"/>
                      <a:pt x="224" y="218"/>
                    </a:cubicBezTo>
                    <a:cubicBezTo>
                      <a:pt x="232" y="218"/>
                      <a:pt x="238" y="212"/>
                      <a:pt x="238" y="204"/>
                    </a:cubicBezTo>
                    <a:cubicBezTo>
                      <a:pt x="238" y="176"/>
                      <a:pt x="238" y="176"/>
                      <a:pt x="238" y="176"/>
                    </a:cubicBezTo>
                    <a:cubicBezTo>
                      <a:pt x="238" y="169"/>
                      <a:pt x="232" y="163"/>
                      <a:pt x="224" y="163"/>
                    </a:cubicBezTo>
                    <a:cubicBezTo>
                      <a:pt x="221" y="163"/>
                      <a:pt x="221" y="163"/>
                      <a:pt x="221" y="163"/>
                    </a:cubicBezTo>
                    <a:cubicBezTo>
                      <a:pt x="221" y="156"/>
                      <a:pt x="221" y="156"/>
                      <a:pt x="221" y="156"/>
                    </a:cubicBezTo>
                    <a:cubicBezTo>
                      <a:pt x="223" y="154"/>
                      <a:pt x="224" y="151"/>
                      <a:pt x="224" y="148"/>
                    </a:cubicBezTo>
                    <a:cubicBezTo>
                      <a:pt x="224" y="133"/>
                      <a:pt x="224" y="133"/>
                      <a:pt x="224" y="133"/>
                    </a:cubicBezTo>
                    <a:cubicBezTo>
                      <a:pt x="224" y="127"/>
                      <a:pt x="219" y="122"/>
                      <a:pt x="213" y="122"/>
                    </a:cubicBezTo>
                    <a:cubicBezTo>
                      <a:pt x="207" y="122"/>
                      <a:pt x="202" y="127"/>
                      <a:pt x="202" y="133"/>
                    </a:cubicBezTo>
                    <a:cubicBezTo>
                      <a:pt x="202" y="148"/>
                      <a:pt x="202" y="148"/>
                      <a:pt x="202" y="148"/>
                    </a:cubicBezTo>
                    <a:cubicBezTo>
                      <a:pt x="202" y="151"/>
                      <a:pt x="203" y="154"/>
                      <a:pt x="205" y="156"/>
                    </a:cubicBezTo>
                    <a:cubicBezTo>
                      <a:pt x="205" y="163"/>
                      <a:pt x="205" y="163"/>
                      <a:pt x="205" y="163"/>
                    </a:cubicBezTo>
                    <a:cubicBezTo>
                      <a:pt x="167" y="163"/>
                      <a:pt x="167" y="163"/>
                      <a:pt x="167" y="163"/>
                    </a:cubicBezTo>
                    <a:cubicBezTo>
                      <a:pt x="167" y="113"/>
                      <a:pt x="167" y="113"/>
                      <a:pt x="167" y="113"/>
                    </a:cubicBezTo>
                    <a:cubicBezTo>
                      <a:pt x="253" y="113"/>
                      <a:pt x="253" y="113"/>
                      <a:pt x="253" y="113"/>
                    </a:cubicBezTo>
                    <a:cubicBezTo>
                      <a:pt x="260" y="113"/>
                      <a:pt x="266" y="107"/>
                      <a:pt x="266" y="99"/>
                    </a:cubicBezTo>
                    <a:cubicBezTo>
                      <a:pt x="266" y="71"/>
                      <a:pt x="266" y="71"/>
                      <a:pt x="266" y="71"/>
                    </a:cubicBezTo>
                    <a:cubicBezTo>
                      <a:pt x="266" y="63"/>
                      <a:pt x="260" y="57"/>
                      <a:pt x="253" y="57"/>
                    </a:cubicBezTo>
                    <a:close/>
                  </a:path>
                </a:pathLst>
              </a:custGeom>
              <a:grpFill/>
              <a:ln>
                <a:noFill/>
              </a:ln>
            </p:spPr>
            <p:txBody>
              <a:bodyPr/>
              <a:lstStyle/>
              <a:p>
                <a:endParaRPr lang="sv-SE" dirty="0">
                  <a:solidFill>
                    <a:srgbClr val="58585A"/>
                  </a:solidFill>
                </a:endParaRPr>
              </a:p>
            </p:txBody>
          </p:sp>
          <p:sp>
            <p:nvSpPr>
              <p:cNvPr id="99" name="Freeform 3">
                <a:extLst>
                  <a:ext uri="{FF2B5EF4-FFF2-40B4-BE49-F238E27FC236}">
                    <a16:creationId xmlns:a16="http://schemas.microsoft.com/office/drawing/2014/main" id="{AF392588-6CB5-4690-B3C5-D40F09DD4CE9}"/>
                  </a:ext>
                </a:extLst>
              </p:cNvPr>
              <p:cNvSpPr>
                <a:spLocks noChangeAspect="1" noEditPoints="1"/>
              </p:cNvSpPr>
              <p:nvPr/>
            </p:nvSpPr>
            <p:spPr bwMode="auto">
              <a:xfrm>
                <a:off x="-1450230" y="2773364"/>
                <a:ext cx="479656" cy="372870"/>
              </a:xfrm>
              <a:custGeom>
                <a:avLst/>
                <a:gdLst>
                  <a:gd name="T0" fmla="*/ 2147483647 w 464"/>
                  <a:gd name="T1" fmla="*/ 2147483647 h 361"/>
                  <a:gd name="T2" fmla="*/ 2147483647 w 464"/>
                  <a:gd name="T3" fmla="*/ 2147483647 h 361"/>
                  <a:gd name="T4" fmla="*/ 2147483647 w 464"/>
                  <a:gd name="T5" fmla="*/ 2147483647 h 361"/>
                  <a:gd name="T6" fmla="*/ 2147483647 w 464"/>
                  <a:gd name="T7" fmla="*/ 2147483647 h 361"/>
                  <a:gd name="T8" fmla="*/ 2147483647 w 464"/>
                  <a:gd name="T9" fmla="*/ 2147483647 h 361"/>
                  <a:gd name="T10" fmla="*/ 2147483647 w 464"/>
                  <a:gd name="T11" fmla="*/ 2147483647 h 361"/>
                  <a:gd name="T12" fmla="*/ 2147483647 w 464"/>
                  <a:gd name="T13" fmla="*/ 2147483647 h 361"/>
                  <a:gd name="T14" fmla="*/ 2147483647 w 464"/>
                  <a:gd name="T15" fmla="*/ 2147483647 h 361"/>
                  <a:gd name="T16" fmla="*/ 2147483647 w 464"/>
                  <a:gd name="T17" fmla="*/ 2147483647 h 361"/>
                  <a:gd name="T18" fmla="*/ 2147483647 w 464"/>
                  <a:gd name="T19" fmla="*/ 2147483647 h 361"/>
                  <a:gd name="T20" fmla="*/ 2147483647 w 464"/>
                  <a:gd name="T21" fmla="*/ 2147483647 h 361"/>
                  <a:gd name="T22" fmla="*/ 2147483647 w 464"/>
                  <a:gd name="T23" fmla="*/ 2147483647 h 361"/>
                  <a:gd name="T24" fmla="*/ 2147483647 w 464"/>
                  <a:gd name="T25" fmla="*/ 2147483647 h 361"/>
                  <a:gd name="T26" fmla="*/ 2147483647 w 464"/>
                  <a:gd name="T27" fmla="*/ 2147483647 h 361"/>
                  <a:gd name="T28" fmla="*/ 2147483647 w 464"/>
                  <a:gd name="T29" fmla="*/ 2147483647 h 361"/>
                  <a:gd name="T30" fmla="*/ 2147483647 w 464"/>
                  <a:gd name="T31" fmla="*/ 2147483647 h 361"/>
                  <a:gd name="T32" fmla="*/ 2147483647 w 464"/>
                  <a:gd name="T33" fmla="*/ 2147483647 h 361"/>
                  <a:gd name="T34" fmla="*/ 2147483647 w 464"/>
                  <a:gd name="T35" fmla="*/ 2147483647 h 361"/>
                  <a:gd name="T36" fmla="*/ 2147483647 w 464"/>
                  <a:gd name="T37" fmla="*/ 2147483647 h 361"/>
                  <a:gd name="T38" fmla="*/ 2147483647 w 464"/>
                  <a:gd name="T39" fmla="*/ 2147483647 h 361"/>
                  <a:gd name="T40" fmla="*/ 2147483647 w 464"/>
                  <a:gd name="T41" fmla="*/ 0 h 361"/>
                  <a:gd name="T42" fmla="*/ 2147483647 w 464"/>
                  <a:gd name="T43" fmla="*/ 2147483647 h 361"/>
                  <a:gd name="T44" fmla="*/ 2147483647 w 464"/>
                  <a:gd name="T45" fmla="*/ 2147483647 h 361"/>
                  <a:gd name="T46" fmla="*/ 2147483647 w 464"/>
                  <a:gd name="T47" fmla="*/ 2147483647 h 361"/>
                  <a:gd name="T48" fmla="*/ 2147483647 w 464"/>
                  <a:gd name="T49" fmla="*/ 2147483647 h 361"/>
                  <a:gd name="T50" fmla="*/ 2147483647 w 464"/>
                  <a:gd name="T51" fmla="*/ 2147483647 h 361"/>
                  <a:gd name="T52" fmla="*/ 2147483647 w 464"/>
                  <a:gd name="T53" fmla="*/ 2147483647 h 361"/>
                  <a:gd name="T54" fmla="*/ 2147483647 w 464"/>
                  <a:gd name="T55" fmla="*/ 2147483647 h 361"/>
                  <a:gd name="T56" fmla="*/ 2147483647 w 464"/>
                  <a:gd name="T57" fmla="*/ 2147483647 h 361"/>
                  <a:gd name="T58" fmla="*/ 2147483647 w 464"/>
                  <a:gd name="T59" fmla="*/ 2147483647 h 361"/>
                  <a:gd name="T60" fmla="*/ 2147483647 w 464"/>
                  <a:gd name="T61" fmla="*/ 2147483647 h 361"/>
                  <a:gd name="T62" fmla="*/ 2147483647 w 464"/>
                  <a:gd name="T63" fmla="*/ 2147483647 h 361"/>
                  <a:gd name="T64" fmla="*/ 2147483647 w 464"/>
                  <a:gd name="T65" fmla="*/ 2147483647 h 3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4" h="361">
                    <a:moveTo>
                      <a:pt x="400" y="167"/>
                    </a:moveTo>
                    <a:cubicBezTo>
                      <a:pt x="405" y="167"/>
                      <a:pt x="408" y="163"/>
                      <a:pt x="408" y="159"/>
                    </a:cubicBezTo>
                    <a:cubicBezTo>
                      <a:pt x="408" y="159"/>
                      <a:pt x="408" y="159"/>
                      <a:pt x="408" y="159"/>
                    </a:cubicBezTo>
                    <a:cubicBezTo>
                      <a:pt x="408" y="140"/>
                      <a:pt x="408" y="140"/>
                      <a:pt x="408" y="140"/>
                    </a:cubicBezTo>
                    <a:cubicBezTo>
                      <a:pt x="408" y="129"/>
                      <a:pt x="400" y="122"/>
                      <a:pt x="392" y="119"/>
                    </a:cubicBezTo>
                    <a:cubicBezTo>
                      <a:pt x="385" y="115"/>
                      <a:pt x="251" y="46"/>
                      <a:pt x="243" y="42"/>
                    </a:cubicBezTo>
                    <a:cubicBezTo>
                      <a:pt x="239" y="40"/>
                      <a:pt x="236" y="39"/>
                      <a:pt x="232" y="39"/>
                    </a:cubicBezTo>
                    <a:cubicBezTo>
                      <a:pt x="225" y="39"/>
                      <a:pt x="221" y="42"/>
                      <a:pt x="220" y="42"/>
                    </a:cubicBezTo>
                    <a:cubicBezTo>
                      <a:pt x="71" y="119"/>
                      <a:pt x="71" y="119"/>
                      <a:pt x="71" y="119"/>
                    </a:cubicBezTo>
                    <a:cubicBezTo>
                      <a:pt x="64" y="122"/>
                      <a:pt x="56" y="129"/>
                      <a:pt x="55" y="140"/>
                    </a:cubicBezTo>
                    <a:cubicBezTo>
                      <a:pt x="55" y="342"/>
                      <a:pt x="55" y="342"/>
                      <a:pt x="55" y="342"/>
                    </a:cubicBezTo>
                    <a:cubicBezTo>
                      <a:pt x="55" y="352"/>
                      <a:pt x="64" y="361"/>
                      <a:pt x="75" y="361"/>
                    </a:cubicBezTo>
                    <a:cubicBezTo>
                      <a:pt x="389" y="361"/>
                      <a:pt x="389" y="361"/>
                      <a:pt x="389" y="361"/>
                    </a:cubicBezTo>
                    <a:cubicBezTo>
                      <a:pt x="400" y="361"/>
                      <a:pt x="408" y="352"/>
                      <a:pt x="408" y="342"/>
                    </a:cubicBezTo>
                    <a:cubicBezTo>
                      <a:pt x="408" y="191"/>
                      <a:pt x="408" y="191"/>
                      <a:pt x="408" y="191"/>
                    </a:cubicBezTo>
                    <a:cubicBezTo>
                      <a:pt x="408" y="186"/>
                      <a:pt x="405" y="183"/>
                      <a:pt x="400" y="183"/>
                    </a:cubicBezTo>
                    <a:cubicBezTo>
                      <a:pt x="396" y="183"/>
                      <a:pt x="392" y="186"/>
                      <a:pt x="392" y="191"/>
                    </a:cubicBezTo>
                    <a:cubicBezTo>
                      <a:pt x="392" y="342"/>
                      <a:pt x="392" y="342"/>
                      <a:pt x="392" y="342"/>
                    </a:cubicBezTo>
                    <a:cubicBezTo>
                      <a:pt x="392" y="344"/>
                      <a:pt x="391" y="345"/>
                      <a:pt x="389" y="345"/>
                    </a:cubicBezTo>
                    <a:cubicBezTo>
                      <a:pt x="75" y="345"/>
                      <a:pt x="75" y="345"/>
                      <a:pt x="75" y="345"/>
                    </a:cubicBezTo>
                    <a:cubicBezTo>
                      <a:pt x="73" y="345"/>
                      <a:pt x="71" y="344"/>
                      <a:pt x="71" y="342"/>
                    </a:cubicBezTo>
                    <a:cubicBezTo>
                      <a:pt x="71" y="140"/>
                      <a:pt x="71" y="140"/>
                      <a:pt x="71" y="140"/>
                    </a:cubicBezTo>
                    <a:cubicBezTo>
                      <a:pt x="71" y="138"/>
                      <a:pt x="73" y="135"/>
                      <a:pt x="78" y="133"/>
                    </a:cubicBezTo>
                    <a:cubicBezTo>
                      <a:pt x="78" y="133"/>
                      <a:pt x="78" y="133"/>
                      <a:pt x="78" y="133"/>
                    </a:cubicBezTo>
                    <a:cubicBezTo>
                      <a:pt x="227" y="56"/>
                      <a:pt x="227" y="56"/>
                      <a:pt x="227" y="56"/>
                    </a:cubicBezTo>
                    <a:cubicBezTo>
                      <a:pt x="227" y="56"/>
                      <a:pt x="227" y="56"/>
                      <a:pt x="227" y="56"/>
                    </a:cubicBezTo>
                    <a:cubicBezTo>
                      <a:pt x="228" y="56"/>
                      <a:pt x="230" y="55"/>
                      <a:pt x="232" y="55"/>
                    </a:cubicBezTo>
                    <a:cubicBezTo>
                      <a:pt x="234" y="55"/>
                      <a:pt x="235" y="55"/>
                      <a:pt x="236" y="56"/>
                    </a:cubicBezTo>
                    <a:cubicBezTo>
                      <a:pt x="240" y="58"/>
                      <a:pt x="277" y="77"/>
                      <a:pt x="314" y="96"/>
                    </a:cubicBezTo>
                    <a:cubicBezTo>
                      <a:pt x="350" y="115"/>
                      <a:pt x="385" y="133"/>
                      <a:pt x="385" y="133"/>
                    </a:cubicBezTo>
                    <a:cubicBezTo>
                      <a:pt x="386" y="133"/>
                      <a:pt x="386" y="133"/>
                      <a:pt x="386" y="133"/>
                    </a:cubicBezTo>
                    <a:cubicBezTo>
                      <a:pt x="391" y="135"/>
                      <a:pt x="393" y="138"/>
                      <a:pt x="392" y="140"/>
                    </a:cubicBezTo>
                    <a:cubicBezTo>
                      <a:pt x="392" y="159"/>
                      <a:pt x="392" y="159"/>
                      <a:pt x="392" y="159"/>
                    </a:cubicBezTo>
                    <a:cubicBezTo>
                      <a:pt x="392" y="163"/>
                      <a:pt x="396" y="167"/>
                      <a:pt x="400" y="167"/>
                    </a:cubicBezTo>
                    <a:close/>
                    <a:moveTo>
                      <a:pt x="458" y="114"/>
                    </a:moveTo>
                    <a:cubicBezTo>
                      <a:pt x="458" y="114"/>
                      <a:pt x="437" y="103"/>
                      <a:pt x="408" y="88"/>
                    </a:cubicBezTo>
                    <a:cubicBezTo>
                      <a:pt x="408" y="52"/>
                      <a:pt x="408" y="52"/>
                      <a:pt x="408" y="52"/>
                    </a:cubicBezTo>
                    <a:cubicBezTo>
                      <a:pt x="408" y="41"/>
                      <a:pt x="400" y="33"/>
                      <a:pt x="389" y="32"/>
                    </a:cubicBezTo>
                    <a:cubicBezTo>
                      <a:pt x="357" y="32"/>
                      <a:pt x="357" y="32"/>
                      <a:pt x="357" y="32"/>
                    </a:cubicBezTo>
                    <a:cubicBezTo>
                      <a:pt x="347" y="33"/>
                      <a:pt x="338" y="41"/>
                      <a:pt x="338" y="52"/>
                    </a:cubicBezTo>
                    <a:cubicBezTo>
                      <a:pt x="292" y="28"/>
                      <a:pt x="249" y="6"/>
                      <a:pt x="245" y="3"/>
                    </a:cubicBezTo>
                    <a:cubicBezTo>
                      <a:pt x="241" y="1"/>
                      <a:pt x="236" y="0"/>
                      <a:pt x="232" y="0"/>
                    </a:cubicBezTo>
                    <a:cubicBezTo>
                      <a:pt x="224" y="1"/>
                      <a:pt x="219" y="3"/>
                      <a:pt x="219" y="3"/>
                    </a:cubicBezTo>
                    <a:cubicBezTo>
                      <a:pt x="6" y="114"/>
                      <a:pt x="6" y="114"/>
                      <a:pt x="6" y="114"/>
                    </a:cubicBezTo>
                    <a:cubicBezTo>
                      <a:pt x="2" y="116"/>
                      <a:pt x="0" y="121"/>
                      <a:pt x="3" y="125"/>
                    </a:cubicBezTo>
                    <a:cubicBezTo>
                      <a:pt x="5" y="129"/>
                      <a:pt x="9" y="130"/>
                      <a:pt x="13" y="128"/>
                    </a:cubicBezTo>
                    <a:cubicBezTo>
                      <a:pt x="226" y="18"/>
                      <a:pt x="226" y="18"/>
                      <a:pt x="226" y="18"/>
                    </a:cubicBezTo>
                    <a:cubicBezTo>
                      <a:pt x="226" y="18"/>
                      <a:pt x="226" y="18"/>
                      <a:pt x="226" y="18"/>
                    </a:cubicBezTo>
                    <a:cubicBezTo>
                      <a:pt x="226" y="18"/>
                      <a:pt x="226" y="18"/>
                      <a:pt x="226" y="18"/>
                    </a:cubicBezTo>
                    <a:cubicBezTo>
                      <a:pt x="226" y="18"/>
                      <a:pt x="229" y="16"/>
                      <a:pt x="232" y="16"/>
                    </a:cubicBezTo>
                    <a:cubicBezTo>
                      <a:pt x="234" y="16"/>
                      <a:pt x="236" y="17"/>
                      <a:pt x="238" y="18"/>
                    </a:cubicBezTo>
                    <a:cubicBezTo>
                      <a:pt x="242" y="20"/>
                      <a:pt x="291" y="45"/>
                      <a:pt x="340" y="71"/>
                    </a:cubicBezTo>
                    <a:cubicBezTo>
                      <a:pt x="341" y="71"/>
                      <a:pt x="343" y="72"/>
                      <a:pt x="345" y="72"/>
                    </a:cubicBezTo>
                    <a:cubicBezTo>
                      <a:pt x="347" y="72"/>
                      <a:pt x="349" y="71"/>
                      <a:pt x="352" y="69"/>
                    </a:cubicBezTo>
                    <a:cubicBezTo>
                      <a:pt x="354" y="67"/>
                      <a:pt x="354" y="64"/>
                      <a:pt x="354" y="62"/>
                    </a:cubicBezTo>
                    <a:cubicBezTo>
                      <a:pt x="354" y="52"/>
                      <a:pt x="354" y="52"/>
                      <a:pt x="354" y="52"/>
                    </a:cubicBezTo>
                    <a:cubicBezTo>
                      <a:pt x="354" y="50"/>
                      <a:pt x="356" y="48"/>
                      <a:pt x="357" y="48"/>
                    </a:cubicBezTo>
                    <a:cubicBezTo>
                      <a:pt x="389" y="48"/>
                      <a:pt x="389" y="48"/>
                      <a:pt x="389" y="48"/>
                    </a:cubicBezTo>
                    <a:cubicBezTo>
                      <a:pt x="391" y="48"/>
                      <a:pt x="392" y="50"/>
                      <a:pt x="392" y="52"/>
                    </a:cubicBezTo>
                    <a:cubicBezTo>
                      <a:pt x="392" y="52"/>
                      <a:pt x="392" y="61"/>
                      <a:pt x="392" y="70"/>
                    </a:cubicBezTo>
                    <a:cubicBezTo>
                      <a:pt x="392" y="79"/>
                      <a:pt x="392" y="89"/>
                      <a:pt x="392" y="90"/>
                    </a:cubicBezTo>
                    <a:cubicBezTo>
                      <a:pt x="392" y="93"/>
                      <a:pt x="393" y="96"/>
                      <a:pt x="395" y="98"/>
                    </a:cubicBezTo>
                    <a:cubicBezTo>
                      <a:pt x="396" y="100"/>
                      <a:pt x="398" y="101"/>
                      <a:pt x="399" y="101"/>
                    </a:cubicBezTo>
                    <a:cubicBezTo>
                      <a:pt x="429" y="117"/>
                      <a:pt x="451" y="128"/>
                      <a:pt x="451" y="128"/>
                    </a:cubicBezTo>
                    <a:cubicBezTo>
                      <a:pt x="452" y="129"/>
                      <a:pt x="454" y="129"/>
                      <a:pt x="455" y="129"/>
                    </a:cubicBezTo>
                    <a:cubicBezTo>
                      <a:pt x="458" y="129"/>
                      <a:pt x="460" y="128"/>
                      <a:pt x="462" y="125"/>
                    </a:cubicBezTo>
                    <a:cubicBezTo>
                      <a:pt x="464" y="121"/>
                      <a:pt x="462" y="116"/>
                      <a:pt x="458" y="114"/>
                    </a:cubicBezTo>
                    <a:close/>
                  </a:path>
                </a:pathLst>
              </a:custGeom>
              <a:grpFill/>
              <a:ln>
                <a:noFill/>
              </a:ln>
            </p:spPr>
            <p:txBody>
              <a:bodyPr/>
              <a:lstStyle/>
              <a:p>
                <a:endParaRPr lang="sv-SE" dirty="0">
                  <a:solidFill>
                    <a:srgbClr val="58585A"/>
                  </a:solidFill>
                </a:endParaRPr>
              </a:p>
            </p:txBody>
          </p:sp>
        </p:grpSp>
      </p:grpSp>
      <p:sp>
        <p:nvSpPr>
          <p:cNvPr id="125" name="Title 3">
            <a:extLst>
              <a:ext uri="{FF2B5EF4-FFF2-40B4-BE49-F238E27FC236}">
                <a16:creationId xmlns:a16="http://schemas.microsoft.com/office/drawing/2014/main" id="{CB1DBA75-D4E7-40EA-BE2E-7AE62368C8D0}"/>
              </a:ext>
            </a:extLst>
          </p:cNvPr>
          <p:cNvSpPr txBox="1">
            <a:spLocks/>
          </p:cNvSpPr>
          <p:nvPr/>
        </p:nvSpPr>
        <p:spPr bwMode="auto">
          <a:xfrm>
            <a:off x="5406425" y="5051330"/>
            <a:ext cx="5897213" cy="910798"/>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lgn="ctr"/>
            <a:r>
              <a:rPr lang="en-US" sz="4000" kern="0" dirty="0">
                <a:solidFill>
                  <a:schemeClr val="bg1"/>
                </a:solidFill>
              </a:rPr>
              <a:t>connectivity</a:t>
            </a:r>
          </a:p>
        </p:txBody>
      </p:sp>
    </p:spTree>
    <p:extLst>
      <p:ext uri="{BB962C8B-B14F-4D97-AF65-F5344CB8AC3E}">
        <p14:creationId xmlns:p14="http://schemas.microsoft.com/office/powerpoint/2010/main" val="892046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oT types in 5G</a:t>
            </a:r>
            <a:endParaRPr lang="en-US" dirty="0"/>
          </a:p>
        </p:txBody>
      </p:sp>
      <p:sp>
        <p:nvSpPr>
          <p:cNvPr id="4" name="AutoShape 15" descr="bpct-blend1"/>
          <p:cNvSpPr>
            <a:spLocks noChangeArrowheads="1"/>
          </p:cNvSpPr>
          <p:nvPr/>
        </p:nvSpPr>
        <p:spPr bwMode="auto">
          <a:xfrm>
            <a:off x="5911056" y="4608131"/>
            <a:ext cx="4122738" cy="687388"/>
          </a:xfrm>
          <a:prstGeom prst="roundRect">
            <a:avLst>
              <a:gd name="adj" fmla="val 5958"/>
            </a:avLst>
          </a:prstGeom>
          <a:solidFill>
            <a:srgbClr val="5B6592"/>
          </a:solidFill>
          <a:ln w="25400">
            <a:solidFill>
              <a:srgbClr val="FFFFFF"/>
            </a:solidFill>
            <a:round/>
            <a:headEnd/>
            <a:tailEnd/>
          </a:ln>
        </p:spPr>
        <p:txBody>
          <a:bodyPr lIns="125986" tIns="45718" rIns="91430" bIns="45718" anchor="ct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endParaRPr lang="sv-SE" altLang="en-US" sz="1500">
              <a:solidFill>
                <a:srgbClr val="00A9D4"/>
              </a:solidFill>
            </a:endParaRPr>
          </a:p>
        </p:txBody>
      </p:sp>
      <p:sp>
        <p:nvSpPr>
          <p:cNvPr id="5" name="Rectangle 36"/>
          <p:cNvSpPr>
            <a:spLocks noChangeArrowheads="1"/>
          </p:cNvSpPr>
          <p:nvPr/>
        </p:nvSpPr>
        <p:spPr bwMode="auto">
          <a:xfrm>
            <a:off x="6066130" y="4625117"/>
            <a:ext cx="1552575"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r>
              <a:rPr lang="sv-SE" altLang="en-US" sz="1900">
                <a:solidFill>
                  <a:srgbClr val="FFFFFF"/>
                </a:solidFill>
              </a:rPr>
              <a:t>C</a:t>
            </a:r>
            <a:r>
              <a:rPr lang="en-US" altLang="en-US" sz="1900">
                <a:solidFill>
                  <a:srgbClr val="FFFFFF"/>
                </a:solidFill>
              </a:rPr>
              <a:t>ommon EPC/MBB</a:t>
            </a:r>
          </a:p>
        </p:txBody>
      </p:sp>
      <p:cxnSp>
        <p:nvCxnSpPr>
          <p:cNvPr id="6" name="Straight Connector 4"/>
          <p:cNvCxnSpPr>
            <a:cxnSpLocks noChangeShapeType="1"/>
            <a:endCxn id="4" idx="1"/>
          </p:cNvCxnSpPr>
          <p:nvPr/>
        </p:nvCxnSpPr>
        <p:spPr bwMode="auto">
          <a:xfrm>
            <a:off x="2911162" y="4540318"/>
            <a:ext cx="2999894" cy="411507"/>
          </a:xfrm>
          <a:prstGeom prst="line">
            <a:avLst/>
          </a:prstGeom>
          <a:noFill/>
          <a:ln w="28575">
            <a:solidFill>
              <a:schemeClr val="tx1"/>
            </a:solidFill>
            <a:round/>
            <a:headEnd/>
            <a:tailEnd/>
          </a:ln>
          <a:effectLst>
            <a:outerShdw blurRad="50800" dist="50800" dir="5400000" algn="ctr" rotWithShape="0">
              <a:schemeClr val="tx2">
                <a:lumMod val="90000"/>
                <a:lumOff val="10000"/>
              </a:schemeClr>
            </a:outerShdw>
          </a:effectLst>
          <a:extLst>
            <a:ext uri="{909E8E84-426E-40DD-AFC4-6F175D3DCCD1}">
              <a14:hiddenFill xmlns:a14="http://schemas.microsoft.com/office/drawing/2010/main">
                <a:noFill/>
              </a14:hiddenFill>
            </a:ext>
          </a:extLst>
        </p:spPr>
      </p:cxnSp>
      <p:sp>
        <p:nvSpPr>
          <p:cNvPr id="7" name="Freeform 70"/>
          <p:cNvSpPr>
            <a:spLocks noChangeAspect="1"/>
          </p:cNvSpPr>
          <p:nvPr/>
        </p:nvSpPr>
        <p:spPr bwMode="auto">
          <a:xfrm>
            <a:off x="10875463" y="4529511"/>
            <a:ext cx="1077913" cy="704850"/>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chemeClr val="tx1"/>
          </a:solidFill>
          <a:ln>
            <a:noFill/>
          </a:ln>
          <a:extLst/>
        </p:spPr>
        <p:txBody>
          <a:bodyPr/>
          <a:lstStyle/>
          <a:p>
            <a:endParaRPr lang="en-US"/>
          </a:p>
        </p:txBody>
      </p:sp>
      <p:cxnSp>
        <p:nvCxnSpPr>
          <p:cNvPr id="8" name="Straight Connector 93"/>
          <p:cNvCxnSpPr>
            <a:cxnSpLocks noChangeShapeType="1"/>
          </p:cNvCxnSpPr>
          <p:nvPr/>
        </p:nvCxnSpPr>
        <p:spPr bwMode="auto">
          <a:xfrm>
            <a:off x="10040438" y="4905748"/>
            <a:ext cx="87788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cxnSp>
      <p:sp>
        <p:nvSpPr>
          <p:cNvPr id="9" name="Freeform 3">
            <a:extLst>
              <a:ext uri="{FF2B5EF4-FFF2-40B4-BE49-F238E27FC236}">
                <a16:creationId xmlns:a16="http://schemas.microsoft.com/office/drawing/2014/main" id="{332457FE-6530-224A-ABBB-BB1A21CC18C9}"/>
              </a:ext>
            </a:extLst>
          </p:cNvPr>
          <p:cNvSpPr>
            <a:spLocks noChangeAspect="1" noEditPoints="1"/>
          </p:cNvSpPr>
          <p:nvPr/>
        </p:nvSpPr>
        <p:spPr bwMode="auto">
          <a:xfrm>
            <a:off x="1898682" y="4222392"/>
            <a:ext cx="827006" cy="1016091"/>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tx1">
              <a:lumMod val="95000"/>
            </a:schemeClr>
          </a:solidFill>
          <a:ln>
            <a:noFill/>
          </a:ln>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 name="TextBox 9">
            <a:extLst>
              <a:ext uri="{FF2B5EF4-FFF2-40B4-BE49-F238E27FC236}">
                <a16:creationId xmlns:a16="http://schemas.microsoft.com/office/drawing/2014/main" id="{AFE667EE-AA90-D342-B9C9-1B8EF844EC8F}"/>
              </a:ext>
            </a:extLst>
          </p:cNvPr>
          <p:cNvSpPr txBox="1"/>
          <p:nvPr/>
        </p:nvSpPr>
        <p:spPr>
          <a:xfrm>
            <a:off x="1691365" y="5274645"/>
            <a:ext cx="1262450" cy="584775"/>
          </a:xfrm>
          <a:prstGeom prst="rect">
            <a:avLst/>
          </a:prstGeom>
          <a:noFill/>
        </p:spPr>
        <p:txBody>
          <a:bodyPr wrap="square" rtlCol="0">
            <a:spAutoFit/>
          </a:bodyPr>
          <a:lstStyle/>
          <a:p>
            <a:pPr algn="ctr"/>
            <a:r>
              <a:rPr lang="sv-SE" sz="1600" dirty="0"/>
              <a:t>2G, 3G, 4G</a:t>
            </a:r>
            <a:endParaRPr lang="en-US" sz="1600" dirty="0"/>
          </a:p>
        </p:txBody>
      </p:sp>
      <p:cxnSp>
        <p:nvCxnSpPr>
          <p:cNvPr id="11" name="Straight Connector 10">
            <a:extLst>
              <a:ext uri="{FF2B5EF4-FFF2-40B4-BE49-F238E27FC236}">
                <a16:creationId xmlns:a16="http://schemas.microsoft.com/office/drawing/2014/main" id="{E21FCA68-A13C-7048-8B90-84EB41842532}"/>
              </a:ext>
            </a:extLst>
          </p:cNvPr>
          <p:cNvCxnSpPr/>
          <p:nvPr/>
        </p:nvCxnSpPr>
        <p:spPr bwMode="auto">
          <a:xfrm flipV="1">
            <a:off x="1094208" y="4613619"/>
            <a:ext cx="825283" cy="1336560"/>
          </a:xfrm>
          <a:prstGeom prst="line">
            <a:avLst/>
          </a:prstGeom>
          <a:solidFill>
            <a:schemeClr val="accent1"/>
          </a:solidFill>
          <a:ln w="28575" cap="flat" cmpd="sng" algn="ctr">
            <a:solidFill>
              <a:schemeClr val="accent1"/>
            </a:solidFill>
            <a:prstDash val="sysDash"/>
            <a:round/>
            <a:headEnd type="none" w="med" len="med"/>
            <a:tailEnd type="none" w="med" len="med"/>
          </a:ln>
          <a:effectLst>
            <a:outerShdw blurRad="50800" dist="50800" dir="5400000" algn="ctr" rotWithShape="0">
              <a:schemeClr val="tx2">
                <a:lumMod val="90000"/>
                <a:lumOff val="10000"/>
              </a:schemeClr>
            </a:outerShdw>
          </a:effectLst>
        </p:spPr>
      </p:cxnSp>
      <p:cxnSp>
        <p:nvCxnSpPr>
          <p:cNvPr id="12" name="Straight Connector 11">
            <a:extLst>
              <a:ext uri="{FF2B5EF4-FFF2-40B4-BE49-F238E27FC236}">
                <a16:creationId xmlns:a16="http://schemas.microsoft.com/office/drawing/2014/main" id="{9D14CC66-C834-6C47-B4B9-A7A0FD8471F7}"/>
              </a:ext>
            </a:extLst>
          </p:cNvPr>
          <p:cNvCxnSpPr>
            <a:cxnSpLocks/>
          </p:cNvCxnSpPr>
          <p:nvPr/>
        </p:nvCxnSpPr>
        <p:spPr bwMode="auto">
          <a:xfrm flipV="1">
            <a:off x="1107283" y="4530082"/>
            <a:ext cx="775013" cy="338147"/>
          </a:xfrm>
          <a:prstGeom prst="line">
            <a:avLst/>
          </a:prstGeom>
          <a:solidFill>
            <a:schemeClr val="accent1"/>
          </a:solidFill>
          <a:ln w="28575" cap="flat" cmpd="sng" algn="ctr">
            <a:solidFill>
              <a:schemeClr val="accent1"/>
            </a:solidFill>
            <a:prstDash val="sysDash"/>
            <a:round/>
            <a:headEnd type="none" w="med" len="med"/>
            <a:tailEnd type="none" w="med" len="med"/>
          </a:ln>
          <a:effectLst>
            <a:outerShdw blurRad="50800" dist="50800" dir="5400000" algn="ctr" rotWithShape="0">
              <a:schemeClr val="accent1">
                <a:lumMod val="50000"/>
              </a:schemeClr>
            </a:outerShdw>
          </a:effectLst>
        </p:spPr>
      </p:cxnSp>
      <p:cxnSp>
        <p:nvCxnSpPr>
          <p:cNvPr id="13" name="Straight Connector 12">
            <a:extLst>
              <a:ext uri="{FF2B5EF4-FFF2-40B4-BE49-F238E27FC236}">
                <a16:creationId xmlns:a16="http://schemas.microsoft.com/office/drawing/2014/main" id="{BA189DA5-D998-C94C-A980-33774EA7DD12}"/>
              </a:ext>
            </a:extLst>
          </p:cNvPr>
          <p:cNvCxnSpPr>
            <a:cxnSpLocks/>
          </p:cNvCxnSpPr>
          <p:nvPr/>
        </p:nvCxnSpPr>
        <p:spPr bwMode="auto">
          <a:xfrm>
            <a:off x="1213201" y="4298745"/>
            <a:ext cx="654480" cy="90762"/>
          </a:xfrm>
          <a:prstGeom prst="line">
            <a:avLst/>
          </a:prstGeom>
          <a:solidFill>
            <a:schemeClr val="accent1"/>
          </a:solidFill>
          <a:ln w="28575" cap="flat" cmpd="sng" algn="ctr">
            <a:solidFill>
              <a:schemeClr val="accent1"/>
            </a:solidFill>
            <a:prstDash val="sysDash"/>
            <a:round/>
            <a:headEnd type="none" w="med" len="med"/>
            <a:tailEnd type="none" w="med" len="med"/>
          </a:ln>
          <a:effectLst>
            <a:outerShdw blurRad="50800" dist="50800" dir="5400000" algn="ctr" rotWithShape="0">
              <a:schemeClr val="accent1">
                <a:lumMod val="50000"/>
              </a:schemeClr>
            </a:outerShdw>
          </a:effectLst>
        </p:spPr>
      </p:cxnSp>
      <p:cxnSp>
        <p:nvCxnSpPr>
          <p:cNvPr id="14" name="Straight Connector 13">
            <a:extLst>
              <a:ext uri="{FF2B5EF4-FFF2-40B4-BE49-F238E27FC236}">
                <a16:creationId xmlns:a16="http://schemas.microsoft.com/office/drawing/2014/main" id="{0C9AAE49-3FFB-0049-B117-848E8BDD6EE1}"/>
              </a:ext>
            </a:extLst>
          </p:cNvPr>
          <p:cNvCxnSpPr>
            <a:cxnSpLocks/>
          </p:cNvCxnSpPr>
          <p:nvPr/>
        </p:nvCxnSpPr>
        <p:spPr bwMode="auto">
          <a:xfrm flipV="1">
            <a:off x="1052666" y="4553782"/>
            <a:ext cx="829630" cy="768239"/>
          </a:xfrm>
          <a:prstGeom prst="line">
            <a:avLst/>
          </a:prstGeom>
          <a:solidFill>
            <a:schemeClr val="accent1"/>
          </a:solidFill>
          <a:ln w="28575" cap="flat" cmpd="sng" algn="ctr">
            <a:solidFill>
              <a:schemeClr val="accent1"/>
            </a:solidFill>
            <a:prstDash val="sysDash"/>
            <a:round/>
            <a:headEnd type="none" w="med" len="med"/>
            <a:tailEnd type="none" w="med" len="med"/>
          </a:ln>
          <a:effectLst>
            <a:outerShdw blurRad="50800" dist="50800" dir="5400000" algn="ctr" rotWithShape="0">
              <a:srgbClr val="7030A0"/>
            </a:outerShdw>
          </a:effectLst>
        </p:spPr>
      </p:cxnSp>
      <p:sp>
        <p:nvSpPr>
          <p:cNvPr id="15" name="AutoShape 15" descr="bpct-blend1">
            <a:extLst>
              <a:ext uri="{FF2B5EF4-FFF2-40B4-BE49-F238E27FC236}">
                <a16:creationId xmlns:a16="http://schemas.microsoft.com/office/drawing/2014/main" id="{BADD9C7F-C155-CA40-8837-757047AAB170}"/>
              </a:ext>
            </a:extLst>
          </p:cNvPr>
          <p:cNvSpPr>
            <a:spLocks noChangeArrowheads="1"/>
          </p:cNvSpPr>
          <p:nvPr/>
        </p:nvSpPr>
        <p:spPr bwMode="auto">
          <a:xfrm>
            <a:off x="5908176" y="3831162"/>
            <a:ext cx="4129087" cy="687387"/>
          </a:xfrm>
          <a:prstGeom prst="roundRect">
            <a:avLst>
              <a:gd name="adj" fmla="val 5958"/>
            </a:avLst>
          </a:prstGeom>
          <a:solidFill>
            <a:schemeClr val="accent1">
              <a:lumMod val="50000"/>
            </a:schemeClr>
          </a:solidFill>
          <a:ln w="25400">
            <a:solidFill>
              <a:srgbClr val="FFFFFF"/>
            </a:solidFill>
            <a:round/>
            <a:headEnd/>
            <a:tailEnd/>
          </a:ln>
        </p:spPr>
        <p:txBody>
          <a:bodyPr lIns="125986" tIns="45718" rIns="91430" bIns="45718" anchor="ct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endParaRPr lang="sv-SE" altLang="en-US" sz="1500">
              <a:solidFill>
                <a:srgbClr val="00A9D4"/>
              </a:solidFill>
            </a:endParaRPr>
          </a:p>
        </p:txBody>
      </p:sp>
      <p:sp>
        <p:nvSpPr>
          <p:cNvPr id="16" name="Freeform 70">
            <a:extLst>
              <a:ext uri="{FF2B5EF4-FFF2-40B4-BE49-F238E27FC236}">
                <a16:creationId xmlns:a16="http://schemas.microsoft.com/office/drawing/2014/main" id="{BD02B157-68F3-EA4F-B2AE-7118FE6DE2D4}"/>
              </a:ext>
            </a:extLst>
          </p:cNvPr>
          <p:cNvSpPr>
            <a:spLocks noChangeAspect="1"/>
          </p:cNvSpPr>
          <p:nvPr/>
        </p:nvSpPr>
        <p:spPr bwMode="auto">
          <a:xfrm>
            <a:off x="10881813" y="3767662"/>
            <a:ext cx="1077913" cy="704850"/>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chemeClr val="tx1"/>
          </a:solidFill>
          <a:ln>
            <a:noFill/>
          </a:ln>
          <a:extLst/>
        </p:spPr>
        <p:txBody>
          <a:bodyPr/>
          <a:lstStyle/>
          <a:p>
            <a:endParaRPr lang="en-US"/>
          </a:p>
        </p:txBody>
      </p:sp>
      <p:cxnSp>
        <p:nvCxnSpPr>
          <p:cNvPr id="17" name="Straight Connector 81">
            <a:extLst>
              <a:ext uri="{FF2B5EF4-FFF2-40B4-BE49-F238E27FC236}">
                <a16:creationId xmlns:a16="http://schemas.microsoft.com/office/drawing/2014/main" id="{A72647FA-1256-1A4B-B811-0E769F0A5CB8}"/>
              </a:ext>
            </a:extLst>
          </p:cNvPr>
          <p:cNvCxnSpPr>
            <a:cxnSpLocks noChangeShapeType="1"/>
            <a:endCxn id="15" idx="1"/>
          </p:cNvCxnSpPr>
          <p:nvPr/>
        </p:nvCxnSpPr>
        <p:spPr bwMode="auto">
          <a:xfrm flipV="1">
            <a:off x="2897716" y="4174856"/>
            <a:ext cx="3010460" cy="226626"/>
          </a:xfrm>
          <a:prstGeom prst="line">
            <a:avLst/>
          </a:prstGeom>
          <a:noFill/>
          <a:ln w="28575">
            <a:solidFill>
              <a:schemeClr val="tx1"/>
            </a:solidFill>
            <a:round/>
            <a:headEnd/>
            <a:tailEnd/>
          </a:ln>
          <a:effectLst>
            <a:outerShdw blurRad="50800" dist="50800" dir="5400000" algn="ctr" rotWithShape="0">
              <a:schemeClr val="accent1">
                <a:lumMod val="50000"/>
              </a:schemeClr>
            </a:outerShdw>
          </a:effectLst>
          <a:extLst>
            <a:ext uri="{909E8E84-426E-40DD-AFC4-6F175D3DCCD1}">
              <a14:hiddenFill xmlns:a14="http://schemas.microsoft.com/office/drawing/2010/main">
                <a:noFill/>
              </a14:hiddenFill>
            </a:ext>
          </a:extLst>
        </p:spPr>
      </p:cxnSp>
      <p:cxnSp>
        <p:nvCxnSpPr>
          <p:cNvPr id="18" name="Straight Connector 89">
            <a:extLst>
              <a:ext uri="{FF2B5EF4-FFF2-40B4-BE49-F238E27FC236}">
                <a16:creationId xmlns:a16="http://schemas.microsoft.com/office/drawing/2014/main" id="{9C86C906-A8D6-FA4A-AB9D-454CF64E1980}"/>
              </a:ext>
            </a:extLst>
          </p:cNvPr>
          <p:cNvCxnSpPr>
            <a:cxnSpLocks noChangeShapeType="1"/>
          </p:cNvCxnSpPr>
          <p:nvPr/>
        </p:nvCxnSpPr>
        <p:spPr bwMode="auto">
          <a:xfrm>
            <a:off x="10046788" y="4137549"/>
            <a:ext cx="87788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cxnSp>
      <p:sp>
        <p:nvSpPr>
          <p:cNvPr id="19" name="Rectangle 36">
            <a:extLst>
              <a:ext uri="{FF2B5EF4-FFF2-40B4-BE49-F238E27FC236}">
                <a16:creationId xmlns:a16="http://schemas.microsoft.com/office/drawing/2014/main" id="{ED959F36-60D1-3146-8503-51F9383D494A}"/>
              </a:ext>
            </a:extLst>
          </p:cNvPr>
          <p:cNvSpPr>
            <a:spLocks noChangeArrowheads="1"/>
          </p:cNvSpPr>
          <p:nvPr/>
        </p:nvSpPr>
        <p:spPr bwMode="auto">
          <a:xfrm>
            <a:off x="6066130" y="3849892"/>
            <a:ext cx="1215935"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r>
              <a:rPr lang="sv-SE" altLang="en-US" sz="1900">
                <a:solidFill>
                  <a:srgbClr val="FFFFFF"/>
                </a:solidFill>
              </a:rPr>
              <a:t>Massive IoT slice</a:t>
            </a:r>
            <a:endParaRPr lang="en-US" altLang="en-US" sz="1900">
              <a:solidFill>
                <a:srgbClr val="FFFFFF"/>
              </a:solidFill>
            </a:endParaRPr>
          </a:p>
        </p:txBody>
      </p:sp>
      <p:sp>
        <p:nvSpPr>
          <p:cNvPr id="20" name="Freeform 61">
            <a:extLst>
              <a:ext uri="{FF2B5EF4-FFF2-40B4-BE49-F238E27FC236}">
                <a16:creationId xmlns:a16="http://schemas.microsoft.com/office/drawing/2014/main" id="{67174B91-DD8A-F54C-A105-0B3ADACD22EE}"/>
              </a:ext>
            </a:extLst>
          </p:cNvPr>
          <p:cNvSpPr>
            <a:spLocks noChangeAspect="1" noEditPoints="1"/>
          </p:cNvSpPr>
          <p:nvPr/>
        </p:nvSpPr>
        <p:spPr bwMode="auto">
          <a:xfrm>
            <a:off x="7712845" y="3927248"/>
            <a:ext cx="118993" cy="130174"/>
          </a:xfrm>
          <a:custGeom>
            <a:avLst/>
            <a:gdLst>
              <a:gd name="T0" fmla="*/ 2147483647 w 144"/>
              <a:gd name="T1" fmla="*/ 2147483647 h 144"/>
              <a:gd name="T2" fmla="*/ 2147483647 w 144"/>
              <a:gd name="T3" fmla="*/ 2147483647 h 144"/>
              <a:gd name="T4" fmla="*/ 2147483647 w 144"/>
              <a:gd name="T5" fmla="*/ 2147483647 h 144"/>
              <a:gd name="T6" fmla="*/ 2147483647 w 144"/>
              <a:gd name="T7" fmla="*/ 2147483647 h 144"/>
              <a:gd name="T8" fmla="*/ 2147483647 w 144"/>
              <a:gd name="T9" fmla="*/ 2147483647 h 144"/>
              <a:gd name="T10" fmla="*/ 2147483647 w 144"/>
              <a:gd name="T11" fmla="*/ 2147483647 h 144"/>
              <a:gd name="T12" fmla="*/ 2147483647 w 144"/>
              <a:gd name="T13" fmla="*/ 2147483647 h 144"/>
              <a:gd name="T14" fmla="*/ 2147483647 w 144"/>
              <a:gd name="T15" fmla="*/ 2147483647 h 144"/>
              <a:gd name="T16" fmla="*/ 2147483647 w 144"/>
              <a:gd name="T17" fmla="*/ 0 h 144"/>
              <a:gd name="T18" fmla="*/ 0 w 144"/>
              <a:gd name="T19" fmla="*/ 2147483647 h 144"/>
              <a:gd name="T20" fmla="*/ 2147483647 w 144"/>
              <a:gd name="T21" fmla="*/ 2147483647 h 144"/>
              <a:gd name="T22" fmla="*/ 2147483647 w 144"/>
              <a:gd name="T23" fmla="*/ 2147483647 h 144"/>
              <a:gd name="T24" fmla="*/ 0 w 144"/>
              <a:gd name="T25" fmla="*/ 2147483647 h 144"/>
              <a:gd name="T26" fmla="*/ 2147483647 w 144"/>
              <a:gd name="T27" fmla="*/ 2147483647 h 144"/>
              <a:gd name="T28" fmla="*/ 2147483647 w 144"/>
              <a:gd name="T29" fmla="*/ 2147483647 h 144"/>
              <a:gd name="T30" fmla="*/ 2147483647 w 144"/>
              <a:gd name="T31" fmla="*/ 2147483647 h 144"/>
              <a:gd name="T32" fmla="*/ 2147483647 w 144"/>
              <a:gd name="T33" fmla="*/ 2147483647 h 144"/>
              <a:gd name="T34" fmla="*/ 2147483647 w 144"/>
              <a:gd name="T35" fmla="*/ 2147483647 h 144"/>
              <a:gd name="T36" fmla="*/ 2147483647 w 144"/>
              <a:gd name="T37" fmla="*/ 2147483647 h 144"/>
              <a:gd name="T38" fmla="*/ 2147483647 w 144"/>
              <a:gd name="T39" fmla="*/ 2147483647 h 144"/>
              <a:gd name="T40" fmla="*/ 2147483647 w 144"/>
              <a:gd name="T41" fmla="*/ 2147483647 h 144"/>
              <a:gd name="T42" fmla="*/ 2147483647 w 144"/>
              <a:gd name="T43" fmla="*/ 2147483647 h 144"/>
              <a:gd name="T44" fmla="*/ 2147483647 w 144"/>
              <a:gd name="T45" fmla="*/ 2147483647 h 144"/>
              <a:gd name="T46" fmla="*/ 2147483647 w 144"/>
              <a:gd name="T47" fmla="*/ 2147483647 h 144"/>
              <a:gd name="T48" fmla="*/ 2147483647 w 144"/>
              <a:gd name="T49" fmla="*/ 2147483647 h 144"/>
              <a:gd name="T50" fmla="*/ 2147483647 w 144"/>
              <a:gd name="T51" fmla="*/ 2147483647 h 144"/>
              <a:gd name="T52" fmla="*/ 0 w 144"/>
              <a:gd name="T53" fmla="*/ 2147483647 h 144"/>
              <a:gd name="T54" fmla="*/ 2147483647 w 144"/>
              <a:gd name="T55" fmla="*/ 2147483647 h 144"/>
              <a:gd name="T56" fmla="*/ 2147483647 w 144"/>
              <a:gd name="T57" fmla="*/ 2147483647 h 144"/>
              <a:gd name="T58" fmla="*/ 2147483647 w 144"/>
              <a:gd name="T59" fmla="*/ 2147483647 h 144"/>
              <a:gd name="T60" fmla="*/ 2147483647 w 144"/>
              <a:gd name="T61" fmla="*/ 2147483647 h 1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4" h="144">
                <a:moveTo>
                  <a:pt x="8" y="16"/>
                </a:moveTo>
                <a:cubicBezTo>
                  <a:pt x="8" y="16"/>
                  <a:pt x="8" y="16"/>
                  <a:pt x="8" y="16"/>
                </a:cubicBezTo>
                <a:cubicBezTo>
                  <a:pt x="41" y="16"/>
                  <a:pt x="71" y="29"/>
                  <a:pt x="93" y="51"/>
                </a:cubicBezTo>
                <a:cubicBezTo>
                  <a:pt x="115" y="73"/>
                  <a:pt x="128" y="103"/>
                  <a:pt x="128" y="136"/>
                </a:cubicBezTo>
                <a:cubicBezTo>
                  <a:pt x="128" y="141"/>
                  <a:pt x="132" y="144"/>
                  <a:pt x="136" y="144"/>
                </a:cubicBezTo>
                <a:cubicBezTo>
                  <a:pt x="138" y="144"/>
                  <a:pt x="140" y="144"/>
                  <a:pt x="142" y="142"/>
                </a:cubicBezTo>
                <a:cubicBezTo>
                  <a:pt x="143" y="141"/>
                  <a:pt x="144" y="139"/>
                  <a:pt x="144" y="136"/>
                </a:cubicBezTo>
                <a:cubicBezTo>
                  <a:pt x="144" y="99"/>
                  <a:pt x="129" y="65"/>
                  <a:pt x="104" y="40"/>
                </a:cubicBezTo>
                <a:cubicBezTo>
                  <a:pt x="79" y="15"/>
                  <a:pt x="45" y="0"/>
                  <a:pt x="8" y="0"/>
                </a:cubicBezTo>
                <a:cubicBezTo>
                  <a:pt x="3" y="0"/>
                  <a:pt x="0" y="3"/>
                  <a:pt x="0" y="8"/>
                </a:cubicBezTo>
                <a:cubicBezTo>
                  <a:pt x="0" y="12"/>
                  <a:pt x="3" y="16"/>
                  <a:pt x="8" y="16"/>
                </a:cubicBezTo>
                <a:close/>
                <a:moveTo>
                  <a:pt x="8" y="77"/>
                </a:moveTo>
                <a:cubicBezTo>
                  <a:pt x="3" y="77"/>
                  <a:pt x="0" y="80"/>
                  <a:pt x="0" y="85"/>
                </a:cubicBezTo>
                <a:cubicBezTo>
                  <a:pt x="0" y="89"/>
                  <a:pt x="3" y="93"/>
                  <a:pt x="8" y="93"/>
                </a:cubicBezTo>
                <a:cubicBezTo>
                  <a:pt x="20" y="93"/>
                  <a:pt x="30" y="98"/>
                  <a:pt x="38" y="106"/>
                </a:cubicBezTo>
                <a:cubicBezTo>
                  <a:pt x="46" y="114"/>
                  <a:pt x="51" y="124"/>
                  <a:pt x="51" y="136"/>
                </a:cubicBezTo>
                <a:cubicBezTo>
                  <a:pt x="51" y="141"/>
                  <a:pt x="55" y="144"/>
                  <a:pt x="59" y="144"/>
                </a:cubicBezTo>
                <a:cubicBezTo>
                  <a:pt x="61" y="144"/>
                  <a:pt x="63" y="144"/>
                  <a:pt x="65" y="142"/>
                </a:cubicBezTo>
                <a:cubicBezTo>
                  <a:pt x="66" y="141"/>
                  <a:pt x="67" y="139"/>
                  <a:pt x="67" y="136"/>
                </a:cubicBezTo>
                <a:cubicBezTo>
                  <a:pt x="67" y="120"/>
                  <a:pt x="60" y="105"/>
                  <a:pt x="50" y="94"/>
                </a:cubicBezTo>
                <a:cubicBezTo>
                  <a:pt x="39" y="84"/>
                  <a:pt x="24" y="77"/>
                  <a:pt x="8" y="77"/>
                </a:cubicBezTo>
                <a:close/>
                <a:moveTo>
                  <a:pt x="98" y="144"/>
                </a:moveTo>
                <a:cubicBezTo>
                  <a:pt x="100" y="144"/>
                  <a:pt x="102" y="144"/>
                  <a:pt x="103" y="142"/>
                </a:cubicBezTo>
                <a:cubicBezTo>
                  <a:pt x="105" y="141"/>
                  <a:pt x="106" y="139"/>
                  <a:pt x="106" y="136"/>
                </a:cubicBezTo>
                <a:cubicBezTo>
                  <a:pt x="106" y="109"/>
                  <a:pt x="95" y="85"/>
                  <a:pt x="77" y="67"/>
                </a:cubicBezTo>
                <a:cubicBezTo>
                  <a:pt x="59" y="49"/>
                  <a:pt x="35" y="38"/>
                  <a:pt x="8" y="38"/>
                </a:cubicBezTo>
                <a:cubicBezTo>
                  <a:pt x="3" y="38"/>
                  <a:pt x="0" y="42"/>
                  <a:pt x="0" y="46"/>
                </a:cubicBezTo>
                <a:cubicBezTo>
                  <a:pt x="0" y="51"/>
                  <a:pt x="3" y="54"/>
                  <a:pt x="8" y="54"/>
                </a:cubicBezTo>
                <a:cubicBezTo>
                  <a:pt x="30" y="54"/>
                  <a:pt x="51" y="64"/>
                  <a:pt x="66" y="78"/>
                </a:cubicBezTo>
                <a:cubicBezTo>
                  <a:pt x="80" y="93"/>
                  <a:pt x="90" y="114"/>
                  <a:pt x="90" y="136"/>
                </a:cubicBezTo>
                <a:cubicBezTo>
                  <a:pt x="90" y="141"/>
                  <a:pt x="93" y="144"/>
                  <a:pt x="98" y="1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8" rIns="91430" bIns="45718"/>
          <a:lstStyle/>
          <a:p>
            <a:endParaRPr lang="en-US"/>
          </a:p>
        </p:txBody>
      </p:sp>
      <p:sp>
        <p:nvSpPr>
          <p:cNvPr id="21" name="Freeform 62">
            <a:extLst>
              <a:ext uri="{FF2B5EF4-FFF2-40B4-BE49-F238E27FC236}">
                <a16:creationId xmlns:a16="http://schemas.microsoft.com/office/drawing/2014/main" id="{7E5965AD-BAE0-6E42-8334-50730C8BC776}"/>
              </a:ext>
            </a:extLst>
          </p:cNvPr>
          <p:cNvSpPr>
            <a:spLocks noEditPoints="1"/>
          </p:cNvSpPr>
          <p:nvPr/>
        </p:nvSpPr>
        <p:spPr bwMode="auto">
          <a:xfrm>
            <a:off x="7287030" y="3960402"/>
            <a:ext cx="431800" cy="442913"/>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8" rIns="91430" bIns="45718"/>
          <a:lstStyle/>
          <a:p>
            <a:endParaRPr lang="en-US"/>
          </a:p>
        </p:txBody>
      </p:sp>
      <p:grpSp>
        <p:nvGrpSpPr>
          <p:cNvPr id="22" name="Group 21">
            <a:extLst>
              <a:ext uri="{FF2B5EF4-FFF2-40B4-BE49-F238E27FC236}">
                <a16:creationId xmlns:a16="http://schemas.microsoft.com/office/drawing/2014/main" id="{39548D66-915F-7343-AA9A-0163F0D7354F}"/>
              </a:ext>
            </a:extLst>
          </p:cNvPr>
          <p:cNvGrpSpPr/>
          <p:nvPr/>
        </p:nvGrpSpPr>
        <p:grpSpPr>
          <a:xfrm>
            <a:off x="7899479" y="3989377"/>
            <a:ext cx="558051" cy="370955"/>
            <a:chOff x="6743903" y="4141628"/>
            <a:chExt cx="558051" cy="370955"/>
          </a:xfrm>
        </p:grpSpPr>
        <p:sp>
          <p:nvSpPr>
            <p:cNvPr id="23" name="Freeform 63">
              <a:extLst>
                <a:ext uri="{FF2B5EF4-FFF2-40B4-BE49-F238E27FC236}">
                  <a16:creationId xmlns:a16="http://schemas.microsoft.com/office/drawing/2014/main" id="{0543E4D4-288B-FA4D-A1C0-7EBB118F4986}"/>
                </a:ext>
              </a:extLst>
            </p:cNvPr>
            <p:cNvSpPr>
              <a:spLocks noChangeAspect="1" noEditPoints="1"/>
            </p:cNvSpPr>
            <p:nvPr/>
          </p:nvSpPr>
          <p:spPr bwMode="auto">
            <a:xfrm>
              <a:off x="6743903" y="4245883"/>
              <a:ext cx="527050" cy="266700"/>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8" rIns="91430" bIns="45718"/>
            <a:lstStyle/>
            <a:p>
              <a:endParaRPr lang="en-US"/>
            </a:p>
          </p:txBody>
        </p:sp>
        <p:sp>
          <p:nvSpPr>
            <p:cNvPr id="24" name="Freeform 64">
              <a:extLst>
                <a:ext uri="{FF2B5EF4-FFF2-40B4-BE49-F238E27FC236}">
                  <a16:creationId xmlns:a16="http://schemas.microsoft.com/office/drawing/2014/main" id="{B283BA92-0CD9-2447-866B-B27F302AC4CC}"/>
                </a:ext>
              </a:extLst>
            </p:cNvPr>
            <p:cNvSpPr>
              <a:spLocks noChangeAspect="1" noEditPoints="1"/>
            </p:cNvSpPr>
            <p:nvPr/>
          </p:nvSpPr>
          <p:spPr bwMode="auto">
            <a:xfrm>
              <a:off x="7175703" y="4141628"/>
              <a:ext cx="126251" cy="138113"/>
            </a:xfrm>
            <a:custGeom>
              <a:avLst/>
              <a:gdLst>
                <a:gd name="T0" fmla="*/ 2147483647 w 144"/>
                <a:gd name="T1" fmla="*/ 2147483647 h 144"/>
                <a:gd name="T2" fmla="*/ 2147483647 w 144"/>
                <a:gd name="T3" fmla="*/ 2147483647 h 144"/>
                <a:gd name="T4" fmla="*/ 2147483647 w 144"/>
                <a:gd name="T5" fmla="*/ 2147483647 h 144"/>
                <a:gd name="T6" fmla="*/ 2147483647 w 144"/>
                <a:gd name="T7" fmla="*/ 2147483647 h 144"/>
                <a:gd name="T8" fmla="*/ 2147483647 w 144"/>
                <a:gd name="T9" fmla="*/ 2147483647 h 144"/>
                <a:gd name="T10" fmla="*/ 2147483647 w 144"/>
                <a:gd name="T11" fmla="*/ 2147483647 h 144"/>
                <a:gd name="T12" fmla="*/ 2147483647 w 144"/>
                <a:gd name="T13" fmla="*/ 2147483647 h 144"/>
                <a:gd name="T14" fmla="*/ 2147483647 w 144"/>
                <a:gd name="T15" fmla="*/ 2147483647 h 144"/>
                <a:gd name="T16" fmla="*/ 2147483647 w 144"/>
                <a:gd name="T17" fmla="*/ 0 h 144"/>
                <a:gd name="T18" fmla="*/ 0 w 144"/>
                <a:gd name="T19" fmla="*/ 2147483647 h 144"/>
                <a:gd name="T20" fmla="*/ 2147483647 w 144"/>
                <a:gd name="T21" fmla="*/ 2147483647 h 144"/>
                <a:gd name="T22" fmla="*/ 2147483647 w 144"/>
                <a:gd name="T23" fmla="*/ 2147483647 h 144"/>
                <a:gd name="T24" fmla="*/ 0 w 144"/>
                <a:gd name="T25" fmla="*/ 2147483647 h 144"/>
                <a:gd name="T26" fmla="*/ 2147483647 w 144"/>
                <a:gd name="T27" fmla="*/ 2147483647 h 144"/>
                <a:gd name="T28" fmla="*/ 2147483647 w 144"/>
                <a:gd name="T29" fmla="*/ 2147483647 h 144"/>
                <a:gd name="T30" fmla="*/ 2147483647 w 144"/>
                <a:gd name="T31" fmla="*/ 2147483647 h 144"/>
                <a:gd name="T32" fmla="*/ 2147483647 w 144"/>
                <a:gd name="T33" fmla="*/ 2147483647 h 144"/>
                <a:gd name="T34" fmla="*/ 2147483647 w 144"/>
                <a:gd name="T35" fmla="*/ 2147483647 h 144"/>
                <a:gd name="T36" fmla="*/ 2147483647 w 144"/>
                <a:gd name="T37" fmla="*/ 2147483647 h 144"/>
                <a:gd name="T38" fmla="*/ 2147483647 w 144"/>
                <a:gd name="T39" fmla="*/ 2147483647 h 144"/>
                <a:gd name="T40" fmla="*/ 2147483647 w 144"/>
                <a:gd name="T41" fmla="*/ 2147483647 h 144"/>
                <a:gd name="T42" fmla="*/ 2147483647 w 144"/>
                <a:gd name="T43" fmla="*/ 2147483647 h 144"/>
                <a:gd name="T44" fmla="*/ 2147483647 w 144"/>
                <a:gd name="T45" fmla="*/ 2147483647 h 144"/>
                <a:gd name="T46" fmla="*/ 2147483647 w 144"/>
                <a:gd name="T47" fmla="*/ 2147483647 h 144"/>
                <a:gd name="T48" fmla="*/ 2147483647 w 144"/>
                <a:gd name="T49" fmla="*/ 2147483647 h 144"/>
                <a:gd name="T50" fmla="*/ 2147483647 w 144"/>
                <a:gd name="T51" fmla="*/ 2147483647 h 144"/>
                <a:gd name="T52" fmla="*/ 0 w 144"/>
                <a:gd name="T53" fmla="*/ 2147483647 h 144"/>
                <a:gd name="T54" fmla="*/ 2147483647 w 144"/>
                <a:gd name="T55" fmla="*/ 2147483647 h 144"/>
                <a:gd name="T56" fmla="*/ 2147483647 w 144"/>
                <a:gd name="T57" fmla="*/ 2147483647 h 144"/>
                <a:gd name="T58" fmla="*/ 2147483647 w 144"/>
                <a:gd name="T59" fmla="*/ 2147483647 h 144"/>
                <a:gd name="T60" fmla="*/ 2147483647 w 144"/>
                <a:gd name="T61" fmla="*/ 2147483647 h 1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4" h="144">
                  <a:moveTo>
                    <a:pt x="8" y="16"/>
                  </a:moveTo>
                  <a:cubicBezTo>
                    <a:pt x="8" y="16"/>
                    <a:pt x="8" y="16"/>
                    <a:pt x="8" y="16"/>
                  </a:cubicBezTo>
                  <a:cubicBezTo>
                    <a:pt x="41" y="16"/>
                    <a:pt x="71" y="29"/>
                    <a:pt x="93" y="51"/>
                  </a:cubicBezTo>
                  <a:cubicBezTo>
                    <a:pt x="115" y="73"/>
                    <a:pt x="128" y="103"/>
                    <a:pt x="128" y="136"/>
                  </a:cubicBezTo>
                  <a:cubicBezTo>
                    <a:pt x="128" y="141"/>
                    <a:pt x="132" y="144"/>
                    <a:pt x="136" y="144"/>
                  </a:cubicBezTo>
                  <a:cubicBezTo>
                    <a:pt x="138" y="144"/>
                    <a:pt x="140" y="144"/>
                    <a:pt x="142" y="142"/>
                  </a:cubicBezTo>
                  <a:cubicBezTo>
                    <a:pt x="143" y="141"/>
                    <a:pt x="144" y="139"/>
                    <a:pt x="144" y="136"/>
                  </a:cubicBezTo>
                  <a:cubicBezTo>
                    <a:pt x="144" y="99"/>
                    <a:pt x="129" y="65"/>
                    <a:pt x="104" y="40"/>
                  </a:cubicBezTo>
                  <a:cubicBezTo>
                    <a:pt x="79" y="15"/>
                    <a:pt x="45" y="0"/>
                    <a:pt x="8" y="0"/>
                  </a:cubicBezTo>
                  <a:cubicBezTo>
                    <a:pt x="3" y="0"/>
                    <a:pt x="0" y="3"/>
                    <a:pt x="0" y="8"/>
                  </a:cubicBezTo>
                  <a:cubicBezTo>
                    <a:pt x="0" y="12"/>
                    <a:pt x="3" y="16"/>
                    <a:pt x="8" y="16"/>
                  </a:cubicBezTo>
                  <a:close/>
                  <a:moveTo>
                    <a:pt x="8" y="77"/>
                  </a:moveTo>
                  <a:cubicBezTo>
                    <a:pt x="3" y="77"/>
                    <a:pt x="0" y="80"/>
                    <a:pt x="0" y="85"/>
                  </a:cubicBezTo>
                  <a:cubicBezTo>
                    <a:pt x="0" y="89"/>
                    <a:pt x="3" y="93"/>
                    <a:pt x="8" y="93"/>
                  </a:cubicBezTo>
                  <a:cubicBezTo>
                    <a:pt x="20" y="93"/>
                    <a:pt x="30" y="98"/>
                    <a:pt x="38" y="106"/>
                  </a:cubicBezTo>
                  <a:cubicBezTo>
                    <a:pt x="46" y="114"/>
                    <a:pt x="51" y="124"/>
                    <a:pt x="51" y="136"/>
                  </a:cubicBezTo>
                  <a:cubicBezTo>
                    <a:pt x="51" y="141"/>
                    <a:pt x="55" y="144"/>
                    <a:pt x="59" y="144"/>
                  </a:cubicBezTo>
                  <a:cubicBezTo>
                    <a:pt x="61" y="144"/>
                    <a:pt x="63" y="144"/>
                    <a:pt x="65" y="142"/>
                  </a:cubicBezTo>
                  <a:cubicBezTo>
                    <a:pt x="66" y="141"/>
                    <a:pt x="67" y="139"/>
                    <a:pt x="67" y="136"/>
                  </a:cubicBezTo>
                  <a:cubicBezTo>
                    <a:pt x="67" y="120"/>
                    <a:pt x="60" y="105"/>
                    <a:pt x="50" y="94"/>
                  </a:cubicBezTo>
                  <a:cubicBezTo>
                    <a:pt x="39" y="84"/>
                    <a:pt x="24" y="77"/>
                    <a:pt x="8" y="77"/>
                  </a:cubicBezTo>
                  <a:close/>
                  <a:moveTo>
                    <a:pt x="98" y="144"/>
                  </a:moveTo>
                  <a:cubicBezTo>
                    <a:pt x="100" y="144"/>
                    <a:pt x="102" y="144"/>
                    <a:pt x="103" y="142"/>
                  </a:cubicBezTo>
                  <a:cubicBezTo>
                    <a:pt x="105" y="141"/>
                    <a:pt x="106" y="139"/>
                    <a:pt x="106" y="136"/>
                  </a:cubicBezTo>
                  <a:cubicBezTo>
                    <a:pt x="106" y="109"/>
                    <a:pt x="95" y="85"/>
                    <a:pt x="77" y="67"/>
                  </a:cubicBezTo>
                  <a:cubicBezTo>
                    <a:pt x="59" y="49"/>
                    <a:pt x="35" y="38"/>
                    <a:pt x="8" y="38"/>
                  </a:cubicBezTo>
                  <a:cubicBezTo>
                    <a:pt x="3" y="38"/>
                    <a:pt x="0" y="42"/>
                    <a:pt x="0" y="46"/>
                  </a:cubicBezTo>
                  <a:cubicBezTo>
                    <a:pt x="0" y="51"/>
                    <a:pt x="3" y="54"/>
                    <a:pt x="8" y="54"/>
                  </a:cubicBezTo>
                  <a:cubicBezTo>
                    <a:pt x="30" y="54"/>
                    <a:pt x="51" y="64"/>
                    <a:pt x="66" y="78"/>
                  </a:cubicBezTo>
                  <a:cubicBezTo>
                    <a:pt x="80" y="93"/>
                    <a:pt x="90" y="114"/>
                    <a:pt x="90" y="136"/>
                  </a:cubicBezTo>
                  <a:cubicBezTo>
                    <a:pt x="90" y="141"/>
                    <a:pt x="93" y="144"/>
                    <a:pt x="98" y="1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8" rIns="91430" bIns="45718"/>
            <a:lstStyle/>
            <a:p>
              <a:endParaRPr lang="en-US"/>
            </a:p>
          </p:txBody>
        </p:sp>
      </p:grpSp>
      <p:sp>
        <p:nvSpPr>
          <p:cNvPr id="25" name="AutoShape 15" descr="bpct-blend1">
            <a:extLst>
              <a:ext uri="{FF2B5EF4-FFF2-40B4-BE49-F238E27FC236}">
                <a16:creationId xmlns:a16="http://schemas.microsoft.com/office/drawing/2014/main" id="{2763E563-A96F-8743-B589-DC68856F9C36}"/>
              </a:ext>
            </a:extLst>
          </p:cNvPr>
          <p:cNvSpPr>
            <a:spLocks noChangeArrowheads="1"/>
          </p:cNvSpPr>
          <p:nvPr/>
        </p:nvSpPr>
        <p:spPr bwMode="auto">
          <a:xfrm>
            <a:off x="5901826" y="3053069"/>
            <a:ext cx="4129087" cy="687387"/>
          </a:xfrm>
          <a:prstGeom prst="roundRect">
            <a:avLst>
              <a:gd name="adj" fmla="val 5958"/>
            </a:avLst>
          </a:prstGeom>
          <a:solidFill>
            <a:srgbClr val="7030A0"/>
          </a:solidFill>
          <a:ln w="25400">
            <a:solidFill>
              <a:srgbClr val="FFFFFF"/>
            </a:solidFill>
            <a:round/>
            <a:headEnd/>
            <a:tailEnd/>
          </a:ln>
        </p:spPr>
        <p:txBody>
          <a:bodyPr lIns="125986" tIns="45718" rIns="91430" bIns="45718" anchor="ct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endParaRPr lang="sv-SE" altLang="en-US" sz="1500">
              <a:solidFill>
                <a:srgbClr val="00A9D4"/>
              </a:solidFill>
            </a:endParaRPr>
          </a:p>
        </p:txBody>
      </p:sp>
      <p:sp>
        <p:nvSpPr>
          <p:cNvPr id="26" name="Freeform 70">
            <a:extLst>
              <a:ext uri="{FF2B5EF4-FFF2-40B4-BE49-F238E27FC236}">
                <a16:creationId xmlns:a16="http://schemas.microsoft.com/office/drawing/2014/main" id="{F4B90E52-742D-FE4F-B310-42D1BD324FA6}"/>
              </a:ext>
            </a:extLst>
          </p:cNvPr>
          <p:cNvSpPr>
            <a:spLocks noChangeAspect="1"/>
          </p:cNvSpPr>
          <p:nvPr/>
        </p:nvSpPr>
        <p:spPr bwMode="auto">
          <a:xfrm>
            <a:off x="10875463" y="2989569"/>
            <a:ext cx="1077913" cy="704850"/>
          </a:xfrm>
          <a:custGeom>
            <a:avLst/>
            <a:gdLst>
              <a:gd name="T0" fmla="*/ 2147483647 w 462"/>
              <a:gd name="T1" fmla="*/ 2147483647 h 293"/>
              <a:gd name="T2" fmla="*/ 2147483647 w 462"/>
              <a:gd name="T3" fmla="*/ 2147483647 h 293"/>
              <a:gd name="T4" fmla="*/ 2147483647 w 462"/>
              <a:gd name="T5" fmla="*/ 2147483647 h 293"/>
              <a:gd name="T6" fmla="*/ 2147483647 w 462"/>
              <a:gd name="T7" fmla="*/ 2147483647 h 293"/>
              <a:gd name="T8" fmla="*/ 2147483647 w 462"/>
              <a:gd name="T9" fmla="*/ 2147483647 h 293"/>
              <a:gd name="T10" fmla="*/ 2147483647 w 462"/>
              <a:gd name="T11" fmla="*/ 2147483647 h 293"/>
              <a:gd name="T12" fmla="*/ 2147483647 w 462"/>
              <a:gd name="T13" fmla="*/ 2147483647 h 293"/>
              <a:gd name="T14" fmla="*/ 2147483647 w 462"/>
              <a:gd name="T15" fmla="*/ 2147483647 h 293"/>
              <a:gd name="T16" fmla="*/ 2147483647 w 462"/>
              <a:gd name="T17" fmla="*/ 2147483647 h 293"/>
              <a:gd name="T18" fmla="*/ 2147483647 w 462"/>
              <a:gd name="T19" fmla="*/ 2147483647 h 293"/>
              <a:gd name="T20" fmla="*/ 2147483647 w 462"/>
              <a:gd name="T21" fmla="*/ 2147483647 h 293"/>
              <a:gd name="T22" fmla="*/ 2147483647 w 462"/>
              <a:gd name="T23" fmla="*/ 2147483647 h 293"/>
              <a:gd name="T24" fmla="*/ 2147483647 w 462"/>
              <a:gd name="T25" fmla="*/ 2147483647 h 293"/>
              <a:gd name="T26" fmla="*/ 2147483647 w 462"/>
              <a:gd name="T27" fmla="*/ 2147483647 h 293"/>
              <a:gd name="T28" fmla="*/ 2147483647 w 462"/>
              <a:gd name="T29" fmla="*/ 2147483647 h 293"/>
              <a:gd name="T30" fmla="*/ 2147483647 w 462"/>
              <a:gd name="T31" fmla="*/ 2147483647 h 293"/>
              <a:gd name="T32" fmla="*/ 2147483647 w 462"/>
              <a:gd name="T33" fmla="*/ 2147483647 h 293"/>
              <a:gd name="T34" fmla="*/ 2147483647 w 462"/>
              <a:gd name="T35" fmla="*/ 2147483647 h 293"/>
              <a:gd name="T36" fmla="*/ 2147483647 w 462"/>
              <a:gd name="T37" fmla="*/ 2147483647 h 293"/>
              <a:gd name="T38" fmla="*/ 2147483647 w 462"/>
              <a:gd name="T39" fmla="*/ 2147483647 h 293"/>
              <a:gd name="T40" fmla="*/ 2147483647 w 462"/>
              <a:gd name="T41" fmla="*/ 2147483647 h 293"/>
              <a:gd name="T42" fmla="*/ 2147483647 w 462"/>
              <a:gd name="T43" fmla="*/ 2147483647 h 293"/>
              <a:gd name="T44" fmla="*/ 2147483647 w 462"/>
              <a:gd name="T45" fmla="*/ 2147483647 h 293"/>
              <a:gd name="T46" fmla="*/ 2147483647 w 462"/>
              <a:gd name="T47" fmla="*/ 2147483647 h 293"/>
              <a:gd name="T48" fmla="*/ 2147483647 w 462"/>
              <a:gd name="T49" fmla="*/ 2147483647 h 293"/>
              <a:gd name="T50" fmla="*/ 2147483647 w 462"/>
              <a:gd name="T51" fmla="*/ 2147483647 h 293"/>
              <a:gd name="T52" fmla="*/ 2147483647 w 462"/>
              <a:gd name="T53" fmla="*/ 0 h 293"/>
              <a:gd name="T54" fmla="*/ 2147483647 w 462"/>
              <a:gd name="T55" fmla="*/ 2147483647 h 293"/>
              <a:gd name="T56" fmla="*/ 0 w 462"/>
              <a:gd name="T57" fmla="*/ 2147483647 h 293"/>
              <a:gd name="T58" fmla="*/ 2147483647 w 462"/>
              <a:gd name="T59" fmla="*/ 2147483647 h 293"/>
              <a:gd name="T60" fmla="*/ 2147483647 w 462"/>
              <a:gd name="T61" fmla="*/ 2147483647 h 293"/>
              <a:gd name="T62" fmla="*/ 2147483647 w 462"/>
              <a:gd name="T63" fmla="*/ 2147483647 h 293"/>
              <a:gd name="T64" fmla="*/ 2147483647 w 462"/>
              <a:gd name="T65" fmla="*/ 2147483647 h 29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62" h="293">
                <a:moveTo>
                  <a:pt x="435" y="148"/>
                </a:moveTo>
                <a:cubicBezTo>
                  <a:pt x="437" y="140"/>
                  <a:pt x="439" y="132"/>
                  <a:pt x="439" y="123"/>
                </a:cubicBezTo>
                <a:cubicBezTo>
                  <a:pt x="439" y="104"/>
                  <a:pt x="433" y="86"/>
                  <a:pt x="422" y="70"/>
                </a:cubicBezTo>
                <a:cubicBezTo>
                  <a:pt x="420" y="67"/>
                  <a:pt x="415" y="66"/>
                  <a:pt x="411" y="68"/>
                </a:cubicBezTo>
                <a:cubicBezTo>
                  <a:pt x="407" y="71"/>
                  <a:pt x="406" y="76"/>
                  <a:pt x="409" y="79"/>
                </a:cubicBezTo>
                <a:cubicBezTo>
                  <a:pt x="418" y="92"/>
                  <a:pt x="423" y="108"/>
                  <a:pt x="423" y="123"/>
                </a:cubicBezTo>
                <a:cubicBezTo>
                  <a:pt x="423" y="132"/>
                  <a:pt x="421" y="140"/>
                  <a:pt x="419" y="148"/>
                </a:cubicBezTo>
                <a:cubicBezTo>
                  <a:pt x="418" y="151"/>
                  <a:pt x="419" y="154"/>
                  <a:pt x="421" y="156"/>
                </a:cubicBezTo>
                <a:cubicBezTo>
                  <a:pt x="437" y="170"/>
                  <a:pt x="446" y="189"/>
                  <a:pt x="446" y="209"/>
                </a:cubicBezTo>
                <a:cubicBezTo>
                  <a:pt x="446" y="247"/>
                  <a:pt x="415" y="277"/>
                  <a:pt x="378" y="277"/>
                </a:cubicBezTo>
                <a:cubicBezTo>
                  <a:pt x="88" y="277"/>
                  <a:pt x="88" y="277"/>
                  <a:pt x="88" y="277"/>
                </a:cubicBezTo>
                <a:cubicBezTo>
                  <a:pt x="48" y="277"/>
                  <a:pt x="16" y="245"/>
                  <a:pt x="16" y="206"/>
                </a:cubicBezTo>
                <a:cubicBezTo>
                  <a:pt x="16" y="178"/>
                  <a:pt x="31" y="154"/>
                  <a:pt x="56" y="141"/>
                </a:cubicBezTo>
                <a:cubicBezTo>
                  <a:pt x="59" y="140"/>
                  <a:pt x="60" y="137"/>
                  <a:pt x="60" y="134"/>
                </a:cubicBezTo>
                <a:cubicBezTo>
                  <a:pt x="60" y="134"/>
                  <a:pt x="60" y="133"/>
                  <a:pt x="60" y="133"/>
                </a:cubicBezTo>
                <a:cubicBezTo>
                  <a:pt x="60" y="69"/>
                  <a:pt x="113" y="16"/>
                  <a:pt x="178" y="16"/>
                </a:cubicBezTo>
                <a:cubicBezTo>
                  <a:pt x="217" y="16"/>
                  <a:pt x="254" y="36"/>
                  <a:pt x="276" y="68"/>
                </a:cubicBezTo>
                <a:cubicBezTo>
                  <a:pt x="277" y="70"/>
                  <a:pt x="279" y="72"/>
                  <a:pt x="282" y="72"/>
                </a:cubicBezTo>
                <a:cubicBezTo>
                  <a:pt x="284" y="72"/>
                  <a:pt x="287" y="71"/>
                  <a:pt x="288" y="70"/>
                </a:cubicBezTo>
                <a:cubicBezTo>
                  <a:pt x="288" y="70"/>
                  <a:pt x="289" y="69"/>
                  <a:pt x="289" y="69"/>
                </a:cubicBezTo>
                <a:cubicBezTo>
                  <a:pt x="290" y="68"/>
                  <a:pt x="309" y="45"/>
                  <a:pt x="344" y="45"/>
                </a:cubicBezTo>
                <a:cubicBezTo>
                  <a:pt x="360" y="45"/>
                  <a:pt x="375" y="50"/>
                  <a:pt x="388" y="59"/>
                </a:cubicBezTo>
                <a:cubicBezTo>
                  <a:pt x="392" y="61"/>
                  <a:pt x="397" y="60"/>
                  <a:pt x="399" y="56"/>
                </a:cubicBezTo>
                <a:cubicBezTo>
                  <a:pt x="402" y="53"/>
                  <a:pt x="401" y="48"/>
                  <a:pt x="397" y="45"/>
                </a:cubicBezTo>
                <a:cubicBezTo>
                  <a:pt x="381" y="35"/>
                  <a:pt x="363" y="29"/>
                  <a:pt x="344" y="29"/>
                </a:cubicBezTo>
                <a:cubicBezTo>
                  <a:pt x="314" y="29"/>
                  <a:pt x="294" y="43"/>
                  <a:pt x="284" y="52"/>
                </a:cubicBezTo>
                <a:cubicBezTo>
                  <a:pt x="258" y="19"/>
                  <a:pt x="220" y="0"/>
                  <a:pt x="178" y="0"/>
                </a:cubicBezTo>
                <a:cubicBezTo>
                  <a:pt x="106" y="0"/>
                  <a:pt x="47" y="58"/>
                  <a:pt x="44" y="129"/>
                </a:cubicBezTo>
                <a:cubicBezTo>
                  <a:pt x="17" y="145"/>
                  <a:pt x="0" y="174"/>
                  <a:pt x="0" y="206"/>
                </a:cubicBezTo>
                <a:cubicBezTo>
                  <a:pt x="0" y="254"/>
                  <a:pt x="39" y="293"/>
                  <a:pt x="88" y="293"/>
                </a:cubicBezTo>
                <a:cubicBezTo>
                  <a:pt x="378" y="293"/>
                  <a:pt x="378" y="293"/>
                  <a:pt x="378" y="293"/>
                </a:cubicBezTo>
                <a:cubicBezTo>
                  <a:pt x="424" y="293"/>
                  <a:pt x="462" y="256"/>
                  <a:pt x="462" y="209"/>
                </a:cubicBezTo>
                <a:cubicBezTo>
                  <a:pt x="462" y="186"/>
                  <a:pt x="452" y="164"/>
                  <a:pt x="435" y="148"/>
                </a:cubicBezTo>
                <a:close/>
              </a:path>
            </a:pathLst>
          </a:custGeom>
          <a:solidFill>
            <a:schemeClr val="tx1"/>
          </a:solidFill>
          <a:ln>
            <a:noFill/>
          </a:ln>
          <a:extLst/>
        </p:spPr>
        <p:txBody>
          <a:bodyPr/>
          <a:lstStyle/>
          <a:p>
            <a:endParaRPr lang="en-US"/>
          </a:p>
        </p:txBody>
      </p:sp>
      <p:cxnSp>
        <p:nvCxnSpPr>
          <p:cNvPr id="27" name="Straight Connector 89">
            <a:extLst>
              <a:ext uri="{FF2B5EF4-FFF2-40B4-BE49-F238E27FC236}">
                <a16:creationId xmlns:a16="http://schemas.microsoft.com/office/drawing/2014/main" id="{A79739E0-0E2E-DE48-9D9B-C87B32DBE3A9}"/>
              </a:ext>
            </a:extLst>
          </p:cNvPr>
          <p:cNvCxnSpPr>
            <a:cxnSpLocks noChangeShapeType="1"/>
          </p:cNvCxnSpPr>
          <p:nvPr/>
        </p:nvCxnSpPr>
        <p:spPr bwMode="auto">
          <a:xfrm>
            <a:off x="10040438" y="3359456"/>
            <a:ext cx="877888"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cxnSp>
      <p:sp>
        <p:nvSpPr>
          <p:cNvPr id="28" name="Rectangle 36">
            <a:extLst>
              <a:ext uri="{FF2B5EF4-FFF2-40B4-BE49-F238E27FC236}">
                <a16:creationId xmlns:a16="http://schemas.microsoft.com/office/drawing/2014/main" id="{87A82ECE-2649-D542-B8EB-A4F30A5033F1}"/>
              </a:ext>
            </a:extLst>
          </p:cNvPr>
          <p:cNvSpPr>
            <a:spLocks noChangeArrowheads="1"/>
          </p:cNvSpPr>
          <p:nvPr/>
        </p:nvSpPr>
        <p:spPr bwMode="auto">
          <a:xfrm>
            <a:off x="6059780" y="3071799"/>
            <a:ext cx="137412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000">
                <a:solidFill>
                  <a:schemeClr val="tx1"/>
                </a:solidFill>
                <a:latin typeface="Arial" pitchFamily="34" charset="0"/>
                <a:ea typeface="ＭＳ Ｐゴシック" pitchFamily="34" charset="-128"/>
              </a:defRPr>
            </a:lvl1pPr>
            <a:lvl2pPr marL="742950" indent="-285750" eaLnBrk="0" hangingPunct="0">
              <a:defRPr sz="2000">
                <a:solidFill>
                  <a:schemeClr val="tx1"/>
                </a:solidFill>
                <a:latin typeface="Arial" pitchFamily="34" charset="0"/>
                <a:ea typeface="ＭＳ Ｐゴシック" pitchFamily="34" charset="-128"/>
              </a:defRPr>
            </a:lvl2pPr>
            <a:lvl3pPr marL="1143000" indent="-228600" eaLnBrk="0" hangingPunct="0">
              <a:defRPr sz="2000">
                <a:solidFill>
                  <a:schemeClr val="tx1"/>
                </a:solidFill>
                <a:latin typeface="Arial" pitchFamily="34" charset="0"/>
                <a:ea typeface="ＭＳ Ｐゴシック" pitchFamily="34" charset="-128"/>
              </a:defRPr>
            </a:lvl3pPr>
            <a:lvl4pPr marL="1600200" indent="-228600" eaLnBrk="0" hangingPunct="0">
              <a:defRPr sz="2000">
                <a:solidFill>
                  <a:schemeClr val="tx1"/>
                </a:solidFill>
                <a:latin typeface="Arial" pitchFamily="34" charset="0"/>
                <a:ea typeface="ＭＳ Ｐゴシック" pitchFamily="34" charset="-128"/>
              </a:defRPr>
            </a:lvl4pPr>
            <a:lvl5pPr marL="2057400" indent="-228600" eaLnBrk="0" hangingPunct="0">
              <a:defRPr sz="20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000">
                <a:solidFill>
                  <a:schemeClr val="tx1"/>
                </a:solidFill>
                <a:latin typeface="Arial" pitchFamily="34" charset="0"/>
                <a:ea typeface="ＭＳ Ｐゴシック" pitchFamily="34" charset="-128"/>
              </a:defRPr>
            </a:lvl9pPr>
          </a:lstStyle>
          <a:p>
            <a:pPr eaLnBrk="1" hangingPunct="1"/>
            <a:r>
              <a:rPr lang="sv-SE" altLang="en-US" sz="1900">
                <a:solidFill>
                  <a:srgbClr val="FFFFFF"/>
                </a:solidFill>
              </a:rPr>
              <a:t>Enterprise slice</a:t>
            </a:r>
            <a:endParaRPr lang="en-US" altLang="en-US" sz="1900">
              <a:solidFill>
                <a:srgbClr val="FFFFFF"/>
              </a:solidFill>
            </a:endParaRPr>
          </a:p>
        </p:txBody>
      </p:sp>
      <p:sp>
        <p:nvSpPr>
          <p:cNvPr id="29" name="Freeform 65">
            <a:extLst>
              <a:ext uri="{FF2B5EF4-FFF2-40B4-BE49-F238E27FC236}">
                <a16:creationId xmlns:a16="http://schemas.microsoft.com/office/drawing/2014/main" id="{18B66056-E787-7645-982E-C8F0B691914A}"/>
              </a:ext>
            </a:extLst>
          </p:cNvPr>
          <p:cNvSpPr>
            <a:spLocks noChangeAspect="1" noEditPoints="1"/>
          </p:cNvSpPr>
          <p:nvPr/>
        </p:nvSpPr>
        <p:spPr bwMode="auto">
          <a:xfrm>
            <a:off x="7360876" y="3174103"/>
            <a:ext cx="330200" cy="487363"/>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lIns="91430" tIns="45718" rIns="91430" bIns="45718"/>
          <a:lstStyle/>
          <a:p>
            <a:endParaRPr lang="en-US"/>
          </a:p>
        </p:txBody>
      </p:sp>
      <p:cxnSp>
        <p:nvCxnSpPr>
          <p:cNvPr id="30" name="Straight Connector 81">
            <a:extLst>
              <a:ext uri="{FF2B5EF4-FFF2-40B4-BE49-F238E27FC236}">
                <a16:creationId xmlns:a16="http://schemas.microsoft.com/office/drawing/2014/main" id="{ADFC6D23-FDF4-F541-B09F-3241FF83901C}"/>
              </a:ext>
            </a:extLst>
          </p:cNvPr>
          <p:cNvCxnSpPr>
            <a:cxnSpLocks noChangeShapeType="1"/>
            <a:endCxn id="25" idx="1"/>
          </p:cNvCxnSpPr>
          <p:nvPr/>
        </p:nvCxnSpPr>
        <p:spPr bwMode="auto">
          <a:xfrm flipV="1">
            <a:off x="2864220" y="3396763"/>
            <a:ext cx="3037606" cy="825629"/>
          </a:xfrm>
          <a:prstGeom prst="line">
            <a:avLst/>
          </a:prstGeom>
          <a:noFill/>
          <a:ln w="28575">
            <a:solidFill>
              <a:schemeClr val="tx1"/>
            </a:solidFill>
            <a:round/>
            <a:headEnd/>
            <a:tailEnd/>
          </a:ln>
          <a:effectLst>
            <a:outerShdw blurRad="50800" dist="50800" dir="5400000" algn="ctr" rotWithShape="0">
              <a:srgbClr val="7030A0"/>
            </a:outerShdw>
          </a:effectLst>
          <a:extLst>
            <a:ext uri="{909E8E84-426E-40DD-AFC4-6F175D3DCCD1}">
              <a14:hiddenFill xmlns:a14="http://schemas.microsoft.com/office/drawing/2010/main">
                <a:noFill/>
              </a14:hiddenFill>
            </a:ext>
          </a:extLst>
        </p:spPr>
      </p:cxnSp>
      <p:grpSp>
        <p:nvGrpSpPr>
          <p:cNvPr id="31" name="Group 30">
            <a:extLst>
              <a:ext uri="{FF2B5EF4-FFF2-40B4-BE49-F238E27FC236}">
                <a16:creationId xmlns:a16="http://schemas.microsoft.com/office/drawing/2014/main" id="{ACEDA37B-096F-7B48-8238-FAB41A865916}"/>
              </a:ext>
            </a:extLst>
          </p:cNvPr>
          <p:cNvGrpSpPr/>
          <p:nvPr/>
        </p:nvGrpSpPr>
        <p:grpSpPr>
          <a:xfrm>
            <a:off x="646022" y="4613619"/>
            <a:ext cx="544808" cy="476067"/>
            <a:chOff x="306388" y="4247859"/>
            <a:chExt cx="544808" cy="476067"/>
          </a:xfrm>
          <a:solidFill>
            <a:schemeClr val="accent1"/>
          </a:solidFill>
        </p:grpSpPr>
        <p:sp>
          <p:nvSpPr>
            <p:cNvPr id="32" name="Freeform 61">
              <a:extLst>
                <a:ext uri="{FF2B5EF4-FFF2-40B4-BE49-F238E27FC236}">
                  <a16:creationId xmlns:a16="http://schemas.microsoft.com/office/drawing/2014/main" id="{18ABD73F-45A4-FA48-8A25-BE2F4CE4F159}"/>
                </a:ext>
              </a:extLst>
            </p:cNvPr>
            <p:cNvSpPr>
              <a:spLocks noChangeAspect="1" noEditPoints="1"/>
            </p:cNvSpPr>
            <p:nvPr/>
          </p:nvSpPr>
          <p:spPr bwMode="auto">
            <a:xfrm>
              <a:off x="732203" y="4247859"/>
              <a:ext cx="118993" cy="130174"/>
            </a:xfrm>
            <a:custGeom>
              <a:avLst/>
              <a:gdLst>
                <a:gd name="T0" fmla="*/ 2147483647 w 144"/>
                <a:gd name="T1" fmla="*/ 2147483647 h 144"/>
                <a:gd name="T2" fmla="*/ 2147483647 w 144"/>
                <a:gd name="T3" fmla="*/ 2147483647 h 144"/>
                <a:gd name="T4" fmla="*/ 2147483647 w 144"/>
                <a:gd name="T5" fmla="*/ 2147483647 h 144"/>
                <a:gd name="T6" fmla="*/ 2147483647 w 144"/>
                <a:gd name="T7" fmla="*/ 2147483647 h 144"/>
                <a:gd name="T8" fmla="*/ 2147483647 w 144"/>
                <a:gd name="T9" fmla="*/ 2147483647 h 144"/>
                <a:gd name="T10" fmla="*/ 2147483647 w 144"/>
                <a:gd name="T11" fmla="*/ 2147483647 h 144"/>
                <a:gd name="T12" fmla="*/ 2147483647 w 144"/>
                <a:gd name="T13" fmla="*/ 2147483647 h 144"/>
                <a:gd name="T14" fmla="*/ 2147483647 w 144"/>
                <a:gd name="T15" fmla="*/ 2147483647 h 144"/>
                <a:gd name="T16" fmla="*/ 2147483647 w 144"/>
                <a:gd name="T17" fmla="*/ 0 h 144"/>
                <a:gd name="T18" fmla="*/ 0 w 144"/>
                <a:gd name="T19" fmla="*/ 2147483647 h 144"/>
                <a:gd name="T20" fmla="*/ 2147483647 w 144"/>
                <a:gd name="T21" fmla="*/ 2147483647 h 144"/>
                <a:gd name="T22" fmla="*/ 2147483647 w 144"/>
                <a:gd name="T23" fmla="*/ 2147483647 h 144"/>
                <a:gd name="T24" fmla="*/ 0 w 144"/>
                <a:gd name="T25" fmla="*/ 2147483647 h 144"/>
                <a:gd name="T26" fmla="*/ 2147483647 w 144"/>
                <a:gd name="T27" fmla="*/ 2147483647 h 144"/>
                <a:gd name="T28" fmla="*/ 2147483647 w 144"/>
                <a:gd name="T29" fmla="*/ 2147483647 h 144"/>
                <a:gd name="T30" fmla="*/ 2147483647 w 144"/>
                <a:gd name="T31" fmla="*/ 2147483647 h 144"/>
                <a:gd name="T32" fmla="*/ 2147483647 w 144"/>
                <a:gd name="T33" fmla="*/ 2147483647 h 144"/>
                <a:gd name="T34" fmla="*/ 2147483647 w 144"/>
                <a:gd name="T35" fmla="*/ 2147483647 h 144"/>
                <a:gd name="T36" fmla="*/ 2147483647 w 144"/>
                <a:gd name="T37" fmla="*/ 2147483647 h 144"/>
                <a:gd name="T38" fmla="*/ 2147483647 w 144"/>
                <a:gd name="T39" fmla="*/ 2147483647 h 144"/>
                <a:gd name="T40" fmla="*/ 2147483647 w 144"/>
                <a:gd name="T41" fmla="*/ 2147483647 h 144"/>
                <a:gd name="T42" fmla="*/ 2147483647 w 144"/>
                <a:gd name="T43" fmla="*/ 2147483647 h 144"/>
                <a:gd name="T44" fmla="*/ 2147483647 w 144"/>
                <a:gd name="T45" fmla="*/ 2147483647 h 144"/>
                <a:gd name="T46" fmla="*/ 2147483647 w 144"/>
                <a:gd name="T47" fmla="*/ 2147483647 h 144"/>
                <a:gd name="T48" fmla="*/ 2147483647 w 144"/>
                <a:gd name="T49" fmla="*/ 2147483647 h 144"/>
                <a:gd name="T50" fmla="*/ 2147483647 w 144"/>
                <a:gd name="T51" fmla="*/ 2147483647 h 144"/>
                <a:gd name="T52" fmla="*/ 0 w 144"/>
                <a:gd name="T53" fmla="*/ 2147483647 h 144"/>
                <a:gd name="T54" fmla="*/ 2147483647 w 144"/>
                <a:gd name="T55" fmla="*/ 2147483647 h 144"/>
                <a:gd name="T56" fmla="*/ 2147483647 w 144"/>
                <a:gd name="T57" fmla="*/ 2147483647 h 144"/>
                <a:gd name="T58" fmla="*/ 2147483647 w 144"/>
                <a:gd name="T59" fmla="*/ 2147483647 h 144"/>
                <a:gd name="T60" fmla="*/ 2147483647 w 144"/>
                <a:gd name="T61" fmla="*/ 2147483647 h 1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4" h="144">
                  <a:moveTo>
                    <a:pt x="8" y="16"/>
                  </a:moveTo>
                  <a:cubicBezTo>
                    <a:pt x="8" y="16"/>
                    <a:pt x="8" y="16"/>
                    <a:pt x="8" y="16"/>
                  </a:cubicBezTo>
                  <a:cubicBezTo>
                    <a:pt x="41" y="16"/>
                    <a:pt x="71" y="29"/>
                    <a:pt x="93" y="51"/>
                  </a:cubicBezTo>
                  <a:cubicBezTo>
                    <a:pt x="115" y="73"/>
                    <a:pt x="128" y="103"/>
                    <a:pt x="128" y="136"/>
                  </a:cubicBezTo>
                  <a:cubicBezTo>
                    <a:pt x="128" y="141"/>
                    <a:pt x="132" y="144"/>
                    <a:pt x="136" y="144"/>
                  </a:cubicBezTo>
                  <a:cubicBezTo>
                    <a:pt x="138" y="144"/>
                    <a:pt x="140" y="144"/>
                    <a:pt x="142" y="142"/>
                  </a:cubicBezTo>
                  <a:cubicBezTo>
                    <a:pt x="143" y="141"/>
                    <a:pt x="144" y="139"/>
                    <a:pt x="144" y="136"/>
                  </a:cubicBezTo>
                  <a:cubicBezTo>
                    <a:pt x="144" y="99"/>
                    <a:pt x="129" y="65"/>
                    <a:pt x="104" y="40"/>
                  </a:cubicBezTo>
                  <a:cubicBezTo>
                    <a:pt x="79" y="15"/>
                    <a:pt x="45" y="0"/>
                    <a:pt x="8" y="0"/>
                  </a:cubicBezTo>
                  <a:cubicBezTo>
                    <a:pt x="3" y="0"/>
                    <a:pt x="0" y="3"/>
                    <a:pt x="0" y="8"/>
                  </a:cubicBezTo>
                  <a:cubicBezTo>
                    <a:pt x="0" y="12"/>
                    <a:pt x="3" y="16"/>
                    <a:pt x="8" y="16"/>
                  </a:cubicBezTo>
                  <a:close/>
                  <a:moveTo>
                    <a:pt x="8" y="77"/>
                  </a:moveTo>
                  <a:cubicBezTo>
                    <a:pt x="3" y="77"/>
                    <a:pt x="0" y="80"/>
                    <a:pt x="0" y="85"/>
                  </a:cubicBezTo>
                  <a:cubicBezTo>
                    <a:pt x="0" y="89"/>
                    <a:pt x="3" y="93"/>
                    <a:pt x="8" y="93"/>
                  </a:cubicBezTo>
                  <a:cubicBezTo>
                    <a:pt x="20" y="93"/>
                    <a:pt x="30" y="98"/>
                    <a:pt x="38" y="106"/>
                  </a:cubicBezTo>
                  <a:cubicBezTo>
                    <a:pt x="46" y="114"/>
                    <a:pt x="51" y="124"/>
                    <a:pt x="51" y="136"/>
                  </a:cubicBezTo>
                  <a:cubicBezTo>
                    <a:pt x="51" y="141"/>
                    <a:pt x="55" y="144"/>
                    <a:pt x="59" y="144"/>
                  </a:cubicBezTo>
                  <a:cubicBezTo>
                    <a:pt x="61" y="144"/>
                    <a:pt x="63" y="144"/>
                    <a:pt x="65" y="142"/>
                  </a:cubicBezTo>
                  <a:cubicBezTo>
                    <a:pt x="66" y="141"/>
                    <a:pt x="67" y="139"/>
                    <a:pt x="67" y="136"/>
                  </a:cubicBezTo>
                  <a:cubicBezTo>
                    <a:pt x="67" y="120"/>
                    <a:pt x="60" y="105"/>
                    <a:pt x="50" y="94"/>
                  </a:cubicBezTo>
                  <a:cubicBezTo>
                    <a:pt x="39" y="84"/>
                    <a:pt x="24" y="77"/>
                    <a:pt x="8" y="77"/>
                  </a:cubicBezTo>
                  <a:close/>
                  <a:moveTo>
                    <a:pt x="98" y="144"/>
                  </a:moveTo>
                  <a:cubicBezTo>
                    <a:pt x="100" y="144"/>
                    <a:pt x="102" y="144"/>
                    <a:pt x="103" y="142"/>
                  </a:cubicBezTo>
                  <a:cubicBezTo>
                    <a:pt x="105" y="141"/>
                    <a:pt x="106" y="139"/>
                    <a:pt x="106" y="136"/>
                  </a:cubicBezTo>
                  <a:cubicBezTo>
                    <a:pt x="106" y="109"/>
                    <a:pt x="95" y="85"/>
                    <a:pt x="77" y="67"/>
                  </a:cubicBezTo>
                  <a:cubicBezTo>
                    <a:pt x="59" y="49"/>
                    <a:pt x="35" y="38"/>
                    <a:pt x="8" y="38"/>
                  </a:cubicBezTo>
                  <a:cubicBezTo>
                    <a:pt x="3" y="38"/>
                    <a:pt x="0" y="42"/>
                    <a:pt x="0" y="46"/>
                  </a:cubicBezTo>
                  <a:cubicBezTo>
                    <a:pt x="0" y="51"/>
                    <a:pt x="3" y="54"/>
                    <a:pt x="8" y="54"/>
                  </a:cubicBezTo>
                  <a:cubicBezTo>
                    <a:pt x="30" y="54"/>
                    <a:pt x="51" y="64"/>
                    <a:pt x="66" y="78"/>
                  </a:cubicBezTo>
                  <a:cubicBezTo>
                    <a:pt x="80" y="93"/>
                    <a:pt x="90" y="114"/>
                    <a:pt x="90" y="136"/>
                  </a:cubicBezTo>
                  <a:cubicBezTo>
                    <a:pt x="90" y="141"/>
                    <a:pt x="93" y="144"/>
                    <a:pt x="98"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1430" tIns="45718" rIns="91430" bIns="45718"/>
            <a:lstStyle/>
            <a:p>
              <a:endParaRPr lang="en-US"/>
            </a:p>
          </p:txBody>
        </p:sp>
        <p:sp>
          <p:nvSpPr>
            <p:cNvPr id="33" name="Freeform 62">
              <a:extLst>
                <a:ext uri="{FF2B5EF4-FFF2-40B4-BE49-F238E27FC236}">
                  <a16:creationId xmlns:a16="http://schemas.microsoft.com/office/drawing/2014/main" id="{AC5EFDBA-6BD8-EE49-91FF-4D5E665BFB4B}"/>
                </a:ext>
              </a:extLst>
            </p:cNvPr>
            <p:cNvSpPr>
              <a:spLocks noEditPoints="1"/>
            </p:cNvSpPr>
            <p:nvPr/>
          </p:nvSpPr>
          <p:spPr bwMode="auto">
            <a:xfrm>
              <a:off x="306388" y="4281013"/>
              <a:ext cx="431800" cy="442913"/>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1430" tIns="45718" rIns="91430" bIns="45718"/>
            <a:lstStyle/>
            <a:p>
              <a:endParaRPr lang="en-US"/>
            </a:p>
          </p:txBody>
        </p:sp>
      </p:grpSp>
      <p:sp>
        <p:nvSpPr>
          <p:cNvPr id="34" name="Freeform 63">
            <a:extLst>
              <a:ext uri="{FF2B5EF4-FFF2-40B4-BE49-F238E27FC236}">
                <a16:creationId xmlns:a16="http://schemas.microsoft.com/office/drawing/2014/main" id="{268E9C50-FE62-0F4C-97C6-68388D2DD858}"/>
              </a:ext>
            </a:extLst>
          </p:cNvPr>
          <p:cNvSpPr>
            <a:spLocks noChangeAspect="1" noEditPoints="1"/>
          </p:cNvSpPr>
          <p:nvPr/>
        </p:nvSpPr>
        <p:spPr bwMode="auto">
          <a:xfrm>
            <a:off x="599283" y="4222392"/>
            <a:ext cx="527050" cy="266700"/>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chemeClr val="accent1"/>
          </a:solidFill>
          <a:ln>
            <a:noFill/>
          </a:ln>
          <a:extLst/>
        </p:spPr>
        <p:txBody>
          <a:bodyPr lIns="91430" tIns="45718" rIns="91430" bIns="45718"/>
          <a:lstStyle/>
          <a:p>
            <a:endParaRPr lang="en-US"/>
          </a:p>
        </p:txBody>
      </p:sp>
      <p:sp>
        <p:nvSpPr>
          <p:cNvPr id="35" name="Freeform 64">
            <a:extLst>
              <a:ext uri="{FF2B5EF4-FFF2-40B4-BE49-F238E27FC236}">
                <a16:creationId xmlns:a16="http://schemas.microsoft.com/office/drawing/2014/main" id="{AFF612F4-3EC7-B74A-A14A-22451BE2DA16}"/>
              </a:ext>
            </a:extLst>
          </p:cNvPr>
          <p:cNvSpPr>
            <a:spLocks noChangeAspect="1" noEditPoints="1"/>
          </p:cNvSpPr>
          <p:nvPr/>
        </p:nvSpPr>
        <p:spPr bwMode="auto">
          <a:xfrm>
            <a:off x="1031083" y="4118137"/>
            <a:ext cx="126251" cy="138113"/>
          </a:xfrm>
          <a:custGeom>
            <a:avLst/>
            <a:gdLst>
              <a:gd name="T0" fmla="*/ 2147483647 w 144"/>
              <a:gd name="T1" fmla="*/ 2147483647 h 144"/>
              <a:gd name="T2" fmla="*/ 2147483647 w 144"/>
              <a:gd name="T3" fmla="*/ 2147483647 h 144"/>
              <a:gd name="T4" fmla="*/ 2147483647 w 144"/>
              <a:gd name="T5" fmla="*/ 2147483647 h 144"/>
              <a:gd name="T6" fmla="*/ 2147483647 w 144"/>
              <a:gd name="T7" fmla="*/ 2147483647 h 144"/>
              <a:gd name="T8" fmla="*/ 2147483647 w 144"/>
              <a:gd name="T9" fmla="*/ 2147483647 h 144"/>
              <a:gd name="T10" fmla="*/ 2147483647 w 144"/>
              <a:gd name="T11" fmla="*/ 2147483647 h 144"/>
              <a:gd name="T12" fmla="*/ 2147483647 w 144"/>
              <a:gd name="T13" fmla="*/ 2147483647 h 144"/>
              <a:gd name="T14" fmla="*/ 2147483647 w 144"/>
              <a:gd name="T15" fmla="*/ 2147483647 h 144"/>
              <a:gd name="T16" fmla="*/ 2147483647 w 144"/>
              <a:gd name="T17" fmla="*/ 0 h 144"/>
              <a:gd name="T18" fmla="*/ 0 w 144"/>
              <a:gd name="T19" fmla="*/ 2147483647 h 144"/>
              <a:gd name="T20" fmla="*/ 2147483647 w 144"/>
              <a:gd name="T21" fmla="*/ 2147483647 h 144"/>
              <a:gd name="T22" fmla="*/ 2147483647 w 144"/>
              <a:gd name="T23" fmla="*/ 2147483647 h 144"/>
              <a:gd name="T24" fmla="*/ 0 w 144"/>
              <a:gd name="T25" fmla="*/ 2147483647 h 144"/>
              <a:gd name="T26" fmla="*/ 2147483647 w 144"/>
              <a:gd name="T27" fmla="*/ 2147483647 h 144"/>
              <a:gd name="T28" fmla="*/ 2147483647 w 144"/>
              <a:gd name="T29" fmla="*/ 2147483647 h 144"/>
              <a:gd name="T30" fmla="*/ 2147483647 w 144"/>
              <a:gd name="T31" fmla="*/ 2147483647 h 144"/>
              <a:gd name="T32" fmla="*/ 2147483647 w 144"/>
              <a:gd name="T33" fmla="*/ 2147483647 h 144"/>
              <a:gd name="T34" fmla="*/ 2147483647 w 144"/>
              <a:gd name="T35" fmla="*/ 2147483647 h 144"/>
              <a:gd name="T36" fmla="*/ 2147483647 w 144"/>
              <a:gd name="T37" fmla="*/ 2147483647 h 144"/>
              <a:gd name="T38" fmla="*/ 2147483647 w 144"/>
              <a:gd name="T39" fmla="*/ 2147483647 h 144"/>
              <a:gd name="T40" fmla="*/ 2147483647 w 144"/>
              <a:gd name="T41" fmla="*/ 2147483647 h 144"/>
              <a:gd name="T42" fmla="*/ 2147483647 w 144"/>
              <a:gd name="T43" fmla="*/ 2147483647 h 144"/>
              <a:gd name="T44" fmla="*/ 2147483647 w 144"/>
              <a:gd name="T45" fmla="*/ 2147483647 h 144"/>
              <a:gd name="T46" fmla="*/ 2147483647 w 144"/>
              <a:gd name="T47" fmla="*/ 2147483647 h 144"/>
              <a:gd name="T48" fmla="*/ 2147483647 w 144"/>
              <a:gd name="T49" fmla="*/ 2147483647 h 144"/>
              <a:gd name="T50" fmla="*/ 2147483647 w 144"/>
              <a:gd name="T51" fmla="*/ 2147483647 h 144"/>
              <a:gd name="T52" fmla="*/ 0 w 144"/>
              <a:gd name="T53" fmla="*/ 2147483647 h 144"/>
              <a:gd name="T54" fmla="*/ 2147483647 w 144"/>
              <a:gd name="T55" fmla="*/ 2147483647 h 144"/>
              <a:gd name="T56" fmla="*/ 2147483647 w 144"/>
              <a:gd name="T57" fmla="*/ 2147483647 h 144"/>
              <a:gd name="T58" fmla="*/ 2147483647 w 144"/>
              <a:gd name="T59" fmla="*/ 2147483647 h 144"/>
              <a:gd name="T60" fmla="*/ 2147483647 w 144"/>
              <a:gd name="T61" fmla="*/ 2147483647 h 14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4" h="144">
                <a:moveTo>
                  <a:pt x="8" y="16"/>
                </a:moveTo>
                <a:cubicBezTo>
                  <a:pt x="8" y="16"/>
                  <a:pt x="8" y="16"/>
                  <a:pt x="8" y="16"/>
                </a:cubicBezTo>
                <a:cubicBezTo>
                  <a:pt x="41" y="16"/>
                  <a:pt x="71" y="29"/>
                  <a:pt x="93" y="51"/>
                </a:cubicBezTo>
                <a:cubicBezTo>
                  <a:pt x="115" y="73"/>
                  <a:pt x="128" y="103"/>
                  <a:pt x="128" y="136"/>
                </a:cubicBezTo>
                <a:cubicBezTo>
                  <a:pt x="128" y="141"/>
                  <a:pt x="132" y="144"/>
                  <a:pt x="136" y="144"/>
                </a:cubicBezTo>
                <a:cubicBezTo>
                  <a:pt x="138" y="144"/>
                  <a:pt x="140" y="144"/>
                  <a:pt x="142" y="142"/>
                </a:cubicBezTo>
                <a:cubicBezTo>
                  <a:pt x="143" y="141"/>
                  <a:pt x="144" y="139"/>
                  <a:pt x="144" y="136"/>
                </a:cubicBezTo>
                <a:cubicBezTo>
                  <a:pt x="144" y="99"/>
                  <a:pt x="129" y="65"/>
                  <a:pt x="104" y="40"/>
                </a:cubicBezTo>
                <a:cubicBezTo>
                  <a:pt x="79" y="15"/>
                  <a:pt x="45" y="0"/>
                  <a:pt x="8" y="0"/>
                </a:cubicBezTo>
                <a:cubicBezTo>
                  <a:pt x="3" y="0"/>
                  <a:pt x="0" y="3"/>
                  <a:pt x="0" y="8"/>
                </a:cubicBezTo>
                <a:cubicBezTo>
                  <a:pt x="0" y="12"/>
                  <a:pt x="3" y="16"/>
                  <a:pt x="8" y="16"/>
                </a:cubicBezTo>
                <a:close/>
                <a:moveTo>
                  <a:pt x="8" y="77"/>
                </a:moveTo>
                <a:cubicBezTo>
                  <a:pt x="3" y="77"/>
                  <a:pt x="0" y="80"/>
                  <a:pt x="0" y="85"/>
                </a:cubicBezTo>
                <a:cubicBezTo>
                  <a:pt x="0" y="89"/>
                  <a:pt x="3" y="93"/>
                  <a:pt x="8" y="93"/>
                </a:cubicBezTo>
                <a:cubicBezTo>
                  <a:pt x="20" y="93"/>
                  <a:pt x="30" y="98"/>
                  <a:pt x="38" y="106"/>
                </a:cubicBezTo>
                <a:cubicBezTo>
                  <a:pt x="46" y="114"/>
                  <a:pt x="51" y="124"/>
                  <a:pt x="51" y="136"/>
                </a:cubicBezTo>
                <a:cubicBezTo>
                  <a:pt x="51" y="141"/>
                  <a:pt x="55" y="144"/>
                  <a:pt x="59" y="144"/>
                </a:cubicBezTo>
                <a:cubicBezTo>
                  <a:pt x="61" y="144"/>
                  <a:pt x="63" y="144"/>
                  <a:pt x="65" y="142"/>
                </a:cubicBezTo>
                <a:cubicBezTo>
                  <a:pt x="66" y="141"/>
                  <a:pt x="67" y="139"/>
                  <a:pt x="67" y="136"/>
                </a:cubicBezTo>
                <a:cubicBezTo>
                  <a:pt x="67" y="120"/>
                  <a:pt x="60" y="105"/>
                  <a:pt x="50" y="94"/>
                </a:cubicBezTo>
                <a:cubicBezTo>
                  <a:pt x="39" y="84"/>
                  <a:pt x="24" y="77"/>
                  <a:pt x="8" y="77"/>
                </a:cubicBezTo>
                <a:close/>
                <a:moveTo>
                  <a:pt x="98" y="144"/>
                </a:moveTo>
                <a:cubicBezTo>
                  <a:pt x="100" y="144"/>
                  <a:pt x="102" y="144"/>
                  <a:pt x="103" y="142"/>
                </a:cubicBezTo>
                <a:cubicBezTo>
                  <a:pt x="105" y="141"/>
                  <a:pt x="106" y="139"/>
                  <a:pt x="106" y="136"/>
                </a:cubicBezTo>
                <a:cubicBezTo>
                  <a:pt x="106" y="109"/>
                  <a:pt x="95" y="85"/>
                  <a:pt x="77" y="67"/>
                </a:cubicBezTo>
                <a:cubicBezTo>
                  <a:pt x="59" y="49"/>
                  <a:pt x="35" y="38"/>
                  <a:pt x="8" y="38"/>
                </a:cubicBezTo>
                <a:cubicBezTo>
                  <a:pt x="3" y="38"/>
                  <a:pt x="0" y="42"/>
                  <a:pt x="0" y="46"/>
                </a:cubicBezTo>
                <a:cubicBezTo>
                  <a:pt x="0" y="51"/>
                  <a:pt x="3" y="54"/>
                  <a:pt x="8" y="54"/>
                </a:cubicBezTo>
                <a:cubicBezTo>
                  <a:pt x="30" y="54"/>
                  <a:pt x="51" y="64"/>
                  <a:pt x="66" y="78"/>
                </a:cubicBezTo>
                <a:cubicBezTo>
                  <a:pt x="80" y="93"/>
                  <a:pt x="90" y="114"/>
                  <a:pt x="90" y="136"/>
                </a:cubicBezTo>
                <a:cubicBezTo>
                  <a:pt x="90" y="141"/>
                  <a:pt x="93" y="144"/>
                  <a:pt x="98" y="144"/>
                </a:cubicBezTo>
                <a:close/>
              </a:path>
            </a:pathLst>
          </a:custGeom>
          <a:solidFill>
            <a:schemeClr val="accent1"/>
          </a:solidFill>
          <a:ln>
            <a:noFill/>
          </a:ln>
          <a:extLst/>
        </p:spPr>
        <p:txBody>
          <a:bodyPr lIns="91430" tIns="45718" rIns="91430" bIns="45718"/>
          <a:lstStyle/>
          <a:p>
            <a:endParaRPr lang="en-US"/>
          </a:p>
        </p:txBody>
      </p:sp>
      <p:sp>
        <p:nvSpPr>
          <p:cNvPr id="36" name="Freeform 28">
            <a:extLst>
              <a:ext uri="{FF2B5EF4-FFF2-40B4-BE49-F238E27FC236}">
                <a16:creationId xmlns:a16="http://schemas.microsoft.com/office/drawing/2014/main" id="{5BB4E17C-91F6-594F-A084-8A460249FFCD}"/>
              </a:ext>
            </a:extLst>
          </p:cNvPr>
          <p:cNvSpPr>
            <a:spLocks noChangeAspect="1" noEditPoints="1"/>
          </p:cNvSpPr>
          <p:nvPr>
            <p:custDataLst>
              <p:tags r:id="rId1"/>
            </p:custDataLst>
          </p:nvPr>
        </p:nvSpPr>
        <p:spPr bwMode="auto">
          <a:xfrm>
            <a:off x="678658" y="5750927"/>
            <a:ext cx="349250" cy="544512"/>
          </a:xfrm>
          <a:custGeom>
            <a:avLst/>
            <a:gdLst>
              <a:gd name="T0" fmla="*/ 2147483647 w 275"/>
              <a:gd name="T1" fmla="*/ 2147483647 h 503"/>
              <a:gd name="T2" fmla="*/ 2147483647 w 275"/>
              <a:gd name="T3" fmla="*/ 2147483647 h 503"/>
              <a:gd name="T4" fmla="*/ 2147483647 w 275"/>
              <a:gd name="T5" fmla="*/ 2147483647 h 503"/>
              <a:gd name="T6" fmla="*/ 2147483647 w 275"/>
              <a:gd name="T7" fmla="*/ 2147483647 h 503"/>
              <a:gd name="T8" fmla="*/ 2147483647 w 275"/>
              <a:gd name="T9" fmla="*/ 2147483647 h 503"/>
              <a:gd name="T10" fmla="*/ 2147483647 w 275"/>
              <a:gd name="T11" fmla="*/ 2147483647 h 503"/>
              <a:gd name="T12" fmla="*/ 2147483647 w 275"/>
              <a:gd name="T13" fmla="*/ 2147483647 h 503"/>
              <a:gd name="T14" fmla="*/ 2147483647 w 275"/>
              <a:gd name="T15" fmla="*/ 2147483647 h 503"/>
              <a:gd name="T16" fmla="*/ 2147483647 w 275"/>
              <a:gd name="T17" fmla="*/ 2147483647 h 503"/>
              <a:gd name="T18" fmla="*/ 2147483647 w 275"/>
              <a:gd name="T19" fmla="*/ 2147483647 h 503"/>
              <a:gd name="T20" fmla="*/ 2147483647 w 275"/>
              <a:gd name="T21" fmla="*/ 2147483647 h 503"/>
              <a:gd name="T22" fmla="*/ 2147483647 w 275"/>
              <a:gd name="T23" fmla="*/ 2147483647 h 503"/>
              <a:gd name="T24" fmla="*/ 2147483647 w 275"/>
              <a:gd name="T25" fmla="*/ 2147483647 h 503"/>
              <a:gd name="T26" fmla="*/ 2147483647 w 275"/>
              <a:gd name="T27" fmla="*/ 2147483647 h 503"/>
              <a:gd name="T28" fmla="*/ 2147483647 w 275"/>
              <a:gd name="T29" fmla="*/ 2147483647 h 503"/>
              <a:gd name="T30" fmla="*/ 2147483647 w 275"/>
              <a:gd name="T31" fmla="*/ 2147483647 h 503"/>
              <a:gd name="T32" fmla="*/ 2147483647 w 275"/>
              <a:gd name="T33" fmla="*/ 2147483647 h 503"/>
              <a:gd name="T34" fmla="*/ 2147483647 w 275"/>
              <a:gd name="T35" fmla="*/ 2147483647 h 503"/>
              <a:gd name="T36" fmla="*/ 2147483647 w 275"/>
              <a:gd name="T37" fmla="*/ 2147483647 h 503"/>
              <a:gd name="T38" fmla="*/ 2147483647 w 275"/>
              <a:gd name="T39" fmla="*/ 2147483647 h 503"/>
              <a:gd name="T40" fmla="*/ 2147483647 w 275"/>
              <a:gd name="T41" fmla="*/ 2147483647 h 503"/>
              <a:gd name="T42" fmla="*/ 2147483647 w 275"/>
              <a:gd name="T43" fmla="*/ 2147483647 h 503"/>
              <a:gd name="T44" fmla="*/ 2147483647 w 275"/>
              <a:gd name="T45" fmla="*/ 2147483647 h 503"/>
              <a:gd name="T46" fmla="*/ 2147483647 w 275"/>
              <a:gd name="T47" fmla="*/ 2147483647 h 503"/>
              <a:gd name="T48" fmla="*/ 2147483647 w 275"/>
              <a:gd name="T49" fmla="*/ 2147483647 h 503"/>
              <a:gd name="T50" fmla="*/ 2147483647 w 275"/>
              <a:gd name="T51" fmla="*/ 2147483647 h 503"/>
              <a:gd name="T52" fmla="*/ 2147483647 w 275"/>
              <a:gd name="T53" fmla="*/ 2147483647 h 503"/>
              <a:gd name="T54" fmla="*/ 2147483647 w 275"/>
              <a:gd name="T55" fmla="*/ 2147483647 h 503"/>
              <a:gd name="T56" fmla="*/ 2147483647 w 275"/>
              <a:gd name="T57" fmla="*/ 2147483647 h 503"/>
              <a:gd name="T58" fmla="*/ 2147483647 w 275"/>
              <a:gd name="T59" fmla="*/ 2147483647 h 503"/>
              <a:gd name="T60" fmla="*/ 2147483647 w 275"/>
              <a:gd name="T61" fmla="*/ 2147483647 h 503"/>
              <a:gd name="T62" fmla="*/ 2147483647 w 275"/>
              <a:gd name="T63" fmla="*/ 2147483647 h 503"/>
              <a:gd name="T64" fmla="*/ 2147483647 w 275"/>
              <a:gd name="T65" fmla="*/ 2147483647 h 503"/>
              <a:gd name="T66" fmla="*/ 2147483647 w 275"/>
              <a:gd name="T67" fmla="*/ 2147483647 h 503"/>
              <a:gd name="T68" fmla="*/ 2147483647 w 275"/>
              <a:gd name="T69" fmla="*/ 2147483647 h 503"/>
              <a:gd name="T70" fmla="*/ 2147483647 w 275"/>
              <a:gd name="T71" fmla="*/ 2147483647 h 503"/>
              <a:gd name="T72" fmla="*/ 2147483647 w 275"/>
              <a:gd name="T73" fmla="*/ 2147483647 h 503"/>
              <a:gd name="T74" fmla="*/ 2147483647 w 275"/>
              <a:gd name="T75" fmla="*/ 2147483647 h 503"/>
              <a:gd name="T76" fmla="*/ 2147483647 w 275"/>
              <a:gd name="T77" fmla="*/ 2147483647 h 503"/>
              <a:gd name="T78" fmla="*/ 2147483647 w 275"/>
              <a:gd name="T79" fmla="*/ 2147483647 h 503"/>
              <a:gd name="T80" fmla="*/ 2147483647 w 275"/>
              <a:gd name="T81" fmla="*/ 2147483647 h 503"/>
              <a:gd name="T82" fmla="*/ 2147483647 w 275"/>
              <a:gd name="T83" fmla="*/ 2147483647 h 503"/>
              <a:gd name="T84" fmla="*/ 2147483647 w 275"/>
              <a:gd name="T85" fmla="*/ 2147483647 h 503"/>
              <a:gd name="T86" fmla="*/ 2147483647 w 275"/>
              <a:gd name="T87" fmla="*/ 0 h 503"/>
              <a:gd name="T88" fmla="*/ 2147483647 w 275"/>
              <a:gd name="T89" fmla="*/ 2147483647 h 503"/>
              <a:gd name="T90" fmla="*/ 0 w 275"/>
              <a:gd name="T91" fmla="*/ 2147483647 h 503"/>
              <a:gd name="T92" fmla="*/ 2147483647 w 275"/>
              <a:gd name="T93" fmla="*/ 2147483647 h 503"/>
              <a:gd name="T94" fmla="*/ 2147483647 w 275"/>
              <a:gd name="T95" fmla="*/ 2147483647 h 503"/>
              <a:gd name="T96" fmla="*/ 2147483647 w 275"/>
              <a:gd name="T97" fmla="*/ 2147483647 h 503"/>
              <a:gd name="T98" fmla="*/ 2147483647 w 275"/>
              <a:gd name="T99" fmla="*/ 2147483647 h 503"/>
              <a:gd name="T100" fmla="*/ 2147483647 w 275"/>
              <a:gd name="T101" fmla="*/ 2147483647 h 503"/>
              <a:gd name="T102" fmla="*/ 2147483647 w 275"/>
              <a:gd name="T103" fmla="*/ 2147483647 h 503"/>
              <a:gd name="T104" fmla="*/ 2147483647 w 275"/>
              <a:gd name="T105" fmla="*/ 2147483647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chemeClr val="accent1"/>
          </a:solidFill>
          <a:ln>
            <a:noFill/>
          </a:ln>
          <a:extLst/>
        </p:spPr>
        <p:txBody>
          <a:bodyPr lIns="91436" tIns="45718" rIns="91436" bIns="45718"/>
          <a:lstStyle/>
          <a:p>
            <a:endParaRPr lang="en-US"/>
          </a:p>
        </p:txBody>
      </p:sp>
      <p:sp>
        <p:nvSpPr>
          <p:cNvPr id="37" name="Freeform 3">
            <a:extLst>
              <a:ext uri="{FF2B5EF4-FFF2-40B4-BE49-F238E27FC236}">
                <a16:creationId xmlns:a16="http://schemas.microsoft.com/office/drawing/2014/main" id="{124FA56D-3776-2948-BCB0-786F651E4115}"/>
              </a:ext>
            </a:extLst>
          </p:cNvPr>
          <p:cNvSpPr>
            <a:spLocks noChangeAspect="1" noEditPoints="1"/>
          </p:cNvSpPr>
          <p:nvPr>
            <p:custDataLst>
              <p:tags r:id="rId2"/>
            </p:custDataLst>
          </p:nvPr>
        </p:nvSpPr>
        <p:spPr bwMode="auto">
          <a:xfrm>
            <a:off x="599283" y="3623268"/>
            <a:ext cx="508000" cy="371475"/>
          </a:xfrm>
          <a:custGeom>
            <a:avLst/>
            <a:gdLst>
              <a:gd name="T0" fmla="*/ 2147483647 w 418"/>
              <a:gd name="T1" fmla="*/ 2147483647 h 336"/>
              <a:gd name="T2" fmla="*/ 2147483647 w 418"/>
              <a:gd name="T3" fmla="*/ 2147483647 h 336"/>
              <a:gd name="T4" fmla="*/ 2147483647 w 418"/>
              <a:gd name="T5" fmla="*/ 2147483647 h 336"/>
              <a:gd name="T6" fmla="*/ 2147483647 w 418"/>
              <a:gd name="T7" fmla="*/ 2147483647 h 336"/>
              <a:gd name="T8" fmla="*/ 2147483647 w 418"/>
              <a:gd name="T9" fmla="*/ 2147483647 h 336"/>
              <a:gd name="T10" fmla="*/ 2147483647 w 418"/>
              <a:gd name="T11" fmla="*/ 2147483647 h 336"/>
              <a:gd name="T12" fmla="*/ 2147483647 w 418"/>
              <a:gd name="T13" fmla="*/ 2147483647 h 336"/>
              <a:gd name="T14" fmla="*/ 2147483647 w 418"/>
              <a:gd name="T15" fmla="*/ 2147483647 h 336"/>
              <a:gd name="T16" fmla="*/ 2147483647 w 418"/>
              <a:gd name="T17" fmla="*/ 2147483647 h 336"/>
              <a:gd name="T18" fmla="*/ 2147483647 w 418"/>
              <a:gd name="T19" fmla="*/ 2147483647 h 336"/>
              <a:gd name="T20" fmla="*/ 2147483647 w 418"/>
              <a:gd name="T21" fmla="*/ 2147483647 h 336"/>
              <a:gd name="T22" fmla="*/ 2147483647 w 418"/>
              <a:gd name="T23" fmla="*/ 2147483647 h 336"/>
              <a:gd name="T24" fmla="*/ 2147483647 w 418"/>
              <a:gd name="T25" fmla="*/ 2147483647 h 336"/>
              <a:gd name="T26" fmla="*/ 2147483647 w 418"/>
              <a:gd name="T27" fmla="*/ 2147483647 h 336"/>
              <a:gd name="T28" fmla="*/ 2147483647 w 418"/>
              <a:gd name="T29" fmla="*/ 2147483647 h 336"/>
              <a:gd name="T30" fmla="*/ 2147483647 w 418"/>
              <a:gd name="T31" fmla="*/ 2147483647 h 336"/>
              <a:gd name="T32" fmla="*/ 2147483647 w 418"/>
              <a:gd name="T33" fmla="*/ 2147483647 h 336"/>
              <a:gd name="T34" fmla="*/ 2147483647 w 418"/>
              <a:gd name="T35" fmla="*/ 2147483647 h 336"/>
              <a:gd name="T36" fmla="*/ 2147483647 w 418"/>
              <a:gd name="T37" fmla="*/ 2147483647 h 336"/>
              <a:gd name="T38" fmla="*/ 2147483647 w 418"/>
              <a:gd name="T39" fmla="*/ 2147483647 h 336"/>
              <a:gd name="T40" fmla="*/ 2147483647 w 418"/>
              <a:gd name="T41" fmla="*/ 2147483647 h 336"/>
              <a:gd name="T42" fmla="*/ 2147483647 w 418"/>
              <a:gd name="T43" fmla="*/ 2147483647 h 336"/>
              <a:gd name="T44" fmla="*/ 2147483647 w 418"/>
              <a:gd name="T45" fmla="*/ 2147483647 h 336"/>
              <a:gd name="T46" fmla="*/ 2147483647 w 418"/>
              <a:gd name="T47" fmla="*/ 2147483647 h 336"/>
              <a:gd name="T48" fmla="*/ 2147483647 w 418"/>
              <a:gd name="T49" fmla="*/ 2147483647 h 336"/>
              <a:gd name="T50" fmla="*/ 2147483647 w 418"/>
              <a:gd name="T51" fmla="*/ 2147483647 h 336"/>
              <a:gd name="T52" fmla="*/ 2147483647 w 418"/>
              <a:gd name="T53" fmla="*/ 2147483647 h 336"/>
              <a:gd name="T54" fmla="*/ 2147483647 w 418"/>
              <a:gd name="T55" fmla="*/ 2147483647 h 336"/>
              <a:gd name="T56" fmla="*/ 2147483647 w 418"/>
              <a:gd name="T57" fmla="*/ 2147483647 h 336"/>
              <a:gd name="T58" fmla="*/ 2147483647 w 418"/>
              <a:gd name="T59" fmla="*/ 2147483647 h 336"/>
              <a:gd name="T60" fmla="*/ 2147483647 w 418"/>
              <a:gd name="T61" fmla="*/ 2147483647 h 336"/>
              <a:gd name="T62" fmla="*/ 2147483647 w 418"/>
              <a:gd name="T63" fmla="*/ 2147483647 h 336"/>
              <a:gd name="T64" fmla="*/ 2147483647 w 418"/>
              <a:gd name="T65" fmla="*/ 2147483647 h 336"/>
              <a:gd name="T66" fmla="*/ 2147483647 w 418"/>
              <a:gd name="T67" fmla="*/ 2147483647 h 336"/>
              <a:gd name="T68" fmla="*/ 2147483647 w 418"/>
              <a:gd name="T69" fmla="*/ 2147483647 h 336"/>
              <a:gd name="T70" fmla="*/ 2147483647 w 418"/>
              <a:gd name="T71" fmla="*/ 2147483647 h 336"/>
              <a:gd name="T72" fmla="*/ 2147483647 w 418"/>
              <a:gd name="T73" fmla="*/ 2147483647 h 336"/>
              <a:gd name="T74" fmla="*/ 2147483647 w 418"/>
              <a:gd name="T75" fmla="*/ 2147483647 h 336"/>
              <a:gd name="T76" fmla="*/ 2147483647 w 418"/>
              <a:gd name="T77" fmla="*/ 2147483647 h 336"/>
              <a:gd name="T78" fmla="*/ 2147483647 w 418"/>
              <a:gd name="T79" fmla="*/ 2147483647 h 336"/>
              <a:gd name="T80" fmla="*/ 2147483647 w 418"/>
              <a:gd name="T81" fmla="*/ 2147483647 h 336"/>
              <a:gd name="T82" fmla="*/ 2147483647 w 418"/>
              <a:gd name="T83" fmla="*/ 2147483647 h 336"/>
              <a:gd name="T84" fmla="*/ 2147483647 w 418"/>
              <a:gd name="T85" fmla="*/ 2147483647 h 336"/>
              <a:gd name="T86" fmla="*/ 2147483647 w 418"/>
              <a:gd name="T87" fmla="*/ 2147483647 h 336"/>
              <a:gd name="T88" fmla="*/ 2147483647 w 418"/>
              <a:gd name="T89" fmla="*/ 0 h 336"/>
              <a:gd name="T90" fmla="*/ 2147483647 w 418"/>
              <a:gd name="T91" fmla="*/ 0 h 336"/>
              <a:gd name="T92" fmla="*/ 2147483647 w 418"/>
              <a:gd name="T93" fmla="*/ 2147483647 h 336"/>
              <a:gd name="T94" fmla="*/ 2147483647 w 418"/>
              <a:gd name="T95" fmla="*/ 2147483647 h 336"/>
              <a:gd name="T96" fmla="*/ 2147483647 w 418"/>
              <a:gd name="T97" fmla="*/ 2147483647 h 336"/>
              <a:gd name="T98" fmla="*/ 0 w 418"/>
              <a:gd name="T99" fmla="*/ 2147483647 h 336"/>
              <a:gd name="T100" fmla="*/ 0 w 418"/>
              <a:gd name="T101" fmla="*/ 2147483647 h 336"/>
              <a:gd name="T102" fmla="*/ 2147483647 w 418"/>
              <a:gd name="T103" fmla="*/ 2147483647 h 336"/>
              <a:gd name="T104" fmla="*/ 2147483647 w 418"/>
              <a:gd name="T105" fmla="*/ 2147483647 h 336"/>
              <a:gd name="T106" fmla="*/ 2147483647 w 418"/>
              <a:gd name="T107" fmla="*/ 2147483647 h 336"/>
              <a:gd name="T108" fmla="*/ 2147483647 w 418"/>
              <a:gd name="T109" fmla="*/ 2147483647 h 336"/>
              <a:gd name="T110" fmla="*/ 2147483647 w 418"/>
              <a:gd name="T111" fmla="*/ 2147483647 h 336"/>
              <a:gd name="T112" fmla="*/ 2147483647 w 418"/>
              <a:gd name="T113" fmla="*/ 2147483647 h 336"/>
              <a:gd name="T114" fmla="*/ 2147483647 w 418"/>
              <a:gd name="T115" fmla="*/ 2147483647 h 336"/>
              <a:gd name="T116" fmla="*/ 2147483647 w 418"/>
              <a:gd name="T117" fmla="*/ 2147483647 h 336"/>
              <a:gd name="T118" fmla="*/ 2147483647 w 418"/>
              <a:gd name="T119" fmla="*/ 2147483647 h 336"/>
              <a:gd name="T120" fmla="*/ 2147483647 w 418"/>
              <a:gd name="T121" fmla="*/ 2147483647 h 336"/>
              <a:gd name="T122" fmla="*/ 2147483647 w 418"/>
              <a:gd name="T123" fmla="*/ 2147483647 h 336"/>
              <a:gd name="T124" fmla="*/ 2147483647 w 418"/>
              <a:gd name="T125" fmla="*/ 2147483647 h 3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18"/>
              <a:gd name="T190" fmla="*/ 0 h 336"/>
              <a:gd name="T191" fmla="*/ 418 w 418"/>
              <a:gd name="T192" fmla="*/ 336 h 3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18" h="336">
                <a:moveTo>
                  <a:pt x="103" y="187"/>
                </a:moveTo>
                <a:cubicBezTo>
                  <a:pt x="103" y="246"/>
                  <a:pt x="150" y="293"/>
                  <a:pt x="209" y="293"/>
                </a:cubicBezTo>
                <a:cubicBezTo>
                  <a:pt x="267" y="293"/>
                  <a:pt x="315" y="246"/>
                  <a:pt x="315" y="187"/>
                </a:cubicBezTo>
                <a:cubicBezTo>
                  <a:pt x="315" y="129"/>
                  <a:pt x="267" y="82"/>
                  <a:pt x="209" y="82"/>
                </a:cubicBezTo>
                <a:cubicBezTo>
                  <a:pt x="150" y="82"/>
                  <a:pt x="103" y="129"/>
                  <a:pt x="103" y="187"/>
                </a:cubicBezTo>
                <a:close/>
                <a:moveTo>
                  <a:pt x="235" y="130"/>
                </a:moveTo>
                <a:cubicBezTo>
                  <a:pt x="235" y="161"/>
                  <a:pt x="235" y="161"/>
                  <a:pt x="235" y="161"/>
                </a:cubicBezTo>
                <a:cubicBezTo>
                  <a:pt x="266" y="161"/>
                  <a:pt x="266" y="161"/>
                  <a:pt x="266" y="161"/>
                </a:cubicBezTo>
                <a:cubicBezTo>
                  <a:pt x="275" y="161"/>
                  <a:pt x="282" y="168"/>
                  <a:pt x="282" y="177"/>
                </a:cubicBezTo>
                <a:cubicBezTo>
                  <a:pt x="282" y="198"/>
                  <a:pt x="282" y="198"/>
                  <a:pt x="282" y="198"/>
                </a:cubicBezTo>
                <a:cubicBezTo>
                  <a:pt x="282" y="207"/>
                  <a:pt x="275" y="214"/>
                  <a:pt x="266" y="214"/>
                </a:cubicBezTo>
                <a:cubicBezTo>
                  <a:pt x="235" y="214"/>
                  <a:pt x="235" y="214"/>
                  <a:pt x="235" y="214"/>
                </a:cubicBezTo>
                <a:cubicBezTo>
                  <a:pt x="235" y="245"/>
                  <a:pt x="235" y="245"/>
                  <a:pt x="235" y="245"/>
                </a:cubicBezTo>
                <a:cubicBezTo>
                  <a:pt x="235" y="254"/>
                  <a:pt x="228" y="261"/>
                  <a:pt x="219" y="261"/>
                </a:cubicBezTo>
                <a:cubicBezTo>
                  <a:pt x="198" y="261"/>
                  <a:pt x="198" y="261"/>
                  <a:pt x="198" y="261"/>
                </a:cubicBezTo>
                <a:cubicBezTo>
                  <a:pt x="189" y="261"/>
                  <a:pt x="182" y="254"/>
                  <a:pt x="182" y="245"/>
                </a:cubicBezTo>
                <a:cubicBezTo>
                  <a:pt x="182" y="214"/>
                  <a:pt x="182" y="214"/>
                  <a:pt x="182" y="214"/>
                </a:cubicBezTo>
                <a:cubicBezTo>
                  <a:pt x="152" y="214"/>
                  <a:pt x="152" y="214"/>
                  <a:pt x="152" y="214"/>
                </a:cubicBezTo>
                <a:cubicBezTo>
                  <a:pt x="143" y="214"/>
                  <a:pt x="136" y="207"/>
                  <a:pt x="136" y="198"/>
                </a:cubicBezTo>
                <a:cubicBezTo>
                  <a:pt x="136" y="177"/>
                  <a:pt x="136" y="177"/>
                  <a:pt x="136" y="177"/>
                </a:cubicBezTo>
                <a:cubicBezTo>
                  <a:pt x="136" y="168"/>
                  <a:pt x="143" y="161"/>
                  <a:pt x="152" y="161"/>
                </a:cubicBezTo>
                <a:cubicBezTo>
                  <a:pt x="182" y="161"/>
                  <a:pt x="182" y="161"/>
                  <a:pt x="182" y="161"/>
                </a:cubicBezTo>
                <a:cubicBezTo>
                  <a:pt x="182" y="130"/>
                  <a:pt x="182" y="130"/>
                  <a:pt x="182" y="130"/>
                </a:cubicBezTo>
                <a:cubicBezTo>
                  <a:pt x="182" y="121"/>
                  <a:pt x="189" y="114"/>
                  <a:pt x="198" y="114"/>
                </a:cubicBezTo>
                <a:cubicBezTo>
                  <a:pt x="219" y="114"/>
                  <a:pt x="219" y="114"/>
                  <a:pt x="219" y="114"/>
                </a:cubicBezTo>
                <a:cubicBezTo>
                  <a:pt x="228" y="114"/>
                  <a:pt x="235" y="121"/>
                  <a:pt x="235" y="130"/>
                </a:cubicBezTo>
                <a:close/>
                <a:moveTo>
                  <a:pt x="410" y="102"/>
                </a:moveTo>
                <a:cubicBezTo>
                  <a:pt x="405" y="102"/>
                  <a:pt x="402" y="106"/>
                  <a:pt x="402" y="110"/>
                </a:cubicBezTo>
                <a:cubicBezTo>
                  <a:pt x="402" y="110"/>
                  <a:pt x="402" y="110"/>
                  <a:pt x="402" y="110"/>
                </a:cubicBezTo>
                <a:cubicBezTo>
                  <a:pt x="402" y="311"/>
                  <a:pt x="402" y="311"/>
                  <a:pt x="402" y="311"/>
                </a:cubicBezTo>
                <a:cubicBezTo>
                  <a:pt x="402" y="316"/>
                  <a:pt x="397" y="320"/>
                  <a:pt x="392" y="320"/>
                </a:cubicBezTo>
                <a:cubicBezTo>
                  <a:pt x="25" y="320"/>
                  <a:pt x="25" y="320"/>
                  <a:pt x="25" y="320"/>
                </a:cubicBezTo>
                <a:cubicBezTo>
                  <a:pt x="20" y="320"/>
                  <a:pt x="16" y="316"/>
                  <a:pt x="16" y="311"/>
                </a:cubicBezTo>
                <a:cubicBezTo>
                  <a:pt x="16" y="64"/>
                  <a:pt x="16" y="64"/>
                  <a:pt x="16" y="64"/>
                </a:cubicBezTo>
                <a:cubicBezTo>
                  <a:pt x="16" y="59"/>
                  <a:pt x="20" y="55"/>
                  <a:pt x="25" y="55"/>
                </a:cubicBezTo>
                <a:cubicBezTo>
                  <a:pt x="392" y="55"/>
                  <a:pt x="392" y="55"/>
                  <a:pt x="392" y="55"/>
                </a:cubicBezTo>
                <a:cubicBezTo>
                  <a:pt x="397" y="55"/>
                  <a:pt x="402" y="59"/>
                  <a:pt x="402" y="64"/>
                </a:cubicBezTo>
                <a:cubicBezTo>
                  <a:pt x="402" y="78"/>
                  <a:pt x="402" y="78"/>
                  <a:pt x="402" y="78"/>
                </a:cubicBezTo>
                <a:cubicBezTo>
                  <a:pt x="402" y="82"/>
                  <a:pt x="405" y="86"/>
                  <a:pt x="410" y="86"/>
                </a:cubicBezTo>
                <a:cubicBezTo>
                  <a:pt x="414" y="86"/>
                  <a:pt x="418" y="82"/>
                  <a:pt x="418" y="78"/>
                </a:cubicBezTo>
                <a:cubicBezTo>
                  <a:pt x="418" y="64"/>
                  <a:pt x="418" y="64"/>
                  <a:pt x="418" y="64"/>
                </a:cubicBezTo>
                <a:cubicBezTo>
                  <a:pt x="418" y="50"/>
                  <a:pt x="406" y="39"/>
                  <a:pt x="392" y="39"/>
                </a:cubicBezTo>
                <a:cubicBezTo>
                  <a:pt x="286" y="39"/>
                  <a:pt x="286" y="39"/>
                  <a:pt x="286" y="39"/>
                </a:cubicBezTo>
                <a:cubicBezTo>
                  <a:pt x="286" y="24"/>
                  <a:pt x="286" y="24"/>
                  <a:pt x="286" y="24"/>
                </a:cubicBezTo>
                <a:cubicBezTo>
                  <a:pt x="286" y="11"/>
                  <a:pt x="275" y="0"/>
                  <a:pt x="262" y="0"/>
                </a:cubicBezTo>
                <a:cubicBezTo>
                  <a:pt x="156" y="0"/>
                  <a:pt x="156" y="0"/>
                  <a:pt x="156" y="0"/>
                </a:cubicBezTo>
                <a:cubicBezTo>
                  <a:pt x="143" y="0"/>
                  <a:pt x="132" y="11"/>
                  <a:pt x="132" y="24"/>
                </a:cubicBezTo>
                <a:cubicBezTo>
                  <a:pt x="132" y="39"/>
                  <a:pt x="132" y="39"/>
                  <a:pt x="132" y="39"/>
                </a:cubicBezTo>
                <a:cubicBezTo>
                  <a:pt x="25" y="39"/>
                  <a:pt x="25" y="39"/>
                  <a:pt x="25" y="39"/>
                </a:cubicBezTo>
                <a:cubicBezTo>
                  <a:pt x="11" y="39"/>
                  <a:pt x="0" y="50"/>
                  <a:pt x="0" y="64"/>
                </a:cubicBezTo>
                <a:cubicBezTo>
                  <a:pt x="0" y="311"/>
                  <a:pt x="0" y="311"/>
                  <a:pt x="0" y="311"/>
                </a:cubicBezTo>
                <a:cubicBezTo>
                  <a:pt x="0" y="325"/>
                  <a:pt x="11" y="336"/>
                  <a:pt x="25" y="336"/>
                </a:cubicBezTo>
                <a:cubicBezTo>
                  <a:pt x="392" y="336"/>
                  <a:pt x="392" y="336"/>
                  <a:pt x="392" y="336"/>
                </a:cubicBezTo>
                <a:cubicBezTo>
                  <a:pt x="406" y="336"/>
                  <a:pt x="418" y="325"/>
                  <a:pt x="418" y="311"/>
                </a:cubicBezTo>
                <a:cubicBezTo>
                  <a:pt x="418" y="110"/>
                  <a:pt x="418" y="110"/>
                  <a:pt x="418" y="110"/>
                </a:cubicBezTo>
                <a:cubicBezTo>
                  <a:pt x="418" y="106"/>
                  <a:pt x="414" y="102"/>
                  <a:pt x="410" y="102"/>
                </a:cubicBezTo>
                <a:close/>
                <a:moveTo>
                  <a:pt x="156" y="16"/>
                </a:moveTo>
                <a:cubicBezTo>
                  <a:pt x="262" y="16"/>
                  <a:pt x="262" y="16"/>
                  <a:pt x="262" y="16"/>
                </a:cubicBezTo>
                <a:cubicBezTo>
                  <a:pt x="266" y="16"/>
                  <a:pt x="270" y="19"/>
                  <a:pt x="270" y="24"/>
                </a:cubicBezTo>
                <a:cubicBezTo>
                  <a:pt x="270" y="39"/>
                  <a:pt x="270" y="39"/>
                  <a:pt x="270" y="39"/>
                </a:cubicBezTo>
                <a:cubicBezTo>
                  <a:pt x="148" y="39"/>
                  <a:pt x="148" y="39"/>
                  <a:pt x="148" y="39"/>
                </a:cubicBezTo>
                <a:cubicBezTo>
                  <a:pt x="148" y="24"/>
                  <a:pt x="148" y="24"/>
                  <a:pt x="148" y="24"/>
                </a:cubicBezTo>
                <a:cubicBezTo>
                  <a:pt x="148" y="19"/>
                  <a:pt x="151" y="16"/>
                  <a:pt x="156" y="16"/>
                </a:cubicBezTo>
                <a:close/>
              </a:path>
            </a:pathLst>
          </a:custGeom>
          <a:solidFill>
            <a:schemeClr val="accent1"/>
          </a:solidFill>
          <a:ln>
            <a:noFill/>
          </a:ln>
          <a:extLst/>
        </p:spPr>
        <p:txBody>
          <a:bodyPr lIns="91436" tIns="45718" rIns="91436" bIns="45718"/>
          <a:lstStyle/>
          <a:p>
            <a:endParaRPr lang="en-US"/>
          </a:p>
        </p:txBody>
      </p:sp>
      <p:sp>
        <p:nvSpPr>
          <p:cNvPr id="38" name="Freeform 3">
            <a:extLst>
              <a:ext uri="{FF2B5EF4-FFF2-40B4-BE49-F238E27FC236}">
                <a16:creationId xmlns:a16="http://schemas.microsoft.com/office/drawing/2014/main" id="{07FEBCBA-C48D-8146-9D65-BB00A787274F}"/>
              </a:ext>
            </a:extLst>
          </p:cNvPr>
          <p:cNvSpPr>
            <a:spLocks noChangeAspect="1" noEditPoints="1"/>
          </p:cNvSpPr>
          <p:nvPr/>
        </p:nvSpPr>
        <p:spPr bwMode="auto">
          <a:xfrm>
            <a:off x="612684" y="2338298"/>
            <a:ext cx="465138" cy="484187"/>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chemeClr val="accent1"/>
          </a:solidFill>
          <a:ln>
            <a:noFill/>
          </a:ln>
          <a:extLst/>
        </p:spPr>
        <p:txBody>
          <a:bodyPr/>
          <a:lstStyle/>
          <a:p>
            <a:endParaRPr lang="en-US"/>
          </a:p>
        </p:txBody>
      </p:sp>
      <p:sp>
        <p:nvSpPr>
          <p:cNvPr id="39" name="Freeform 16">
            <a:extLst>
              <a:ext uri="{FF2B5EF4-FFF2-40B4-BE49-F238E27FC236}">
                <a16:creationId xmlns:a16="http://schemas.microsoft.com/office/drawing/2014/main" id="{4B43FEDB-4676-A641-9587-FB62974D253D}"/>
              </a:ext>
            </a:extLst>
          </p:cNvPr>
          <p:cNvSpPr>
            <a:spLocks noChangeAspect="1" noEditPoints="1"/>
          </p:cNvSpPr>
          <p:nvPr/>
        </p:nvSpPr>
        <p:spPr bwMode="auto">
          <a:xfrm>
            <a:off x="612684" y="2935846"/>
            <a:ext cx="533400" cy="515937"/>
          </a:xfrm>
          <a:custGeom>
            <a:avLst/>
            <a:gdLst>
              <a:gd name="T0" fmla="*/ 2147483647 w 479"/>
              <a:gd name="T1" fmla="*/ 2147483647 h 465"/>
              <a:gd name="T2" fmla="*/ 2147483647 w 479"/>
              <a:gd name="T3" fmla="*/ 0 h 465"/>
              <a:gd name="T4" fmla="*/ 2147483647 w 479"/>
              <a:gd name="T5" fmla="*/ 2147483647 h 465"/>
              <a:gd name="T6" fmla="*/ 2147483647 w 479"/>
              <a:gd name="T7" fmla="*/ 2147483647 h 465"/>
              <a:gd name="T8" fmla="*/ 2147483647 w 479"/>
              <a:gd name="T9" fmla="*/ 2147483647 h 465"/>
              <a:gd name="T10" fmla="*/ 2147483647 w 479"/>
              <a:gd name="T11" fmla="*/ 2147483647 h 465"/>
              <a:gd name="T12" fmla="*/ 2147483647 w 479"/>
              <a:gd name="T13" fmla="*/ 2147483647 h 465"/>
              <a:gd name="T14" fmla="*/ 2147483647 w 479"/>
              <a:gd name="T15" fmla="*/ 2147483647 h 465"/>
              <a:gd name="T16" fmla="*/ 2147483647 w 479"/>
              <a:gd name="T17" fmla="*/ 2147483647 h 465"/>
              <a:gd name="T18" fmla="*/ 2147483647 w 479"/>
              <a:gd name="T19" fmla="*/ 2147483647 h 465"/>
              <a:gd name="T20" fmla="*/ 2147483647 w 479"/>
              <a:gd name="T21" fmla="*/ 2147483647 h 465"/>
              <a:gd name="T22" fmla="*/ 2147483647 w 479"/>
              <a:gd name="T23" fmla="*/ 2147483647 h 465"/>
              <a:gd name="T24" fmla="*/ 2147483647 w 479"/>
              <a:gd name="T25" fmla="*/ 2147483647 h 465"/>
              <a:gd name="T26" fmla="*/ 2147483647 w 479"/>
              <a:gd name="T27" fmla="*/ 2147483647 h 465"/>
              <a:gd name="T28" fmla="*/ 2147483647 w 479"/>
              <a:gd name="T29" fmla="*/ 2147483647 h 465"/>
              <a:gd name="T30" fmla="*/ 2147483647 w 479"/>
              <a:gd name="T31" fmla="*/ 2147483647 h 465"/>
              <a:gd name="T32" fmla="*/ 2147483647 w 479"/>
              <a:gd name="T33" fmla="*/ 2147483647 h 465"/>
              <a:gd name="T34" fmla="*/ 2147483647 w 479"/>
              <a:gd name="T35" fmla="*/ 2147483647 h 465"/>
              <a:gd name="T36" fmla="*/ 2147483647 w 479"/>
              <a:gd name="T37" fmla="*/ 2147483647 h 465"/>
              <a:gd name="T38" fmla="*/ 2147483647 w 479"/>
              <a:gd name="T39" fmla="*/ 2147483647 h 465"/>
              <a:gd name="T40" fmla="*/ 2147483647 w 479"/>
              <a:gd name="T41" fmla="*/ 2147483647 h 465"/>
              <a:gd name="T42" fmla="*/ 2147483647 w 479"/>
              <a:gd name="T43" fmla="*/ 2147483647 h 465"/>
              <a:gd name="T44" fmla="*/ 2147483647 w 479"/>
              <a:gd name="T45" fmla="*/ 2147483647 h 465"/>
              <a:gd name="T46" fmla="*/ 2147483647 w 479"/>
              <a:gd name="T47" fmla="*/ 2147483647 h 465"/>
              <a:gd name="T48" fmla="*/ 2147483647 w 479"/>
              <a:gd name="T49" fmla="*/ 2147483647 h 465"/>
              <a:gd name="T50" fmla="*/ 2147483647 w 479"/>
              <a:gd name="T51" fmla="*/ 2147483647 h 465"/>
              <a:gd name="T52" fmla="*/ 2147483647 w 479"/>
              <a:gd name="T53" fmla="*/ 2147483647 h 465"/>
              <a:gd name="T54" fmla="*/ 2147483647 w 479"/>
              <a:gd name="T55" fmla="*/ 2147483647 h 465"/>
              <a:gd name="T56" fmla="*/ 2147483647 w 479"/>
              <a:gd name="T57" fmla="*/ 2147483647 h 465"/>
              <a:gd name="T58" fmla="*/ 2147483647 w 479"/>
              <a:gd name="T59" fmla="*/ 2147483647 h 465"/>
              <a:gd name="T60" fmla="*/ 2147483647 w 479"/>
              <a:gd name="T61" fmla="*/ 2147483647 h 465"/>
              <a:gd name="T62" fmla="*/ 2147483647 w 479"/>
              <a:gd name="T63" fmla="*/ 2147483647 h 465"/>
              <a:gd name="T64" fmla="*/ 2147483647 w 479"/>
              <a:gd name="T65" fmla="*/ 2147483647 h 465"/>
              <a:gd name="T66" fmla="*/ 2147483647 w 479"/>
              <a:gd name="T67" fmla="*/ 2147483647 h 465"/>
              <a:gd name="T68" fmla="*/ 2147483647 w 479"/>
              <a:gd name="T69" fmla="*/ 2147483647 h 465"/>
              <a:gd name="T70" fmla="*/ 2147483647 w 479"/>
              <a:gd name="T71" fmla="*/ 2147483647 h 465"/>
              <a:gd name="T72" fmla="*/ 2147483647 w 479"/>
              <a:gd name="T73" fmla="*/ 2147483647 h 465"/>
              <a:gd name="T74" fmla="*/ 2147483647 w 479"/>
              <a:gd name="T75" fmla="*/ 2147483647 h 465"/>
              <a:gd name="T76" fmla="*/ 2147483647 w 479"/>
              <a:gd name="T77" fmla="*/ 2147483647 h 465"/>
              <a:gd name="T78" fmla="*/ 2147483647 w 479"/>
              <a:gd name="T79" fmla="*/ 2147483647 h 465"/>
              <a:gd name="T80" fmla="*/ 2147483647 w 479"/>
              <a:gd name="T81" fmla="*/ 2147483647 h 465"/>
              <a:gd name="T82" fmla="*/ 2147483647 w 479"/>
              <a:gd name="T83" fmla="*/ 2147483647 h 465"/>
              <a:gd name="T84" fmla="*/ 2147483647 w 479"/>
              <a:gd name="T85" fmla="*/ 2147483647 h 465"/>
              <a:gd name="T86" fmla="*/ 2147483647 w 479"/>
              <a:gd name="T87" fmla="*/ 2147483647 h 465"/>
              <a:gd name="T88" fmla="*/ 2147483647 w 479"/>
              <a:gd name="T89" fmla="*/ 2147483647 h 465"/>
              <a:gd name="T90" fmla="*/ 2147483647 w 479"/>
              <a:gd name="T91" fmla="*/ 2147483647 h 465"/>
              <a:gd name="T92" fmla="*/ 2147483647 w 479"/>
              <a:gd name="T93" fmla="*/ 2147483647 h 465"/>
              <a:gd name="T94" fmla="*/ 2147483647 w 479"/>
              <a:gd name="T95" fmla="*/ 2147483647 h 465"/>
              <a:gd name="T96" fmla="*/ 2147483647 w 479"/>
              <a:gd name="T97" fmla="*/ 2147483647 h 465"/>
              <a:gd name="T98" fmla="*/ 2147483647 w 479"/>
              <a:gd name="T99" fmla="*/ 2147483647 h 465"/>
              <a:gd name="T100" fmla="*/ 2147483647 w 479"/>
              <a:gd name="T101" fmla="*/ 2147483647 h 465"/>
              <a:gd name="T102" fmla="*/ 2147483647 w 479"/>
              <a:gd name="T103" fmla="*/ 2147483647 h 465"/>
              <a:gd name="T104" fmla="*/ 2147483647 w 479"/>
              <a:gd name="T105" fmla="*/ 2147483647 h 465"/>
              <a:gd name="T106" fmla="*/ 2147483647 w 479"/>
              <a:gd name="T107" fmla="*/ 2147483647 h 465"/>
              <a:gd name="T108" fmla="*/ 2147483647 w 479"/>
              <a:gd name="T109" fmla="*/ 2147483647 h 465"/>
              <a:gd name="T110" fmla="*/ 2147483647 w 479"/>
              <a:gd name="T111" fmla="*/ 2147483647 h 465"/>
              <a:gd name="T112" fmla="*/ 2147483647 w 479"/>
              <a:gd name="T113" fmla="*/ 2147483647 h 465"/>
              <a:gd name="T114" fmla="*/ 2147483647 w 479"/>
              <a:gd name="T115" fmla="*/ 2147483647 h 465"/>
              <a:gd name="T116" fmla="*/ 2147483647 w 479"/>
              <a:gd name="T117" fmla="*/ 2147483647 h 4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79" h="465">
                <a:moveTo>
                  <a:pt x="316" y="16"/>
                </a:moveTo>
                <a:cubicBezTo>
                  <a:pt x="316" y="16"/>
                  <a:pt x="316" y="16"/>
                  <a:pt x="316" y="16"/>
                </a:cubicBezTo>
                <a:cubicBezTo>
                  <a:pt x="382" y="17"/>
                  <a:pt x="436" y="70"/>
                  <a:pt x="436" y="137"/>
                </a:cubicBezTo>
                <a:cubicBezTo>
                  <a:pt x="436" y="141"/>
                  <a:pt x="440" y="145"/>
                  <a:pt x="444" y="145"/>
                </a:cubicBezTo>
                <a:cubicBezTo>
                  <a:pt x="448" y="145"/>
                  <a:pt x="452" y="141"/>
                  <a:pt x="452" y="137"/>
                </a:cubicBezTo>
                <a:cubicBezTo>
                  <a:pt x="452" y="62"/>
                  <a:pt x="391" y="0"/>
                  <a:pt x="316" y="0"/>
                </a:cubicBezTo>
                <a:cubicBezTo>
                  <a:pt x="311" y="0"/>
                  <a:pt x="308" y="4"/>
                  <a:pt x="308" y="8"/>
                </a:cubicBezTo>
                <a:cubicBezTo>
                  <a:pt x="308" y="13"/>
                  <a:pt x="311" y="16"/>
                  <a:pt x="316" y="16"/>
                </a:cubicBezTo>
                <a:close/>
                <a:moveTo>
                  <a:pt x="316" y="93"/>
                </a:moveTo>
                <a:cubicBezTo>
                  <a:pt x="316" y="93"/>
                  <a:pt x="316" y="93"/>
                  <a:pt x="316" y="93"/>
                </a:cubicBezTo>
                <a:cubicBezTo>
                  <a:pt x="340" y="93"/>
                  <a:pt x="359" y="113"/>
                  <a:pt x="359" y="137"/>
                </a:cubicBezTo>
                <a:cubicBezTo>
                  <a:pt x="359" y="141"/>
                  <a:pt x="363" y="145"/>
                  <a:pt x="367" y="145"/>
                </a:cubicBezTo>
                <a:cubicBezTo>
                  <a:pt x="371" y="145"/>
                  <a:pt x="375" y="141"/>
                  <a:pt x="375" y="137"/>
                </a:cubicBezTo>
                <a:cubicBezTo>
                  <a:pt x="375" y="104"/>
                  <a:pt x="348" y="77"/>
                  <a:pt x="316" y="77"/>
                </a:cubicBezTo>
                <a:cubicBezTo>
                  <a:pt x="311" y="77"/>
                  <a:pt x="308" y="81"/>
                  <a:pt x="308" y="85"/>
                </a:cubicBezTo>
                <a:cubicBezTo>
                  <a:pt x="308" y="90"/>
                  <a:pt x="311" y="93"/>
                  <a:pt x="316" y="93"/>
                </a:cubicBezTo>
                <a:close/>
                <a:moveTo>
                  <a:pt x="316" y="55"/>
                </a:moveTo>
                <a:cubicBezTo>
                  <a:pt x="316" y="55"/>
                  <a:pt x="316" y="55"/>
                  <a:pt x="316" y="55"/>
                </a:cubicBezTo>
                <a:cubicBezTo>
                  <a:pt x="361" y="55"/>
                  <a:pt x="397" y="92"/>
                  <a:pt x="398" y="137"/>
                </a:cubicBezTo>
                <a:cubicBezTo>
                  <a:pt x="398" y="141"/>
                  <a:pt x="401" y="145"/>
                  <a:pt x="406" y="145"/>
                </a:cubicBezTo>
                <a:cubicBezTo>
                  <a:pt x="410" y="145"/>
                  <a:pt x="414" y="141"/>
                  <a:pt x="414" y="137"/>
                </a:cubicBezTo>
                <a:cubicBezTo>
                  <a:pt x="414" y="83"/>
                  <a:pt x="370" y="39"/>
                  <a:pt x="316" y="39"/>
                </a:cubicBezTo>
                <a:cubicBezTo>
                  <a:pt x="311" y="39"/>
                  <a:pt x="308" y="43"/>
                  <a:pt x="308" y="47"/>
                </a:cubicBezTo>
                <a:cubicBezTo>
                  <a:pt x="308" y="51"/>
                  <a:pt x="311" y="55"/>
                  <a:pt x="316" y="55"/>
                </a:cubicBezTo>
                <a:close/>
                <a:moveTo>
                  <a:pt x="119" y="222"/>
                </a:moveTo>
                <a:cubicBezTo>
                  <a:pt x="119" y="258"/>
                  <a:pt x="148" y="287"/>
                  <a:pt x="184" y="287"/>
                </a:cubicBezTo>
                <a:cubicBezTo>
                  <a:pt x="221" y="287"/>
                  <a:pt x="250" y="258"/>
                  <a:pt x="250" y="222"/>
                </a:cubicBezTo>
                <a:cubicBezTo>
                  <a:pt x="250" y="185"/>
                  <a:pt x="221" y="156"/>
                  <a:pt x="184" y="156"/>
                </a:cubicBezTo>
                <a:cubicBezTo>
                  <a:pt x="148" y="156"/>
                  <a:pt x="119" y="185"/>
                  <a:pt x="119" y="222"/>
                </a:cubicBezTo>
                <a:close/>
                <a:moveTo>
                  <a:pt x="201" y="186"/>
                </a:moveTo>
                <a:cubicBezTo>
                  <a:pt x="201" y="205"/>
                  <a:pt x="201" y="205"/>
                  <a:pt x="201" y="205"/>
                </a:cubicBezTo>
                <a:cubicBezTo>
                  <a:pt x="220" y="205"/>
                  <a:pt x="220" y="205"/>
                  <a:pt x="220" y="205"/>
                </a:cubicBezTo>
                <a:cubicBezTo>
                  <a:pt x="225" y="205"/>
                  <a:pt x="230" y="210"/>
                  <a:pt x="230" y="215"/>
                </a:cubicBezTo>
                <a:cubicBezTo>
                  <a:pt x="230" y="228"/>
                  <a:pt x="230" y="228"/>
                  <a:pt x="230" y="228"/>
                </a:cubicBezTo>
                <a:cubicBezTo>
                  <a:pt x="230" y="234"/>
                  <a:pt x="225" y="238"/>
                  <a:pt x="220" y="238"/>
                </a:cubicBezTo>
                <a:cubicBezTo>
                  <a:pt x="201" y="238"/>
                  <a:pt x="201" y="238"/>
                  <a:pt x="201" y="238"/>
                </a:cubicBezTo>
                <a:cubicBezTo>
                  <a:pt x="201" y="257"/>
                  <a:pt x="201" y="257"/>
                  <a:pt x="201" y="257"/>
                </a:cubicBezTo>
                <a:cubicBezTo>
                  <a:pt x="201" y="263"/>
                  <a:pt x="196" y="267"/>
                  <a:pt x="191" y="267"/>
                </a:cubicBezTo>
                <a:cubicBezTo>
                  <a:pt x="178" y="267"/>
                  <a:pt x="178" y="267"/>
                  <a:pt x="178" y="267"/>
                </a:cubicBezTo>
                <a:cubicBezTo>
                  <a:pt x="172" y="267"/>
                  <a:pt x="168" y="263"/>
                  <a:pt x="168" y="257"/>
                </a:cubicBezTo>
                <a:cubicBezTo>
                  <a:pt x="168" y="238"/>
                  <a:pt x="168" y="238"/>
                  <a:pt x="168" y="238"/>
                </a:cubicBezTo>
                <a:cubicBezTo>
                  <a:pt x="149" y="238"/>
                  <a:pt x="149" y="238"/>
                  <a:pt x="149" y="238"/>
                </a:cubicBezTo>
                <a:cubicBezTo>
                  <a:pt x="143" y="238"/>
                  <a:pt x="139" y="234"/>
                  <a:pt x="139" y="228"/>
                </a:cubicBezTo>
                <a:cubicBezTo>
                  <a:pt x="139" y="215"/>
                  <a:pt x="139" y="215"/>
                  <a:pt x="139" y="215"/>
                </a:cubicBezTo>
                <a:cubicBezTo>
                  <a:pt x="139" y="210"/>
                  <a:pt x="143" y="205"/>
                  <a:pt x="149" y="205"/>
                </a:cubicBezTo>
                <a:cubicBezTo>
                  <a:pt x="168" y="205"/>
                  <a:pt x="168" y="205"/>
                  <a:pt x="168" y="205"/>
                </a:cubicBezTo>
                <a:cubicBezTo>
                  <a:pt x="168" y="186"/>
                  <a:pt x="168" y="186"/>
                  <a:pt x="168" y="186"/>
                </a:cubicBezTo>
                <a:cubicBezTo>
                  <a:pt x="168" y="181"/>
                  <a:pt x="172" y="176"/>
                  <a:pt x="178" y="176"/>
                </a:cubicBezTo>
                <a:cubicBezTo>
                  <a:pt x="191" y="176"/>
                  <a:pt x="191" y="176"/>
                  <a:pt x="191" y="176"/>
                </a:cubicBezTo>
                <a:cubicBezTo>
                  <a:pt x="196" y="176"/>
                  <a:pt x="201" y="181"/>
                  <a:pt x="201" y="186"/>
                </a:cubicBezTo>
                <a:close/>
                <a:moveTo>
                  <a:pt x="468" y="372"/>
                </a:moveTo>
                <a:cubicBezTo>
                  <a:pt x="462" y="364"/>
                  <a:pt x="451" y="359"/>
                  <a:pt x="440" y="359"/>
                </a:cubicBezTo>
                <a:cubicBezTo>
                  <a:pt x="433" y="359"/>
                  <a:pt x="427" y="361"/>
                  <a:pt x="420" y="364"/>
                </a:cubicBezTo>
                <a:cubicBezTo>
                  <a:pt x="414" y="366"/>
                  <a:pt x="409" y="368"/>
                  <a:pt x="404" y="370"/>
                </a:cubicBezTo>
                <a:cubicBezTo>
                  <a:pt x="450" y="322"/>
                  <a:pt x="450" y="322"/>
                  <a:pt x="450" y="322"/>
                </a:cubicBezTo>
                <a:cubicBezTo>
                  <a:pt x="452" y="319"/>
                  <a:pt x="452" y="314"/>
                  <a:pt x="450" y="311"/>
                </a:cubicBezTo>
                <a:cubicBezTo>
                  <a:pt x="448" y="308"/>
                  <a:pt x="443" y="307"/>
                  <a:pt x="440" y="309"/>
                </a:cubicBezTo>
                <a:cubicBezTo>
                  <a:pt x="400" y="330"/>
                  <a:pt x="400" y="330"/>
                  <a:pt x="400" y="330"/>
                </a:cubicBezTo>
                <a:cubicBezTo>
                  <a:pt x="413" y="311"/>
                  <a:pt x="413" y="311"/>
                  <a:pt x="413" y="311"/>
                </a:cubicBezTo>
                <a:cubicBezTo>
                  <a:pt x="415" y="308"/>
                  <a:pt x="415" y="304"/>
                  <a:pt x="412" y="301"/>
                </a:cubicBezTo>
                <a:cubicBezTo>
                  <a:pt x="410" y="298"/>
                  <a:pt x="406" y="297"/>
                  <a:pt x="403" y="299"/>
                </a:cubicBezTo>
                <a:cubicBezTo>
                  <a:pt x="355" y="320"/>
                  <a:pt x="355" y="320"/>
                  <a:pt x="355" y="320"/>
                </a:cubicBezTo>
                <a:cubicBezTo>
                  <a:pt x="400" y="276"/>
                  <a:pt x="400" y="276"/>
                  <a:pt x="400" y="276"/>
                </a:cubicBezTo>
                <a:cubicBezTo>
                  <a:pt x="403" y="273"/>
                  <a:pt x="403" y="269"/>
                  <a:pt x="401" y="265"/>
                </a:cubicBezTo>
                <a:cubicBezTo>
                  <a:pt x="399" y="262"/>
                  <a:pt x="394" y="261"/>
                  <a:pt x="391" y="263"/>
                </a:cubicBezTo>
                <a:cubicBezTo>
                  <a:pt x="345" y="285"/>
                  <a:pt x="345" y="285"/>
                  <a:pt x="345" y="285"/>
                </a:cubicBezTo>
                <a:cubicBezTo>
                  <a:pt x="332" y="273"/>
                  <a:pt x="323" y="268"/>
                  <a:pt x="317" y="266"/>
                </a:cubicBezTo>
                <a:cubicBezTo>
                  <a:pt x="317" y="197"/>
                  <a:pt x="317" y="197"/>
                  <a:pt x="317" y="197"/>
                </a:cubicBezTo>
                <a:cubicBezTo>
                  <a:pt x="317" y="193"/>
                  <a:pt x="313" y="189"/>
                  <a:pt x="309" y="189"/>
                </a:cubicBezTo>
                <a:cubicBezTo>
                  <a:pt x="305" y="189"/>
                  <a:pt x="301" y="193"/>
                  <a:pt x="301" y="197"/>
                </a:cubicBezTo>
                <a:cubicBezTo>
                  <a:pt x="301" y="197"/>
                  <a:pt x="301" y="197"/>
                  <a:pt x="301" y="197"/>
                </a:cubicBezTo>
                <a:cubicBezTo>
                  <a:pt x="301" y="298"/>
                  <a:pt x="301" y="298"/>
                  <a:pt x="301" y="298"/>
                </a:cubicBezTo>
                <a:cubicBezTo>
                  <a:pt x="301" y="300"/>
                  <a:pt x="300" y="301"/>
                  <a:pt x="298" y="301"/>
                </a:cubicBezTo>
                <a:cubicBezTo>
                  <a:pt x="70" y="301"/>
                  <a:pt x="70" y="301"/>
                  <a:pt x="70" y="301"/>
                </a:cubicBezTo>
                <a:cubicBezTo>
                  <a:pt x="69" y="301"/>
                  <a:pt x="68" y="300"/>
                  <a:pt x="68" y="298"/>
                </a:cubicBezTo>
                <a:cubicBezTo>
                  <a:pt x="68" y="145"/>
                  <a:pt x="68" y="145"/>
                  <a:pt x="68" y="145"/>
                </a:cubicBezTo>
                <a:cubicBezTo>
                  <a:pt x="68" y="144"/>
                  <a:pt x="69" y="142"/>
                  <a:pt x="70" y="142"/>
                </a:cubicBezTo>
                <a:cubicBezTo>
                  <a:pt x="298" y="142"/>
                  <a:pt x="298" y="142"/>
                  <a:pt x="298" y="142"/>
                </a:cubicBezTo>
                <a:cubicBezTo>
                  <a:pt x="300" y="142"/>
                  <a:pt x="301" y="144"/>
                  <a:pt x="301" y="145"/>
                </a:cubicBezTo>
                <a:cubicBezTo>
                  <a:pt x="301" y="165"/>
                  <a:pt x="301" y="165"/>
                  <a:pt x="301" y="165"/>
                </a:cubicBezTo>
                <a:cubicBezTo>
                  <a:pt x="301" y="169"/>
                  <a:pt x="305" y="173"/>
                  <a:pt x="309" y="173"/>
                </a:cubicBezTo>
                <a:cubicBezTo>
                  <a:pt x="313" y="173"/>
                  <a:pt x="317" y="169"/>
                  <a:pt x="317" y="165"/>
                </a:cubicBezTo>
                <a:cubicBezTo>
                  <a:pt x="317" y="145"/>
                  <a:pt x="317" y="145"/>
                  <a:pt x="317" y="145"/>
                </a:cubicBezTo>
                <a:cubicBezTo>
                  <a:pt x="317" y="135"/>
                  <a:pt x="309" y="126"/>
                  <a:pt x="298" y="126"/>
                </a:cubicBezTo>
                <a:cubicBezTo>
                  <a:pt x="235" y="126"/>
                  <a:pt x="235" y="126"/>
                  <a:pt x="235" y="126"/>
                </a:cubicBezTo>
                <a:cubicBezTo>
                  <a:pt x="235" y="120"/>
                  <a:pt x="235" y="120"/>
                  <a:pt x="235" y="120"/>
                </a:cubicBezTo>
                <a:cubicBezTo>
                  <a:pt x="235" y="110"/>
                  <a:pt x="227" y="102"/>
                  <a:pt x="217" y="102"/>
                </a:cubicBezTo>
                <a:cubicBezTo>
                  <a:pt x="151" y="102"/>
                  <a:pt x="151" y="102"/>
                  <a:pt x="151" y="102"/>
                </a:cubicBezTo>
                <a:cubicBezTo>
                  <a:pt x="142" y="102"/>
                  <a:pt x="133" y="110"/>
                  <a:pt x="133" y="120"/>
                </a:cubicBezTo>
                <a:cubicBezTo>
                  <a:pt x="133" y="126"/>
                  <a:pt x="133" y="126"/>
                  <a:pt x="133" y="126"/>
                </a:cubicBezTo>
                <a:cubicBezTo>
                  <a:pt x="70" y="126"/>
                  <a:pt x="70" y="126"/>
                  <a:pt x="70" y="126"/>
                </a:cubicBezTo>
                <a:cubicBezTo>
                  <a:pt x="60" y="126"/>
                  <a:pt x="52" y="135"/>
                  <a:pt x="52" y="145"/>
                </a:cubicBezTo>
                <a:cubicBezTo>
                  <a:pt x="52" y="298"/>
                  <a:pt x="52" y="298"/>
                  <a:pt x="52" y="298"/>
                </a:cubicBezTo>
                <a:cubicBezTo>
                  <a:pt x="52" y="309"/>
                  <a:pt x="60" y="317"/>
                  <a:pt x="70" y="317"/>
                </a:cubicBezTo>
                <a:cubicBezTo>
                  <a:pt x="298" y="317"/>
                  <a:pt x="298" y="317"/>
                  <a:pt x="298" y="317"/>
                </a:cubicBezTo>
                <a:cubicBezTo>
                  <a:pt x="309" y="317"/>
                  <a:pt x="317" y="309"/>
                  <a:pt x="317" y="298"/>
                </a:cubicBezTo>
                <a:cubicBezTo>
                  <a:pt x="317" y="283"/>
                  <a:pt x="317" y="283"/>
                  <a:pt x="317" y="283"/>
                </a:cubicBezTo>
                <a:cubicBezTo>
                  <a:pt x="322" y="286"/>
                  <a:pt x="328" y="291"/>
                  <a:pt x="337" y="300"/>
                </a:cubicBezTo>
                <a:cubicBezTo>
                  <a:pt x="340" y="302"/>
                  <a:pt x="343" y="303"/>
                  <a:pt x="346" y="301"/>
                </a:cubicBezTo>
                <a:cubicBezTo>
                  <a:pt x="356" y="297"/>
                  <a:pt x="356" y="297"/>
                  <a:pt x="356" y="297"/>
                </a:cubicBezTo>
                <a:cubicBezTo>
                  <a:pt x="313" y="340"/>
                  <a:pt x="313" y="340"/>
                  <a:pt x="313" y="340"/>
                </a:cubicBezTo>
                <a:cubicBezTo>
                  <a:pt x="311" y="342"/>
                  <a:pt x="310" y="347"/>
                  <a:pt x="312" y="350"/>
                </a:cubicBezTo>
                <a:cubicBezTo>
                  <a:pt x="315" y="353"/>
                  <a:pt x="319" y="354"/>
                  <a:pt x="322" y="353"/>
                </a:cubicBezTo>
                <a:cubicBezTo>
                  <a:pt x="383" y="325"/>
                  <a:pt x="383" y="325"/>
                  <a:pt x="383" y="325"/>
                </a:cubicBezTo>
                <a:cubicBezTo>
                  <a:pt x="368" y="347"/>
                  <a:pt x="368" y="347"/>
                  <a:pt x="368" y="347"/>
                </a:cubicBezTo>
                <a:cubicBezTo>
                  <a:pt x="366" y="350"/>
                  <a:pt x="366" y="354"/>
                  <a:pt x="369" y="357"/>
                </a:cubicBezTo>
                <a:cubicBezTo>
                  <a:pt x="371" y="360"/>
                  <a:pt x="375" y="360"/>
                  <a:pt x="378" y="359"/>
                </a:cubicBezTo>
                <a:cubicBezTo>
                  <a:pt x="407" y="344"/>
                  <a:pt x="407" y="344"/>
                  <a:pt x="407" y="344"/>
                </a:cubicBezTo>
                <a:cubicBezTo>
                  <a:pt x="369" y="385"/>
                  <a:pt x="369" y="385"/>
                  <a:pt x="369" y="385"/>
                </a:cubicBezTo>
                <a:cubicBezTo>
                  <a:pt x="367" y="387"/>
                  <a:pt x="366" y="390"/>
                  <a:pt x="367" y="393"/>
                </a:cubicBezTo>
                <a:cubicBezTo>
                  <a:pt x="369" y="396"/>
                  <a:pt x="372" y="398"/>
                  <a:pt x="375" y="398"/>
                </a:cubicBezTo>
                <a:cubicBezTo>
                  <a:pt x="375" y="398"/>
                  <a:pt x="375" y="398"/>
                  <a:pt x="375" y="398"/>
                </a:cubicBezTo>
                <a:cubicBezTo>
                  <a:pt x="377" y="398"/>
                  <a:pt x="377" y="398"/>
                  <a:pt x="379" y="397"/>
                </a:cubicBezTo>
                <a:cubicBezTo>
                  <a:pt x="382" y="396"/>
                  <a:pt x="392" y="393"/>
                  <a:pt x="426" y="379"/>
                </a:cubicBezTo>
                <a:cubicBezTo>
                  <a:pt x="431" y="376"/>
                  <a:pt x="436" y="375"/>
                  <a:pt x="440" y="375"/>
                </a:cubicBezTo>
                <a:cubicBezTo>
                  <a:pt x="454" y="375"/>
                  <a:pt x="462" y="387"/>
                  <a:pt x="462" y="399"/>
                </a:cubicBezTo>
                <a:cubicBezTo>
                  <a:pt x="462" y="409"/>
                  <a:pt x="458" y="419"/>
                  <a:pt x="445" y="424"/>
                </a:cubicBezTo>
                <a:cubicBezTo>
                  <a:pt x="412" y="438"/>
                  <a:pt x="389" y="448"/>
                  <a:pt x="358" y="448"/>
                </a:cubicBezTo>
                <a:cubicBezTo>
                  <a:pt x="350" y="448"/>
                  <a:pt x="341" y="447"/>
                  <a:pt x="332" y="446"/>
                </a:cubicBezTo>
                <a:cubicBezTo>
                  <a:pt x="309" y="442"/>
                  <a:pt x="293" y="430"/>
                  <a:pt x="276" y="418"/>
                </a:cubicBezTo>
                <a:cubicBezTo>
                  <a:pt x="260" y="407"/>
                  <a:pt x="244" y="396"/>
                  <a:pt x="222" y="394"/>
                </a:cubicBezTo>
                <a:cubicBezTo>
                  <a:pt x="222" y="367"/>
                  <a:pt x="222" y="367"/>
                  <a:pt x="222" y="367"/>
                </a:cubicBezTo>
                <a:cubicBezTo>
                  <a:pt x="222" y="354"/>
                  <a:pt x="211" y="343"/>
                  <a:pt x="198" y="343"/>
                </a:cubicBezTo>
                <a:cubicBezTo>
                  <a:pt x="76" y="343"/>
                  <a:pt x="76" y="343"/>
                  <a:pt x="76" y="343"/>
                </a:cubicBezTo>
                <a:cubicBezTo>
                  <a:pt x="65" y="343"/>
                  <a:pt x="56" y="350"/>
                  <a:pt x="53" y="359"/>
                </a:cubicBezTo>
                <a:cubicBezTo>
                  <a:pt x="16" y="359"/>
                  <a:pt x="16" y="359"/>
                  <a:pt x="16" y="359"/>
                </a:cubicBezTo>
                <a:cubicBezTo>
                  <a:pt x="7" y="359"/>
                  <a:pt x="0" y="366"/>
                  <a:pt x="0" y="375"/>
                </a:cubicBezTo>
                <a:cubicBezTo>
                  <a:pt x="0" y="433"/>
                  <a:pt x="0" y="433"/>
                  <a:pt x="0" y="433"/>
                </a:cubicBezTo>
                <a:cubicBezTo>
                  <a:pt x="0" y="442"/>
                  <a:pt x="7" y="449"/>
                  <a:pt x="16" y="449"/>
                </a:cubicBezTo>
                <a:cubicBezTo>
                  <a:pt x="53" y="449"/>
                  <a:pt x="53" y="449"/>
                  <a:pt x="53" y="449"/>
                </a:cubicBezTo>
                <a:cubicBezTo>
                  <a:pt x="56" y="458"/>
                  <a:pt x="65" y="465"/>
                  <a:pt x="76" y="465"/>
                </a:cubicBezTo>
                <a:cubicBezTo>
                  <a:pt x="198" y="465"/>
                  <a:pt x="198" y="465"/>
                  <a:pt x="198" y="465"/>
                </a:cubicBezTo>
                <a:cubicBezTo>
                  <a:pt x="211" y="465"/>
                  <a:pt x="222" y="454"/>
                  <a:pt x="222" y="441"/>
                </a:cubicBezTo>
                <a:cubicBezTo>
                  <a:pt x="222" y="410"/>
                  <a:pt x="222" y="410"/>
                  <a:pt x="222" y="410"/>
                </a:cubicBezTo>
                <a:cubicBezTo>
                  <a:pt x="238" y="412"/>
                  <a:pt x="252" y="421"/>
                  <a:pt x="267" y="431"/>
                </a:cubicBezTo>
                <a:cubicBezTo>
                  <a:pt x="284" y="443"/>
                  <a:pt x="302" y="457"/>
                  <a:pt x="329" y="462"/>
                </a:cubicBezTo>
                <a:cubicBezTo>
                  <a:pt x="340" y="463"/>
                  <a:pt x="349" y="464"/>
                  <a:pt x="358" y="464"/>
                </a:cubicBezTo>
                <a:cubicBezTo>
                  <a:pt x="358" y="464"/>
                  <a:pt x="358" y="464"/>
                  <a:pt x="358" y="464"/>
                </a:cubicBezTo>
                <a:cubicBezTo>
                  <a:pt x="393" y="464"/>
                  <a:pt x="419" y="453"/>
                  <a:pt x="451" y="439"/>
                </a:cubicBezTo>
                <a:cubicBezTo>
                  <a:pt x="470" y="431"/>
                  <a:pt x="479" y="415"/>
                  <a:pt x="478" y="399"/>
                </a:cubicBezTo>
                <a:cubicBezTo>
                  <a:pt x="478" y="389"/>
                  <a:pt x="475" y="380"/>
                  <a:pt x="468" y="372"/>
                </a:cubicBezTo>
                <a:close/>
                <a:moveTo>
                  <a:pt x="149" y="120"/>
                </a:moveTo>
                <a:cubicBezTo>
                  <a:pt x="149" y="119"/>
                  <a:pt x="150" y="118"/>
                  <a:pt x="151" y="118"/>
                </a:cubicBezTo>
                <a:cubicBezTo>
                  <a:pt x="217" y="118"/>
                  <a:pt x="217" y="118"/>
                  <a:pt x="217" y="118"/>
                </a:cubicBezTo>
                <a:cubicBezTo>
                  <a:pt x="218" y="118"/>
                  <a:pt x="219" y="119"/>
                  <a:pt x="219" y="120"/>
                </a:cubicBezTo>
                <a:cubicBezTo>
                  <a:pt x="219" y="126"/>
                  <a:pt x="219" y="126"/>
                  <a:pt x="219" y="126"/>
                </a:cubicBezTo>
                <a:cubicBezTo>
                  <a:pt x="149" y="126"/>
                  <a:pt x="149" y="126"/>
                  <a:pt x="149" y="126"/>
                </a:cubicBezTo>
                <a:lnTo>
                  <a:pt x="149" y="120"/>
                </a:lnTo>
                <a:close/>
                <a:moveTo>
                  <a:pt x="50" y="432"/>
                </a:moveTo>
                <a:cubicBezTo>
                  <a:pt x="50" y="435"/>
                  <a:pt x="48" y="437"/>
                  <a:pt x="45" y="437"/>
                </a:cubicBezTo>
                <a:cubicBezTo>
                  <a:pt x="32" y="437"/>
                  <a:pt x="32" y="437"/>
                  <a:pt x="32" y="437"/>
                </a:cubicBezTo>
                <a:cubicBezTo>
                  <a:pt x="29" y="437"/>
                  <a:pt x="27" y="435"/>
                  <a:pt x="27" y="432"/>
                </a:cubicBezTo>
                <a:cubicBezTo>
                  <a:pt x="27" y="417"/>
                  <a:pt x="27" y="417"/>
                  <a:pt x="27" y="417"/>
                </a:cubicBezTo>
                <a:cubicBezTo>
                  <a:pt x="27" y="415"/>
                  <a:pt x="29" y="412"/>
                  <a:pt x="32" y="412"/>
                </a:cubicBezTo>
                <a:cubicBezTo>
                  <a:pt x="45" y="412"/>
                  <a:pt x="45" y="412"/>
                  <a:pt x="45" y="412"/>
                </a:cubicBezTo>
                <a:cubicBezTo>
                  <a:pt x="48" y="412"/>
                  <a:pt x="50" y="415"/>
                  <a:pt x="50" y="417"/>
                </a:cubicBezTo>
                <a:lnTo>
                  <a:pt x="50" y="432"/>
                </a:lnTo>
                <a:close/>
                <a:moveTo>
                  <a:pt x="50" y="391"/>
                </a:moveTo>
                <a:cubicBezTo>
                  <a:pt x="50" y="394"/>
                  <a:pt x="48" y="396"/>
                  <a:pt x="45" y="396"/>
                </a:cubicBezTo>
                <a:cubicBezTo>
                  <a:pt x="32" y="396"/>
                  <a:pt x="32" y="396"/>
                  <a:pt x="32" y="396"/>
                </a:cubicBezTo>
                <a:cubicBezTo>
                  <a:pt x="29" y="396"/>
                  <a:pt x="27" y="394"/>
                  <a:pt x="27" y="391"/>
                </a:cubicBezTo>
                <a:cubicBezTo>
                  <a:pt x="27" y="376"/>
                  <a:pt x="27" y="376"/>
                  <a:pt x="27" y="376"/>
                </a:cubicBezTo>
                <a:cubicBezTo>
                  <a:pt x="27" y="374"/>
                  <a:pt x="29" y="372"/>
                  <a:pt x="32" y="372"/>
                </a:cubicBezTo>
                <a:cubicBezTo>
                  <a:pt x="45" y="372"/>
                  <a:pt x="45" y="372"/>
                  <a:pt x="45" y="372"/>
                </a:cubicBezTo>
                <a:cubicBezTo>
                  <a:pt x="48" y="372"/>
                  <a:pt x="50" y="374"/>
                  <a:pt x="50" y="376"/>
                </a:cubicBezTo>
                <a:lnTo>
                  <a:pt x="50" y="391"/>
                </a:lnTo>
                <a:close/>
                <a:moveTo>
                  <a:pt x="206" y="401"/>
                </a:moveTo>
                <a:cubicBezTo>
                  <a:pt x="206" y="401"/>
                  <a:pt x="206" y="401"/>
                  <a:pt x="206" y="401"/>
                </a:cubicBezTo>
                <a:cubicBezTo>
                  <a:pt x="206" y="401"/>
                  <a:pt x="206" y="401"/>
                  <a:pt x="206" y="401"/>
                </a:cubicBezTo>
                <a:cubicBezTo>
                  <a:pt x="206" y="441"/>
                  <a:pt x="206" y="441"/>
                  <a:pt x="206" y="441"/>
                </a:cubicBezTo>
                <a:cubicBezTo>
                  <a:pt x="206" y="446"/>
                  <a:pt x="202" y="449"/>
                  <a:pt x="198" y="449"/>
                </a:cubicBezTo>
                <a:cubicBezTo>
                  <a:pt x="76" y="449"/>
                  <a:pt x="76" y="449"/>
                  <a:pt x="76" y="449"/>
                </a:cubicBezTo>
                <a:cubicBezTo>
                  <a:pt x="71" y="449"/>
                  <a:pt x="68" y="446"/>
                  <a:pt x="68" y="441"/>
                </a:cubicBezTo>
                <a:cubicBezTo>
                  <a:pt x="68" y="367"/>
                  <a:pt x="68" y="367"/>
                  <a:pt x="68" y="367"/>
                </a:cubicBezTo>
                <a:cubicBezTo>
                  <a:pt x="68" y="363"/>
                  <a:pt x="71" y="359"/>
                  <a:pt x="76" y="359"/>
                </a:cubicBezTo>
                <a:cubicBezTo>
                  <a:pt x="198" y="359"/>
                  <a:pt x="198" y="359"/>
                  <a:pt x="198" y="359"/>
                </a:cubicBezTo>
                <a:cubicBezTo>
                  <a:pt x="202" y="359"/>
                  <a:pt x="206" y="363"/>
                  <a:pt x="206" y="367"/>
                </a:cubicBezTo>
                <a:lnTo>
                  <a:pt x="206" y="401"/>
                </a:lnTo>
                <a:close/>
              </a:path>
            </a:pathLst>
          </a:custGeom>
          <a:solidFill>
            <a:schemeClr val="accent1"/>
          </a:solidFill>
          <a:ln>
            <a:noFill/>
          </a:ln>
          <a:extLst/>
        </p:spPr>
        <p:txBody>
          <a:bodyPr/>
          <a:lstStyle/>
          <a:p>
            <a:endParaRPr lang="en-US"/>
          </a:p>
        </p:txBody>
      </p:sp>
      <p:sp>
        <p:nvSpPr>
          <p:cNvPr id="40" name="Freeform 65">
            <a:extLst>
              <a:ext uri="{FF2B5EF4-FFF2-40B4-BE49-F238E27FC236}">
                <a16:creationId xmlns:a16="http://schemas.microsoft.com/office/drawing/2014/main" id="{ACA2C2BA-6658-3148-9E09-7BDB388131AA}"/>
              </a:ext>
            </a:extLst>
          </p:cNvPr>
          <p:cNvSpPr>
            <a:spLocks noChangeAspect="1" noEditPoints="1"/>
          </p:cNvSpPr>
          <p:nvPr/>
        </p:nvSpPr>
        <p:spPr bwMode="auto">
          <a:xfrm>
            <a:off x="678658" y="5175005"/>
            <a:ext cx="330200" cy="487363"/>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accent1"/>
          </a:solidFill>
          <a:ln>
            <a:noFill/>
          </a:ln>
          <a:extLst/>
        </p:spPr>
        <p:txBody>
          <a:bodyPr lIns="91430" tIns="45718" rIns="91430" bIns="45718"/>
          <a:lstStyle/>
          <a:p>
            <a:endParaRPr lang="en-US"/>
          </a:p>
        </p:txBody>
      </p:sp>
      <p:sp>
        <p:nvSpPr>
          <p:cNvPr id="43" name="TextBox 42">
            <a:extLst>
              <a:ext uri="{FF2B5EF4-FFF2-40B4-BE49-F238E27FC236}">
                <a16:creationId xmlns:a16="http://schemas.microsoft.com/office/drawing/2014/main" id="{DE539DCC-75B7-674D-A7AA-5772C19464F2}"/>
              </a:ext>
            </a:extLst>
          </p:cNvPr>
          <p:cNvSpPr txBox="1"/>
          <p:nvPr/>
        </p:nvSpPr>
        <p:spPr>
          <a:xfrm rot="5400000">
            <a:off x="7425420" y="4782548"/>
            <a:ext cx="931422" cy="338554"/>
          </a:xfrm>
          <a:prstGeom prst="rect">
            <a:avLst/>
          </a:prstGeom>
          <a:noFill/>
        </p:spPr>
        <p:txBody>
          <a:bodyPr wrap="square" rtlCol="0">
            <a:spAutoFit/>
          </a:bodyPr>
          <a:lstStyle/>
          <a:p>
            <a:pPr algn="ctr"/>
            <a:r>
              <a:rPr lang="en-US" sz="1600">
                <a:solidFill>
                  <a:schemeClr val="bg1"/>
                </a:solidFill>
              </a:rPr>
              <a:t>CUPS</a:t>
            </a:r>
          </a:p>
        </p:txBody>
      </p:sp>
      <p:sp>
        <p:nvSpPr>
          <p:cNvPr id="44" name="TextBox 43">
            <a:extLst>
              <a:ext uri="{FF2B5EF4-FFF2-40B4-BE49-F238E27FC236}">
                <a16:creationId xmlns:a16="http://schemas.microsoft.com/office/drawing/2014/main" id="{BB8879ED-34D3-9244-9A3F-506B00290CA8}"/>
              </a:ext>
            </a:extLst>
          </p:cNvPr>
          <p:cNvSpPr txBox="1"/>
          <p:nvPr/>
        </p:nvSpPr>
        <p:spPr>
          <a:xfrm rot="5400000">
            <a:off x="7416411" y="3245730"/>
            <a:ext cx="931422" cy="338554"/>
          </a:xfrm>
          <a:prstGeom prst="rect">
            <a:avLst/>
          </a:prstGeom>
          <a:noFill/>
        </p:spPr>
        <p:txBody>
          <a:bodyPr wrap="square" rtlCol="0">
            <a:spAutoFit/>
          </a:bodyPr>
          <a:lstStyle/>
          <a:p>
            <a:pPr algn="ctr"/>
            <a:r>
              <a:rPr lang="en-US" sz="1600">
                <a:solidFill>
                  <a:schemeClr val="bg1"/>
                </a:solidFill>
              </a:rPr>
              <a:t>CUPS</a:t>
            </a:r>
          </a:p>
        </p:txBody>
      </p:sp>
      <p:sp>
        <p:nvSpPr>
          <p:cNvPr id="45" name="Freeform 28">
            <a:extLst>
              <a:ext uri="{FF2B5EF4-FFF2-40B4-BE49-F238E27FC236}">
                <a16:creationId xmlns:a16="http://schemas.microsoft.com/office/drawing/2014/main" id="{763421CA-BE86-254B-9299-96AB5DFFBDA6}"/>
              </a:ext>
            </a:extLst>
          </p:cNvPr>
          <p:cNvSpPr>
            <a:spLocks noChangeAspect="1" noEditPoints="1"/>
          </p:cNvSpPr>
          <p:nvPr>
            <p:custDataLst>
              <p:tags r:id="rId3"/>
            </p:custDataLst>
          </p:nvPr>
        </p:nvSpPr>
        <p:spPr bwMode="auto">
          <a:xfrm>
            <a:off x="7345006" y="4669324"/>
            <a:ext cx="349250" cy="544512"/>
          </a:xfrm>
          <a:custGeom>
            <a:avLst/>
            <a:gdLst>
              <a:gd name="T0" fmla="*/ 2147483647 w 275"/>
              <a:gd name="T1" fmla="*/ 2147483647 h 503"/>
              <a:gd name="T2" fmla="*/ 2147483647 w 275"/>
              <a:gd name="T3" fmla="*/ 2147483647 h 503"/>
              <a:gd name="T4" fmla="*/ 2147483647 w 275"/>
              <a:gd name="T5" fmla="*/ 2147483647 h 503"/>
              <a:gd name="T6" fmla="*/ 2147483647 w 275"/>
              <a:gd name="T7" fmla="*/ 2147483647 h 503"/>
              <a:gd name="T8" fmla="*/ 2147483647 w 275"/>
              <a:gd name="T9" fmla="*/ 2147483647 h 503"/>
              <a:gd name="T10" fmla="*/ 2147483647 w 275"/>
              <a:gd name="T11" fmla="*/ 2147483647 h 503"/>
              <a:gd name="T12" fmla="*/ 2147483647 w 275"/>
              <a:gd name="T13" fmla="*/ 2147483647 h 503"/>
              <a:gd name="T14" fmla="*/ 2147483647 w 275"/>
              <a:gd name="T15" fmla="*/ 2147483647 h 503"/>
              <a:gd name="T16" fmla="*/ 2147483647 w 275"/>
              <a:gd name="T17" fmla="*/ 2147483647 h 503"/>
              <a:gd name="T18" fmla="*/ 2147483647 w 275"/>
              <a:gd name="T19" fmla="*/ 2147483647 h 503"/>
              <a:gd name="T20" fmla="*/ 2147483647 w 275"/>
              <a:gd name="T21" fmla="*/ 2147483647 h 503"/>
              <a:gd name="T22" fmla="*/ 2147483647 w 275"/>
              <a:gd name="T23" fmla="*/ 2147483647 h 503"/>
              <a:gd name="T24" fmla="*/ 2147483647 w 275"/>
              <a:gd name="T25" fmla="*/ 2147483647 h 503"/>
              <a:gd name="T26" fmla="*/ 2147483647 w 275"/>
              <a:gd name="T27" fmla="*/ 2147483647 h 503"/>
              <a:gd name="T28" fmla="*/ 2147483647 w 275"/>
              <a:gd name="T29" fmla="*/ 2147483647 h 503"/>
              <a:gd name="T30" fmla="*/ 2147483647 w 275"/>
              <a:gd name="T31" fmla="*/ 2147483647 h 503"/>
              <a:gd name="T32" fmla="*/ 2147483647 w 275"/>
              <a:gd name="T33" fmla="*/ 2147483647 h 503"/>
              <a:gd name="T34" fmla="*/ 2147483647 w 275"/>
              <a:gd name="T35" fmla="*/ 2147483647 h 503"/>
              <a:gd name="T36" fmla="*/ 2147483647 w 275"/>
              <a:gd name="T37" fmla="*/ 2147483647 h 503"/>
              <a:gd name="T38" fmla="*/ 2147483647 w 275"/>
              <a:gd name="T39" fmla="*/ 2147483647 h 503"/>
              <a:gd name="T40" fmla="*/ 2147483647 w 275"/>
              <a:gd name="T41" fmla="*/ 2147483647 h 503"/>
              <a:gd name="T42" fmla="*/ 2147483647 w 275"/>
              <a:gd name="T43" fmla="*/ 2147483647 h 503"/>
              <a:gd name="T44" fmla="*/ 2147483647 w 275"/>
              <a:gd name="T45" fmla="*/ 2147483647 h 503"/>
              <a:gd name="T46" fmla="*/ 2147483647 w 275"/>
              <a:gd name="T47" fmla="*/ 2147483647 h 503"/>
              <a:gd name="T48" fmla="*/ 2147483647 w 275"/>
              <a:gd name="T49" fmla="*/ 2147483647 h 503"/>
              <a:gd name="T50" fmla="*/ 2147483647 w 275"/>
              <a:gd name="T51" fmla="*/ 2147483647 h 503"/>
              <a:gd name="T52" fmla="*/ 2147483647 w 275"/>
              <a:gd name="T53" fmla="*/ 2147483647 h 503"/>
              <a:gd name="T54" fmla="*/ 2147483647 w 275"/>
              <a:gd name="T55" fmla="*/ 2147483647 h 503"/>
              <a:gd name="T56" fmla="*/ 2147483647 w 275"/>
              <a:gd name="T57" fmla="*/ 2147483647 h 503"/>
              <a:gd name="T58" fmla="*/ 2147483647 w 275"/>
              <a:gd name="T59" fmla="*/ 2147483647 h 503"/>
              <a:gd name="T60" fmla="*/ 2147483647 w 275"/>
              <a:gd name="T61" fmla="*/ 2147483647 h 503"/>
              <a:gd name="T62" fmla="*/ 2147483647 w 275"/>
              <a:gd name="T63" fmla="*/ 2147483647 h 503"/>
              <a:gd name="T64" fmla="*/ 2147483647 w 275"/>
              <a:gd name="T65" fmla="*/ 2147483647 h 503"/>
              <a:gd name="T66" fmla="*/ 2147483647 w 275"/>
              <a:gd name="T67" fmla="*/ 2147483647 h 503"/>
              <a:gd name="T68" fmla="*/ 2147483647 w 275"/>
              <a:gd name="T69" fmla="*/ 2147483647 h 503"/>
              <a:gd name="T70" fmla="*/ 2147483647 w 275"/>
              <a:gd name="T71" fmla="*/ 2147483647 h 503"/>
              <a:gd name="T72" fmla="*/ 2147483647 w 275"/>
              <a:gd name="T73" fmla="*/ 2147483647 h 503"/>
              <a:gd name="T74" fmla="*/ 2147483647 w 275"/>
              <a:gd name="T75" fmla="*/ 2147483647 h 503"/>
              <a:gd name="T76" fmla="*/ 2147483647 w 275"/>
              <a:gd name="T77" fmla="*/ 2147483647 h 503"/>
              <a:gd name="T78" fmla="*/ 2147483647 w 275"/>
              <a:gd name="T79" fmla="*/ 2147483647 h 503"/>
              <a:gd name="T80" fmla="*/ 2147483647 w 275"/>
              <a:gd name="T81" fmla="*/ 2147483647 h 503"/>
              <a:gd name="T82" fmla="*/ 2147483647 w 275"/>
              <a:gd name="T83" fmla="*/ 2147483647 h 503"/>
              <a:gd name="T84" fmla="*/ 2147483647 w 275"/>
              <a:gd name="T85" fmla="*/ 2147483647 h 503"/>
              <a:gd name="T86" fmla="*/ 2147483647 w 275"/>
              <a:gd name="T87" fmla="*/ 0 h 503"/>
              <a:gd name="T88" fmla="*/ 2147483647 w 275"/>
              <a:gd name="T89" fmla="*/ 2147483647 h 503"/>
              <a:gd name="T90" fmla="*/ 0 w 275"/>
              <a:gd name="T91" fmla="*/ 2147483647 h 503"/>
              <a:gd name="T92" fmla="*/ 2147483647 w 275"/>
              <a:gd name="T93" fmla="*/ 2147483647 h 503"/>
              <a:gd name="T94" fmla="*/ 2147483647 w 275"/>
              <a:gd name="T95" fmla="*/ 2147483647 h 503"/>
              <a:gd name="T96" fmla="*/ 2147483647 w 275"/>
              <a:gd name="T97" fmla="*/ 2147483647 h 503"/>
              <a:gd name="T98" fmla="*/ 2147483647 w 275"/>
              <a:gd name="T99" fmla="*/ 2147483647 h 503"/>
              <a:gd name="T100" fmla="*/ 2147483647 w 275"/>
              <a:gd name="T101" fmla="*/ 2147483647 h 503"/>
              <a:gd name="T102" fmla="*/ 2147483647 w 275"/>
              <a:gd name="T103" fmla="*/ 2147483647 h 503"/>
              <a:gd name="T104" fmla="*/ 2147483647 w 275"/>
              <a:gd name="T105" fmla="*/ 2147483647 h 50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5"/>
              <a:gd name="T160" fmla="*/ 0 h 503"/>
              <a:gd name="T161" fmla="*/ 275 w 275"/>
              <a:gd name="T162" fmla="*/ 503 h 50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5" h="503">
                <a:moveTo>
                  <a:pt x="244" y="77"/>
                </a:moveTo>
                <a:cubicBezTo>
                  <a:pt x="244" y="70"/>
                  <a:pt x="240" y="66"/>
                  <a:pt x="236" y="64"/>
                </a:cubicBezTo>
                <a:cubicBezTo>
                  <a:pt x="233" y="62"/>
                  <a:pt x="230" y="61"/>
                  <a:pt x="230" y="61"/>
                </a:cubicBezTo>
                <a:cubicBezTo>
                  <a:pt x="229" y="61"/>
                  <a:pt x="229" y="61"/>
                  <a:pt x="229" y="61"/>
                </a:cubicBezTo>
                <a:cubicBezTo>
                  <a:pt x="228" y="61"/>
                  <a:pt x="178" y="57"/>
                  <a:pt x="137" y="57"/>
                </a:cubicBezTo>
                <a:cubicBezTo>
                  <a:pt x="97" y="57"/>
                  <a:pt x="46" y="61"/>
                  <a:pt x="46" y="61"/>
                </a:cubicBezTo>
                <a:cubicBezTo>
                  <a:pt x="45" y="61"/>
                  <a:pt x="45" y="61"/>
                  <a:pt x="45" y="61"/>
                </a:cubicBezTo>
                <a:cubicBezTo>
                  <a:pt x="44" y="61"/>
                  <a:pt x="41" y="62"/>
                  <a:pt x="38" y="64"/>
                </a:cubicBezTo>
                <a:cubicBezTo>
                  <a:pt x="35" y="66"/>
                  <a:pt x="30" y="70"/>
                  <a:pt x="30" y="77"/>
                </a:cubicBezTo>
                <a:cubicBezTo>
                  <a:pt x="30" y="84"/>
                  <a:pt x="30" y="389"/>
                  <a:pt x="30" y="400"/>
                </a:cubicBezTo>
                <a:cubicBezTo>
                  <a:pt x="30" y="409"/>
                  <a:pt x="35" y="415"/>
                  <a:pt x="40" y="417"/>
                </a:cubicBezTo>
                <a:cubicBezTo>
                  <a:pt x="45" y="420"/>
                  <a:pt x="48" y="420"/>
                  <a:pt x="49" y="420"/>
                </a:cubicBezTo>
                <a:cubicBezTo>
                  <a:pt x="49" y="420"/>
                  <a:pt x="90" y="421"/>
                  <a:pt x="137" y="421"/>
                </a:cubicBezTo>
                <a:cubicBezTo>
                  <a:pt x="184" y="421"/>
                  <a:pt x="225" y="420"/>
                  <a:pt x="225" y="420"/>
                </a:cubicBezTo>
                <a:cubicBezTo>
                  <a:pt x="226" y="420"/>
                  <a:pt x="230" y="420"/>
                  <a:pt x="234" y="417"/>
                </a:cubicBezTo>
                <a:cubicBezTo>
                  <a:pt x="239" y="415"/>
                  <a:pt x="245" y="409"/>
                  <a:pt x="244" y="400"/>
                </a:cubicBezTo>
                <a:cubicBezTo>
                  <a:pt x="244" y="389"/>
                  <a:pt x="244" y="84"/>
                  <a:pt x="244" y="77"/>
                </a:cubicBezTo>
                <a:close/>
                <a:moveTo>
                  <a:pt x="228" y="400"/>
                </a:moveTo>
                <a:cubicBezTo>
                  <a:pt x="228" y="403"/>
                  <a:pt x="228" y="402"/>
                  <a:pt x="227" y="403"/>
                </a:cubicBezTo>
                <a:cubicBezTo>
                  <a:pt x="226" y="403"/>
                  <a:pt x="226" y="404"/>
                  <a:pt x="225" y="404"/>
                </a:cubicBezTo>
                <a:cubicBezTo>
                  <a:pt x="225" y="404"/>
                  <a:pt x="224" y="404"/>
                  <a:pt x="224" y="404"/>
                </a:cubicBezTo>
                <a:cubicBezTo>
                  <a:pt x="223" y="404"/>
                  <a:pt x="183" y="405"/>
                  <a:pt x="137" y="405"/>
                </a:cubicBezTo>
                <a:cubicBezTo>
                  <a:pt x="92" y="405"/>
                  <a:pt x="52" y="404"/>
                  <a:pt x="50" y="404"/>
                </a:cubicBezTo>
                <a:cubicBezTo>
                  <a:pt x="49" y="404"/>
                  <a:pt x="48" y="403"/>
                  <a:pt x="47" y="403"/>
                </a:cubicBezTo>
                <a:cubicBezTo>
                  <a:pt x="46" y="402"/>
                  <a:pt x="46" y="402"/>
                  <a:pt x="46" y="400"/>
                </a:cubicBezTo>
                <a:cubicBezTo>
                  <a:pt x="46" y="389"/>
                  <a:pt x="46" y="91"/>
                  <a:pt x="46" y="78"/>
                </a:cubicBezTo>
                <a:cubicBezTo>
                  <a:pt x="46" y="78"/>
                  <a:pt x="47" y="77"/>
                  <a:pt x="47" y="77"/>
                </a:cubicBezTo>
                <a:cubicBezTo>
                  <a:pt x="47" y="77"/>
                  <a:pt x="48" y="77"/>
                  <a:pt x="48" y="77"/>
                </a:cubicBezTo>
                <a:cubicBezTo>
                  <a:pt x="54" y="76"/>
                  <a:pt x="100" y="73"/>
                  <a:pt x="137" y="73"/>
                </a:cubicBezTo>
                <a:cubicBezTo>
                  <a:pt x="157" y="73"/>
                  <a:pt x="179" y="74"/>
                  <a:pt x="197" y="75"/>
                </a:cubicBezTo>
                <a:cubicBezTo>
                  <a:pt x="212" y="76"/>
                  <a:pt x="223" y="77"/>
                  <a:pt x="226" y="77"/>
                </a:cubicBezTo>
                <a:cubicBezTo>
                  <a:pt x="227" y="77"/>
                  <a:pt x="228" y="77"/>
                  <a:pt x="228" y="78"/>
                </a:cubicBezTo>
                <a:cubicBezTo>
                  <a:pt x="228" y="78"/>
                  <a:pt x="228" y="78"/>
                  <a:pt x="228" y="78"/>
                </a:cubicBezTo>
                <a:cubicBezTo>
                  <a:pt x="228" y="91"/>
                  <a:pt x="228" y="389"/>
                  <a:pt x="228" y="400"/>
                </a:cubicBezTo>
                <a:close/>
                <a:moveTo>
                  <a:pt x="111" y="457"/>
                </a:moveTo>
                <a:cubicBezTo>
                  <a:pt x="106" y="457"/>
                  <a:pt x="103" y="461"/>
                  <a:pt x="103" y="465"/>
                </a:cubicBezTo>
                <a:cubicBezTo>
                  <a:pt x="103" y="470"/>
                  <a:pt x="106" y="473"/>
                  <a:pt x="111" y="473"/>
                </a:cubicBezTo>
                <a:cubicBezTo>
                  <a:pt x="164" y="473"/>
                  <a:pt x="164" y="473"/>
                  <a:pt x="164" y="473"/>
                </a:cubicBezTo>
                <a:cubicBezTo>
                  <a:pt x="168" y="473"/>
                  <a:pt x="172" y="470"/>
                  <a:pt x="172" y="465"/>
                </a:cubicBezTo>
                <a:cubicBezTo>
                  <a:pt x="172" y="461"/>
                  <a:pt x="168" y="457"/>
                  <a:pt x="164" y="457"/>
                </a:cubicBezTo>
                <a:lnTo>
                  <a:pt x="111" y="457"/>
                </a:lnTo>
                <a:close/>
                <a:moveTo>
                  <a:pt x="235" y="448"/>
                </a:moveTo>
                <a:cubicBezTo>
                  <a:pt x="189" y="455"/>
                  <a:pt x="189" y="455"/>
                  <a:pt x="189" y="455"/>
                </a:cubicBezTo>
                <a:cubicBezTo>
                  <a:pt x="184" y="456"/>
                  <a:pt x="181" y="460"/>
                  <a:pt x="182" y="465"/>
                </a:cubicBezTo>
                <a:cubicBezTo>
                  <a:pt x="183" y="468"/>
                  <a:pt x="186" y="471"/>
                  <a:pt x="190" y="471"/>
                </a:cubicBezTo>
                <a:cubicBezTo>
                  <a:pt x="190" y="471"/>
                  <a:pt x="191" y="471"/>
                  <a:pt x="191" y="471"/>
                </a:cubicBezTo>
                <a:cubicBezTo>
                  <a:pt x="238" y="463"/>
                  <a:pt x="238" y="463"/>
                  <a:pt x="238" y="463"/>
                </a:cubicBezTo>
                <a:cubicBezTo>
                  <a:pt x="242" y="463"/>
                  <a:pt x="245" y="459"/>
                  <a:pt x="244" y="454"/>
                </a:cubicBezTo>
                <a:cubicBezTo>
                  <a:pt x="244" y="450"/>
                  <a:pt x="239" y="447"/>
                  <a:pt x="235" y="448"/>
                </a:cubicBezTo>
                <a:close/>
                <a:moveTo>
                  <a:pt x="39" y="448"/>
                </a:moveTo>
                <a:cubicBezTo>
                  <a:pt x="35" y="447"/>
                  <a:pt x="31" y="450"/>
                  <a:pt x="30" y="454"/>
                </a:cubicBezTo>
                <a:cubicBezTo>
                  <a:pt x="29" y="459"/>
                  <a:pt x="32" y="463"/>
                  <a:pt x="37" y="463"/>
                </a:cubicBezTo>
                <a:cubicBezTo>
                  <a:pt x="83" y="471"/>
                  <a:pt x="83" y="471"/>
                  <a:pt x="83" y="471"/>
                </a:cubicBezTo>
                <a:cubicBezTo>
                  <a:pt x="84" y="471"/>
                  <a:pt x="84" y="471"/>
                  <a:pt x="84" y="471"/>
                </a:cubicBezTo>
                <a:cubicBezTo>
                  <a:pt x="88" y="471"/>
                  <a:pt x="92" y="468"/>
                  <a:pt x="92" y="465"/>
                </a:cubicBezTo>
                <a:cubicBezTo>
                  <a:pt x="93" y="460"/>
                  <a:pt x="90" y="456"/>
                  <a:pt x="86" y="455"/>
                </a:cubicBezTo>
                <a:lnTo>
                  <a:pt x="39" y="448"/>
                </a:lnTo>
                <a:close/>
                <a:moveTo>
                  <a:pt x="266" y="99"/>
                </a:moveTo>
                <a:cubicBezTo>
                  <a:pt x="262" y="99"/>
                  <a:pt x="258" y="102"/>
                  <a:pt x="258" y="107"/>
                </a:cubicBezTo>
                <a:cubicBezTo>
                  <a:pt x="258" y="234"/>
                  <a:pt x="258" y="467"/>
                  <a:pt x="258" y="477"/>
                </a:cubicBezTo>
                <a:cubicBezTo>
                  <a:pt x="258" y="482"/>
                  <a:pt x="257" y="482"/>
                  <a:pt x="255" y="483"/>
                </a:cubicBezTo>
                <a:cubicBezTo>
                  <a:pt x="254" y="484"/>
                  <a:pt x="253" y="484"/>
                  <a:pt x="252" y="484"/>
                </a:cubicBezTo>
                <a:cubicBezTo>
                  <a:pt x="251" y="485"/>
                  <a:pt x="251" y="485"/>
                  <a:pt x="251" y="485"/>
                </a:cubicBezTo>
                <a:cubicBezTo>
                  <a:pt x="251" y="485"/>
                  <a:pt x="251" y="485"/>
                  <a:pt x="251" y="485"/>
                </a:cubicBezTo>
                <a:cubicBezTo>
                  <a:pt x="249" y="485"/>
                  <a:pt x="197" y="487"/>
                  <a:pt x="137" y="486"/>
                </a:cubicBezTo>
                <a:cubicBezTo>
                  <a:pt x="77" y="487"/>
                  <a:pt x="25" y="485"/>
                  <a:pt x="23" y="485"/>
                </a:cubicBezTo>
                <a:cubicBezTo>
                  <a:pt x="23" y="485"/>
                  <a:pt x="20" y="484"/>
                  <a:pt x="19" y="483"/>
                </a:cubicBezTo>
                <a:cubicBezTo>
                  <a:pt x="17" y="482"/>
                  <a:pt x="16" y="481"/>
                  <a:pt x="16" y="477"/>
                </a:cubicBezTo>
                <a:cubicBezTo>
                  <a:pt x="16" y="463"/>
                  <a:pt x="16" y="34"/>
                  <a:pt x="16" y="25"/>
                </a:cubicBezTo>
                <a:cubicBezTo>
                  <a:pt x="16" y="25"/>
                  <a:pt x="16" y="24"/>
                  <a:pt x="18" y="23"/>
                </a:cubicBezTo>
                <a:cubicBezTo>
                  <a:pt x="18" y="23"/>
                  <a:pt x="19" y="22"/>
                  <a:pt x="20" y="22"/>
                </a:cubicBezTo>
                <a:cubicBezTo>
                  <a:pt x="20" y="22"/>
                  <a:pt x="20" y="22"/>
                  <a:pt x="20" y="22"/>
                </a:cubicBezTo>
                <a:cubicBezTo>
                  <a:pt x="24" y="21"/>
                  <a:pt x="39" y="20"/>
                  <a:pt x="59" y="19"/>
                </a:cubicBezTo>
                <a:cubicBezTo>
                  <a:pt x="68" y="19"/>
                  <a:pt x="78" y="18"/>
                  <a:pt x="88" y="18"/>
                </a:cubicBezTo>
                <a:cubicBezTo>
                  <a:pt x="96" y="33"/>
                  <a:pt x="115" y="43"/>
                  <a:pt x="137" y="43"/>
                </a:cubicBezTo>
                <a:cubicBezTo>
                  <a:pt x="159" y="43"/>
                  <a:pt x="178" y="33"/>
                  <a:pt x="186" y="18"/>
                </a:cubicBezTo>
                <a:cubicBezTo>
                  <a:pt x="220" y="19"/>
                  <a:pt x="249" y="21"/>
                  <a:pt x="254" y="22"/>
                </a:cubicBezTo>
                <a:cubicBezTo>
                  <a:pt x="255" y="22"/>
                  <a:pt x="256" y="23"/>
                  <a:pt x="257" y="23"/>
                </a:cubicBezTo>
                <a:cubicBezTo>
                  <a:pt x="258" y="24"/>
                  <a:pt x="258" y="24"/>
                  <a:pt x="258" y="25"/>
                </a:cubicBezTo>
                <a:cubicBezTo>
                  <a:pt x="258" y="27"/>
                  <a:pt x="258" y="43"/>
                  <a:pt x="258" y="69"/>
                </a:cubicBezTo>
                <a:cubicBezTo>
                  <a:pt x="258" y="73"/>
                  <a:pt x="262" y="77"/>
                  <a:pt x="266" y="77"/>
                </a:cubicBezTo>
                <a:cubicBezTo>
                  <a:pt x="271" y="77"/>
                  <a:pt x="274" y="73"/>
                  <a:pt x="274" y="69"/>
                </a:cubicBezTo>
                <a:cubicBezTo>
                  <a:pt x="274" y="69"/>
                  <a:pt x="274" y="69"/>
                  <a:pt x="274" y="69"/>
                </a:cubicBezTo>
                <a:cubicBezTo>
                  <a:pt x="274" y="43"/>
                  <a:pt x="274" y="27"/>
                  <a:pt x="274" y="25"/>
                </a:cubicBezTo>
                <a:cubicBezTo>
                  <a:pt x="274" y="17"/>
                  <a:pt x="269" y="12"/>
                  <a:pt x="265" y="9"/>
                </a:cubicBezTo>
                <a:cubicBezTo>
                  <a:pt x="261" y="7"/>
                  <a:pt x="257" y="6"/>
                  <a:pt x="257" y="6"/>
                </a:cubicBezTo>
                <a:cubicBezTo>
                  <a:pt x="256" y="6"/>
                  <a:pt x="256" y="6"/>
                  <a:pt x="256" y="6"/>
                </a:cubicBezTo>
                <a:cubicBezTo>
                  <a:pt x="256" y="6"/>
                  <a:pt x="190" y="0"/>
                  <a:pt x="137" y="0"/>
                </a:cubicBezTo>
                <a:cubicBezTo>
                  <a:pt x="84" y="0"/>
                  <a:pt x="19" y="6"/>
                  <a:pt x="18" y="6"/>
                </a:cubicBezTo>
                <a:cubicBezTo>
                  <a:pt x="17" y="6"/>
                  <a:pt x="17" y="6"/>
                  <a:pt x="17" y="6"/>
                </a:cubicBezTo>
                <a:cubicBezTo>
                  <a:pt x="17" y="6"/>
                  <a:pt x="13" y="7"/>
                  <a:pt x="9" y="9"/>
                </a:cubicBezTo>
                <a:cubicBezTo>
                  <a:pt x="5" y="12"/>
                  <a:pt x="0" y="17"/>
                  <a:pt x="0" y="25"/>
                </a:cubicBezTo>
                <a:cubicBezTo>
                  <a:pt x="0" y="34"/>
                  <a:pt x="0" y="463"/>
                  <a:pt x="0" y="477"/>
                </a:cubicBezTo>
                <a:cubicBezTo>
                  <a:pt x="0" y="488"/>
                  <a:pt x="6" y="495"/>
                  <a:pt x="12" y="498"/>
                </a:cubicBezTo>
                <a:cubicBezTo>
                  <a:pt x="17" y="500"/>
                  <a:pt x="22" y="501"/>
                  <a:pt x="23" y="501"/>
                </a:cubicBezTo>
                <a:cubicBezTo>
                  <a:pt x="23" y="501"/>
                  <a:pt x="76" y="502"/>
                  <a:pt x="137" y="503"/>
                </a:cubicBezTo>
                <a:cubicBezTo>
                  <a:pt x="198" y="502"/>
                  <a:pt x="251" y="501"/>
                  <a:pt x="251" y="501"/>
                </a:cubicBezTo>
                <a:cubicBezTo>
                  <a:pt x="252" y="501"/>
                  <a:pt x="257" y="500"/>
                  <a:pt x="262" y="498"/>
                </a:cubicBezTo>
                <a:cubicBezTo>
                  <a:pt x="268" y="495"/>
                  <a:pt x="275" y="488"/>
                  <a:pt x="274" y="477"/>
                </a:cubicBezTo>
                <a:cubicBezTo>
                  <a:pt x="274" y="467"/>
                  <a:pt x="274" y="234"/>
                  <a:pt x="274" y="107"/>
                </a:cubicBezTo>
                <a:cubicBezTo>
                  <a:pt x="274" y="102"/>
                  <a:pt x="271" y="99"/>
                  <a:pt x="266" y="99"/>
                </a:cubicBezTo>
                <a:close/>
                <a:moveTo>
                  <a:pt x="137" y="16"/>
                </a:moveTo>
                <a:cubicBezTo>
                  <a:pt x="147" y="16"/>
                  <a:pt x="157" y="17"/>
                  <a:pt x="167" y="17"/>
                </a:cubicBezTo>
                <a:cubicBezTo>
                  <a:pt x="160" y="22"/>
                  <a:pt x="150" y="27"/>
                  <a:pt x="137" y="27"/>
                </a:cubicBezTo>
                <a:cubicBezTo>
                  <a:pt x="124" y="27"/>
                  <a:pt x="114" y="22"/>
                  <a:pt x="107" y="17"/>
                </a:cubicBezTo>
                <a:cubicBezTo>
                  <a:pt x="117" y="17"/>
                  <a:pt x="128" y="16"/>
                  <a:pt x="137" y="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91436" tIns="45718" rIns="91436" bIns="45718"/>
          <a:lstStyle/>
          <a:p>
            <a:endParaRPr lang="en-US"/>
          </a:p>
        </p:txBody>
      </p:sp>
    </p:spTree>
    <p:extLst>
      <p:ext uri="{BB962C8B-B14F-4D97-AF65-F5344CB8AC3E}">
        <p14:creationId xmlns:p14="http://schemas.microsoft.com/office/powerpoint/2010/main" val="2119193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24935" y="279470"/>
            <a:ext cx="7795411" cy="1085371"/>
          </a:xfrm>
        </p:spPr>
        <p:txBody>
          <a:bodyPr>
            <a:noAutofit/>
          </a:bodyPr>
          <a:lstStyle/>
          <a:p>
            <a:r>
              <a:rPr lang="en-US" sz="3600" dirty="0">
                <a:solidFill>
                  <a:schemeClr val="tx1"/>
                </a:solidFill>
              </a:rPr>
              <a:t>Cellular IoT technology evolution</a:t>
            </a:r>
          </a:p>
        </p:txBody>
      </p:sp>
      <p:grpSp>
        <p:nvGrpSpPr>
          <p:cNvPr id="5" name="Grupp 104"/>
          <p:cNvGrpSpPr/>
          <p:nvPr/>
        </p:nvGrpSpPr>
        <p:grpSpPr>
          <a:xfrm>
            <a:off x="1156809" y="2159795"/>
            <a:ext cx="6271125" cy="1967639"/>
            <a:chOff x="1280796" y="2203505"/>
            <a:chExt cx="6271125" cy="2560172"/>
          </a:xfrm>
        </p:grpSpPr>
        <p:sp>
          <p:nvSpPr>
            <p:cNvPr id="6" name="Rektangel 61"/>
            <p:cNvSpPr/>
            <p:nvPr/>
          </p:nvSpPr>
          <p:spPr bwMode="auto">
            <a:xfrm>
              <a:off x="1280796" y="3296533"/>
              <a:ext cx="6271125" cy="1467144"/>
            </a:xfrm>
            <a:prstGeom prst="rect">
              <a:avLst/>
            </a:prstGeom>
            <a:solidFill>
              <a:schemeClr val="tx1">
                <a:lumMod val="50000"/>
                <a:alpha val="28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sp>
          <p:nvSpPr>
            <p:cNvPr id="7" name="Rektangel 61"/>
            <p:cNvSpPr/>
            <p:nvPr/>
          </p:nvSpPr>
          <p:spPr bwMode="auto">
            <a:xfrm>
              <a:off x="1280796" y="2203505"/>
              <a:ext cx="4930842" cy="991127"/>
            </a:xfrm>
            <a:prstGeom prst="rect">
              <a:avLst/>
            </a:prstGeom>
            <a:solidFill>
              <a:schemeClr val="bg1">
                <a:lumMod val="75000"/>
                <a:alpha val="28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grpSp>
      <p:cxnSp>
        <p:nvCxnSpPr>
          <p:cNvPr id="8" name="Straight Arrow Connector 3"/>
          <p:cNvCxnSpPr/>
          <p:nvPr/>
        </p:nvCxnSpPr>
        <p:spPr bwMode="auto">
          <a:xfrm>
            <a:off x="1106843" y="5379913"/>
            <a:ext cx="8517604" cy="0"/>
          </a:xfrm>
          <a:prstGeom prst="straightConnector1">
            <a:avLst/>
          </a:prstGeom>
          <a:solidFill>
            <a:schemeClr val="accent1"/>
          </a:solidFill>
          <a:ln w="38100" cap="flat" cmpd="sng" algn="ctr">
            <a:solidFill>
              <a:schemeClr val="bg1"/>
            </a:solidFill>
            <a:prstDash val="solid"/>
            <a:round/>
            <a:headEnd type="none" w="med" len="med"/>
            <a:tailEnd type="arrow" w="lg" len="med"/>
          </a:ln>
          <a:effectLst/>
        </p:spPr>
      </p:cxnSp>
      <p:cxnSp>
        <p:nvCxnSpPr>
          <p:cNvPr id="9" name="Straight Arrow Connector 3"/>
          <p:cNvCxnSpPr/>
          <p:nvPr/>
        </p:nvCxnSpPr>
        <p:spPr bwMode="auto">
          <a:xfrm flipV="1">
            <a:off x="1110558" y="1997582"/>
            <a:ext cx="0" cy="3394208"/>
          </a:xfrm>
          <a:prstGeom prst="straightConnector1">
            <a:avLst/>
          </a:prstGeom>
          <a:solidFill>
            <a:schemeClr val="accent1"/>
          </a:solidFill>
          <a:ln w="38100" cap="flat" cmpd="sng" algn="ctr">
            <a:solidFill>
              <a:schemeClr val="bg1"/>
            </a:solidFill>
            <a:prstDash val="solid"/>
            <a:round/>
            <a:headEnd type="none" w="med" len="med"/>
            <a:tailEnd type="arrow" w="lg" len="med"/>
          </a:ln>
          <a:effectLst/>
        </p:spPr>
      </p:cxnSp>
      <p:sp>
        <p:nvSpPr>
          <p:cNvPr id="10" name="TextBox 30"/>
          <p:cNvSpPr txBox="1"/>
          <p:nvPr/>
        </p:nvSpPr>
        <p:spPr>
          <a:xfrm>
            <a:off x="6202998" y="5578108"/>
            <a:ext cx="3480440" cy="502702"/>
          </a:xfrm>
          <a:prstGeom prst="rect">
            <a:avLst/>
          </a:prstGeom>
          <a:noFill/>
        </p:spPr>
        <p:txBody>
          <a:bodyPr wrap="none" rtlCol="0">
            <a:spAutoFit/>
          </a:bodyPr>
          <a:lstStyle/>
          <a:p>
            <a:pPr>
              <a:lnSpc>
                <a:spcPts val="1600"/>
              </a:lnSpc>
              <a:spcBef>
                <a:spcPts val="0"/>
              </a:spcBef>
            </a:pPr>
            <a:r>
              <a:rPr lang="en-US" sz="1800" dirty="0"/>
              <a:t>COVERAGE &amp; CONNECTIONS</a:t>
            </a:r>
            <a:r>
              <a:rPr lang="en-US" sz="1600" dirty="0"/>
              <a:t/>
            </a:r>
            <a:br>
              <a:rPr lang="en-US" sz="1600" dirty="0"/>
            </a:br>
            <a:endParaRPr lang="en-US" sz="1600" dirty="0"/>
          </a:p>
        </p:txBody>
      </p:sp>
      <p:sp>
        <p:nvSpPr>
          <p:cNvPr id="11" name="Rektangel 105"/>
          <p:cNvSpPr/>
          <p:nvPr/>
        </p:nvSpPr>
        <p:spPr>
          <a:xfrm rot="16200000">
            <a:off x="-617345" y="3472448"/>
            <a:ext cx="2903359" cy="369332"/>
          </a:xfrm>
          <a:prstGeom prst="rect">
            <a:avLst/>
          </a:prstGeom>
        </p:spPr>
        <p:txBody>
          <a:bodyPr wrap="none">
            <a:spAutoFit/>
          </a:bodyPr>
          <a:lstStyle/>
          <a:p>
            <a:r>
              <a:rPr lang="sv-SE" sz="1800" dirty="0">
                <a:latin typeface="+mn-lt"/>
                <a:ea typeface="Ericsson Capital" charset="0"/>
                <a:cs typeface="Ericsson Capital" charset="0"/>
              </a:rPr>
              <a:t>PERFORMANCE &amp; COST</a:t>
            </a:r>
          </a:p>
        </p:txBody>
      </p:sp>
      <p:sp>
        <p:nvSpPr>
          <p:cNvPr id="12" name="Rektangel 105"/>
          <p:cNvSpPr/>
          <p:nvPr/>
        </p:nvSpPr>
        <p:spPr>
          <a:xfrm>
            <a:off x="3413582" y="3456468"/>
            <a:ext cx="2162772" cy="369332"/>
          </a:xfrm>
          <a:prstGeom prst="rect">
            <a:avLst/>
          </a:prstGeom>
          <a:noFill/>
        </p:spPr>
        <p:txBody>
          <a:bodyPr wrap="none">
            <a:spAutoFit/>
          </a:bodyPr>
          <a:lstStyle/>
          <a:p>
            <a:r>
              <a:rPr lang="en-US" sz="1800" dirty="0"/>
              <a:t>M2M (2G/3G/4G)</a:t>
            </a:r>
          </a:p>
        </p:txBody>
      </p:sp>
      <p:sp>
        <p:nvSpPr>
          <p:cNvPr id="13" name="Rektangel 90"/>
          <p:cNvSpPr/>
          <p:nvPr/>
        </p:nvSpPr>
        <p:spPr bwMode="auto">
          <a:xfrm rot="5400000">
            <a:off x="3710203" y="489404"/>
            <a:ext cx="308149" cy="5173250"/>
          </a:xfrm>
          <a:prstGeom prst="rect">
            <a:avLst/>
          </a:prstGeom>
          <a:solidFill>
            <a:schemeClr val="tx1">
              <a:lumMod val="50000"/>
            </a:schemeClr>
          </a:solidFill>
          <a:ln w="76200" cap="flat" cmpd="sng" algn="ctr">
            <a:solidFill>
              <a:schemeClr val="bg1">
                <a:alpha val="22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effectLst/>
              <a:latin typeface="Arial" charset="0"/>
            </a:endParaRPr>
          </a:p>
        </p:txBody>
      </p:sp>
      <p:sp>
        <p:nvSpPr>
          <p:cNvPr id="14" name="Freeform 24">
            <a:extLst>
              <a:ext uri="{FF2B5EF4-FFF2-40B4-BE49-F238E27FC236}">
                <a16:creationId xmlns:a16="http://schemas.microsoft.com/office/drawing/2014/main" id="{9494724C-67E0-4B78-8A67-F0E2A9DA1DDC}"/>
              </a:ext>
            </a:extLst>
          </p:cNvPr>
          <p:cNvSpPr>
            <a:spLocks noChangeAspect="1"/>
          </p:cNvSpPr>
          <p:nvPr/>
        </p:nvSpPr>
        <p:spPr bwMode="auto">
          <a:xfrm rot="16200000">
            <a:off x="3615228" y="2570212"/>
            <a:ext cx="408854" cy="348438"/>
          </a:xfrm>
          <a:custGeom>
            <a:avLst/>
            <a:gdLst>
              <a:gd name="T0" fmla="*/ 2147483647 w 138"/>
              <a:gd name="T1" fmla="*/ 2147483647 h 109"/>
              <a:gd name="T2" fmla="*/ 2147483647 w 138"/>
              <a:gd name="T3" fmla="*/ 2147483647 h 109"/>
              <a:gd name="T4" fmla="*/ 2147483647 w 138"/>
              <a:gd name="T5" fmla="*/ 2147483647 h 109"/>
              <a:gd name="T6" fmla="*/ 2147483647 w 138"/>
              <a:gd name="T7" fmla="*/ 2147483647 h 109"/>
              <a:gd name="T8" fmla="*/ 0 w 138"/>
              <a:gd name="T9" fmla="*/ 2147483647 h 109"/>
              <a:gd name="T10" fmla="*/ 0 w 138"/>
              <a:gd name="T11" fmla="*/ 2147483647 h 109"/>
              <a:gd name="T12" fmla="*/ 2147483647 w 138"/>
              <a:gd name="T13" fmla="*/ 2147483647 h 109"/>
              <a:gd name="T14" fmla="*/ 2147483647 w 138"/>
              <a:gd name="T15" fmla="*/ 2147483647 h 109"/>
              <a:gd name="T16" fmla="*/ 2147483647 w 138"/>
              <a:gd name="T17" fmla="*/ 2147483647 h 109"/>
              <a:gd name="T18" fmla="*/ 2147483647 w 138"/>
              <a:gd name="T19" fmla="*/ 2147483647 h 109"/>
              <a:gd name="T20" fmla="*/ 2147483647 w 138"/>
              <a:gd name="T21" fmla="*/ 2147483647 h 109"/>
              <a:gd name="T22" fmla="*/ 2147483647 w 138"/>
              <a:gd name="T23" fmla="*/ 2147483647 h 109"/>
              <a:gd name="T24" fmla="*/ 2147483647 w 138"/>
              <a:gd name="T25" fmla="*/ 2147483647 h 109"/>
              <a:gd name="T26" fmla="*/ 2147483647 w 138"/>
              <a:gd name="T27" fmla="*/ 2147483647 h 10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8"/>
              <a:gd name="T43" fmla="*/ 0 h 109"/>
              <a:gd name="T44" fmla="*/ 138 w 138"/>
              <a:gd name="T45" fmla="*/ 109 h 10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8" h="109">
                <a:moveTo>
                  <a:pt x="82" y="5"/>
                </a:moveTo>
                <a:cubicBezTo>
                  <a:pt x="75" y="0"/>
                  <a:pt x="69" y="2"/>
                  <a:pt x="69" y="12"/>
                </a:cubicBezTo>
                <a:cubicBezTo>
                  <a:pt x="69" y="14"/>
                  <a:pt x="69" y="16"/>
                  <a:pt x="69" y="20"/>
                </a:cubicBezTo>
                <a:cubicBezTo>
                  <a:pt x="7" y="20"/>
                  <a:pt x="7" y="20"/>
                  <a:pt x="7" y="20"/>
                </a:cubicBezTo>
                <a:cubicBezTo>
                  <a:pt x="3" y="20"/>
                  <a:pt x="0" y="23"/>
                  <a:pt x="0" y="27"/>
                </a:cubicBezTo>
                <a:cubicBezTo>
                  <a:pt x="0" y="83"/>
                  <a:pt x="0" y="83"/>
                  <a:pt x="0" y="83"/>
                </a:cubicBezTo>
                <a:cubicBezTo>
                  <a:pt x="0" y="86"/>
                  <a:pt x="3" y="89"/>
                  <a:pt x="7" y="89"/>
                </a:cubicBezTo>
                <a:cubicBezTo>
                  <a:pt x="69" y="89"/>
                  <a:pt x="69" y="89"/>
                  <a:pt x="69" y="89"/>
                </a:cubicBezTo>
                <a:cubicBezTo>
                  <a:pt x="69" y="93"/>
                  <a:pt x="69" y="96"/>
                  <a:pt x="69" y="98"/>
                </a:cubicBezTo>
                <a:cubicBezTo>
                  <a:pt x="69" y="108"/>
                  <a:pt x="76" y="109"/>
                  <a:pt x="82" y="104"/>
                </a:cubicBezTo>
                <a:cubicBezTo>
                  <a:pt x="88" y="99"/>
                  <a:pt x="128" y="68"/>
                  <a:pt x="134" y="63"/>
                </a:cubicBezTo>
                <a:cubicBezTo>
                  <a:pt x="136" y="61"/>
                  <a:pt x="138" y="58"/>
                  <a:pt x="138" y="55"/>
                </a:cubicBezTo>
                <a:cubicBezTo>
                  <a:pt x="138" y="51"/>
                  <a:pt x="136" y="49"/>
                  <a:pt x="134" y="46"/>
                </a:cubicBezTo>
                <a:cubicBezTo>
                  <a:pt x="128" y="42"/>
                  <a:pt x="85" y="8"/>
                  <a:pt x="82" y="5"/>
                </a:cubicBezTo>
                <a:close/>
              </a:path>
            </a:pathLst>
          </a:custGeom>
          <a:solidFill>
            <a:schemeClr val="accent1">
              <a:lumMod val="40000"/>
              <a:lumOff val="60000"/>
            </a:schemeClr>
          </a:solidFill>
          <a:ln w="76200">
            <a:solidFill>
              <a:schemeClr val="bg1">
                <a:alpha val="22000"/>
              </a:schemeClr>
            </a:solidFill>
          </a:ln>
        </p:spPr>
        <p:txBody>
          <a:bodyPr anchor="ct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spcBef>
                <a:spcPct val="50000"/>
              </a:spcBef>
            </a:pPr>
            <a:endParaRPr lang="en-US" altLang="sv-SE">
              <a:ea typeface="MS PGothic" charset="-128"/>
            </a:endParaRPr>
          </a:p>
        </p:txBody>
      </p:sp>
      <p:sp>
        <p:nvSpPr>
          <p:cNvPr id="15" name="textruta 111">
            <a:extLst>
              <a:ext uri="{FF2B5EF4-FFF2-40B4-BE49-F238E27FC236}">
                <a16:creationId xmlns:a16="http://schemas.microsoft.com/office/drawing/2014/main" id="{6BF234BA-8539-491D-8F96-CED6EA71877E}"/>
              </a:ext>
            </a:extLst>
          </p:cNvPr>
          <p:cNvSpPr txBox="1"/>
          <p:nvPr/>
        </p:nvSpPr>
        <p:spPr>
          <a:xfrm>
            <a:off x="1277654" y="2913417"/>
            <a:ext cx="5562466" cy="338554"/>
          </a:xfrm>
          <a:prstGeom prst="rect">
            <a:avLst/>
          </a:prstGeom>
          <a:noFill/>
        </p:spPr>
        <p:txBody>
          <a:bodyPr wrap="square" rtlCol="0">
            <a:spAutoFit/>
          </a:bodyPr>
          <a:lstStyle/>
          <a:p>
            <a:r>
              <a:rPr lang="en-US" sz="1600" dirty="0"/>
              <a:t>4G Evolution and 5G (High reliability &amp; Low latency) </a:t>
            </a:r>
          </a:p>
        </p:txBody>
      </p:sp>
      <p:sp>
        <p:nvSpPr>
          <p:cNvPr id="16" name="Rectangle 15">
            <a:extLst>
              <a:ext uri="{FF2B5EF4-FFF2-40B4-BE49-F238E27FC236}">
                <a16:creationId xmlns:a16="http://schemas.microsoft.com/office/drawing/2014/main" id="{CE00C493-E7B2-4206-8BD8-C0C9D5CDC301}"/>
              </a:ext>
            </a:extLst>
          </p:cNvPr>
          <p:cNvSpPr/>
          <p:nvPr/>
        </p:nvSpPr>
        <p:spPr>
          <a:xfrm>
            <a:off x="2920021" y="2142250"/>
            <a:ext cx="1710725" cy="461665"/>
          </a:xfrm>
          <a:prstGeom prst="rect">
            <a:avLst/>
          </a:prstGeom>
        </p:spPr>
        <p:txBody>
          <a:bodyPr wrap="none">
            <a:spAutoFit/>
          </a:bodyPr>
          <a:lstStyle/>
          <a:p>
            <a:r>
              <a:rPr lang="en-US" sz="2400" dirty="0"/>
              <a:t>Critical IoT</a:t>
            </a:r>
          </a:p>
        </p:txBody>
      </p:sp>
      <p:sp>
        <p:nvSpPr>
          <p:cNvPr id="17" name="Rektangel 61">
            <a:extLst>
              <a:ext uri="{FF2B5EF4-FFF2-40B4-BE49-F238E27FC236}">
                <a16:creationId xmlns:a16="http://schemas.microsoft.com/office/drawing/2014/main" id="{931B0E48-AF79-4AE7-89B4-E0A5D258A990}"/>
              </a:ext>
            </a:extLst>
          </p:cNvPr>
          <p:cNvSpPr/>
          <p:nvPr/>
        </p:nvSpPr>
        <p:spPr bwMode="auto">
          <a:xfrm>
            <a:off x="1156809" y="4201970"/>
            <a:ext cx="8212659" cy="1124178"/>
          </a:xfrm>
          <a:prstGeom prst="rect">
            <a:avLst/>
          </a:prstGeom>
          <a:solidFill>
            <a:schemeClr val="tx1">
              <a:lumMod val="50000"/>
              <a:alpha val="28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effectLst/>
              <a:latin typeface="Arial" charset="0"/>
            </a:endParaRPr>
          </a:p>
        </p:txBody>
      </p:sp>
      <p:sp>
        <p:nvSpPr>
          <p:cNvPr id="18" name="Freeform 24">
            <a:extLst>
              <a:ext uri="{FF2B5EF4-FFF2-40B4-BE49-F238E27FC236}">
                <a16:creationId xmlns:a16="http://schemas.microsoft.com/office/drawing/2014/main" id="{67A275C7-7866-499F-9776-7302C6824DC8}"/>
              </a:ext>
            </a:extLst>
          </p:cNvPr>
          <p:cNvSpPr>
            <a:spLocks noChangeAspect="1"/>
          </p:cNvSpPr>
          <p:nvPr/>
        </p:nvSpPr>
        <p:spPr bwMode="auto">
          <a:xfrm rot="5400000">
            <a:off x="5117007" y="4292934"/>
            <a:ext cx="592882" cy="505272"/>
          </a:xfrm>
          <a:custGeom>
            <a:avLst/>
            <a:gdLst>
              <a:gd name="T0" fmla="*/ 2147483647 w 138"/>
              <a:gd name="T1" fmla="*/ 2147483647 h 109"/>
              <a:gd name="T2" fmla="*/ 2147483647 w 138"/>
              <a:gd name="T3" fmla="*/ 2147483647 h 109"/>
              <a:gd name="T4" fmla="*/ 2147483647 w 138"/>
              <a:gd name="T5" fmla="*/ 2147483647 h 109"/>
              <a:gd name="T6" fmla="*/ 2147483647 w 138"/>
              <a:gd name="T7" fmla="*/ 2147483647 h 109"/>
              <a:gd name="T8" fmla="*/ 0 w 138"/>
              <a:gd name="T9" fmla="*/ 2147483647 h 109"/>
              <a:gd name="T10" fmla="*/ 0 w 138"/>
              <a:gd name="T11" fmla="*/ 2147483647 h 109"/>
              <a:gd name="T12" fmla="*/ 2147483647 w 138"/>
              <a:gd name="T13" fmla="*/ 2147483647 h 109"/>
              <a:gd name="T14" fmla="*/ 2147483647 w 138"/>
              <a:gd name="T15" fmla="*/ 2147483647 h 109"/>
              <a:gd name="T16" fmla="*/ 2147483647 w 138"/>
              <a:gd name="T17" fmla="*/ 2147483647 h 109"/>
              <a:gd name="T18" fmla="*/ 2147483647 w 138"/>
              <a:gd name="T19" fmla="*/ 2147483647 h 109"/>
              <a:gd name="T20" fmla="*/ 2147483647 w 138"/>
              <a:gd name="T21" fmla="*/ 2147483647 h 109"/>
              <a:gd name="T22" fmla="*/ 2147483647 w 138"/>
              <a:gd name="T23" fmla="*/ 2147483647 h 109"/>
              <a:gd name="T24" fmla="*/ 2147483647 w 138"/>
              <a:gd name="T25" fmla="*/ 2147483647 h 109"/>
              <a:gd name="T26" fmla="*/ 2147483647 w 138"/>
              <a:gd name="T27" fmla="*/ 2147483647 h 10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8"/>
              <a:gd name="T43" fmla="*/ 0 h 109"/>
              <a:gd name="T44" fmla="*/ 138 w 138"/>
              <a:gd name="T45" fmla="*/ 109 h 10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8" h="109">
                <a:moveTo>
                  <a:pt x="82" y="5"/>
                </a:moveTo>
                <a:cubicBezTo>
                  <a:pt x="75" y="0"/>
                  <a:pt x="69" y="2"/>
                  <a:pt x="69" y="12"/>
                </a:cubicBezTo>
                <a:cubicBezTo>
                  <a:pt x="69" y="14"/>
                  <a:pt x="69" y="16"/>
                  <a:pt x="69" y="20"/>
                </a:cubicBezTo>
                <a:cubicBezTo>
                  <a:pt x="7" y="20"/>
                  <a:pt x="7" y="20"/>
                  <a:pt x="7" y="20"/>
                </a:cubicBezTo>
                <a:cubicBezTo>
                  <a:pt x="3" y="20"/>
                  <a:pt x="0" y="23"/>
                  <a:pt x="0" y="27"/>
                </a:cubicBezTo>
                <a:cubicBezTo>
                  <a:pt x="0" y="83"/>
                  <a:pt x="0" y="83"/>
                  <a:pt x="0" y="83"/>
                </a:cubicBezTo>
                <a:cubicBezTo>
                  <a:pt x="0" y="86"/>
                  <a:pt x="3" y="89"/>
                  <a:pt x="7" y="89"/>
                </a:cubicBezTo>
                <a:cubicBezTo>
                  <a:pt x="69" y="89"/>
                  <a:pt x="69" y="89"/>
                  <a:pt x="69" y="89"/>
                </a:cubicBezTo>
                <a:cubicBezTo>
                  <a:pt x="69" y="93"/>
                  <a:pt x="69" y="96"/>
                  <a:pt x="69" y="98"/>
                </a:cubicBezTo>
                <a:cubicBezTo>
                  <a:pt x="69" y="108"/>
                  <a:pt x="76" y="109"/>
                  <a:pt x="82" y="104"/>
                </a:cubicBezTo>
                <a:cubicBezTo>
                  <a:pt x="88" y="99"/>
                  <a:pt x="128" y="68"/>
                  <a:pt x="134" y="63"/>
                </a:cubicBezTo>
                <a:cubicBezTo>
                  <a:pt x="136" y="61"/>
                  <a:pt x="138" y="58"/>
                  <a:pt x="138" y="55"/>
                </a:cubicBezTo>
                <a:cubicBezTo>
                  <a:pt x="138" y="51"/>
                  <a:pt x="136" y="49"/>
                  <a:pt x="134" y="46"/>
                </a:cubicBezTo>
                <a:cubicBezTo>
                  <a:pt x="128" y="42"/>
                  <a:pt x="85" y="8"/>
                  <a:pt x="82" y="5"/>
                </a:cubicBezTo>
                <a:close/>
              </a:path>
            </a:pathLst>
          </a:custGeom>
          <a:solidFill>
            <a:schemeClr val="accent1">
              <a:lumMod val="60000"/>
              <a:lumOff val="40000"/>
            </a:schemeClr>
          </a:solidFill>
          <a:ln w="76200">
            <a:solidFill>
              <a:schemeClr val="bg1">
                <a:alpha val="22000"/>
              </a:schemeClr>
            </a:solidFill>
          </a:ln>
        </p:spPr>
        <p:txBody>
          <a:bodyPr anchor="ct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spcBef>
                <a:spcPct val="50000"/>
              </a:spcBef>
            </a:pPr>
            <a:endParaRPr lang="en-US" altLang="sv-SE">
              <a:ea typeface="MS PGothic" charset="-128"/>
            </a:endParaRPr>
          </a:p>
        </p:txBody>
      </p:sp>
      <p:sp>
        <p:nvSpPr>
          <p:cNvPr id="19" name="Rektangel 90">
            <a:extLst>
              <a:ext uri="{FF2B5EF4-FFF2-40B4-BE49-F238E27FC236}">
                <a16:creationId xmlns:a16="http://schemas.microsoft.com/office/drawing/2014/main" id="{403B0B03-A9B3-44FC-A054-52E9086F4703}"/>
              </a:ext>
            </a:extLst>
          </p:cNvPr>
          <p:cNvSpPr/>
          <p:nvPr/>
        </p:nvSpPr>
        <p:spPr bwMode="auto">
          <a:xfrm rot="5400000">
            <a:off x="5125644" y="253386"/>
            <a:ext cx="308149" cy="8004133"/>
          </a:xfrm>
          <a:prstGeom prst="rect">
            <a:avLst/>
          </a:prstGeom>
          <a:solidFill>
            <a:schemeClr val="bg1"/>
          </a:solidFill>
          <a:ln w="76200" cap="flat" cmpd="sng" algn="ctr">
            <a:solidFill>
              <a:schemeClr val="bg1">
                <a:alpha val="22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a:ln>
                <a:noFill/>
              </a:ln>
              <a:effectLst/>
              <a:latin typeface="Arial" charset="0"/>
            </a:endParaRPr>
          </a:p>
        </p:txBody>
      </p:sp>
      <p:sp>
        <p:nvSpPr>
          <p:cNvPr id="20" name="textruta 111">
            <a:extLst>
              <a:ext uri="{FF2B5EF4-FFF2-40B4-BE49-F238E27FC236}">
                <a16:creationId xmlns:a16="http://schemas.microsoft.com/office/drawing/2014/main" id="{26A29754-4387-4DD0-AA01-4D15CCA8D431}"/>
              </a:ext>
            </a:extLst>
          </p:cNvPr>
          <p:cNvSpPr txBox="1"/>
          <p:nvPr/>
        </p:nvSpPr>
        <p:spPr>
          <a:xfrm>
            <a:off x="1325881" y="4092840"/>
            <a:ext cx="7955904" cy="338554"/>
          </a:xfrm>
          <a:prstGeom prst="rect">
            <a:avLst/>
          </a:prstGeom>
          <a:solidFill>
            <a:schemeClr val="tx1">
              <a:lumMod val="50000"/>
            </a:schemeClr>
          </a:solidFill>
        </p:spPr>
        <p:txBody>
          <a:bodyPr wrap="square" rtlCol="0">
            <a:spAutoFit/>
          </a:bodyPr>
          <a:lstStyle/>
          <a:p>
            <a:r>
              <a:rPr lang="en-US" sz="1600" dirty="0"/>
              <a:t>NB-IoT, Cat-M1, EC-GSM IoT (Low cost, Long battery and Extended coverage) </a:t>
            </a:r>
          </a:p>
        </p:txBody>
      </p:sp>
      <p:sp>
        <p:nvSpPr>
          <p:cNvPr id="21" name="Rectangle 20">
            <a:extLst>
              <a:ext uri="{FF2B5EF4-FFF2-40B4-BE49-F238E27FC236}">
                <a16:creationId xmlns:a16="http://schemas.microsoft.com/office/drawing/2014/main" id="{D5291761-90B3-4573-9D62-13FEFA38C5F1}"/>
              </a:ext>
            </a:extLst>
          </p:cNvPr>
          <p:cNvSpPr/>
          <p:nvPr/>
        </p:nvSpPr>
        <p:spPr>
          <a:xfrm>
            <a:off x="4504887" y="4879085"/>
            <a:ext cx="1843774" cy="461665"/>
          </a:xfrm>
          <a:prstGeom prst="rect">
            <a:avLst/>
          </a:prstGeom>
        </p:spPr>
        <p:txBody>
          <a:bodyPr wrap="none">
            <a:spAutoFit/>
          </a:bodyPr>
          <a:lstStyle/>
          <a:p>
            <a:r>
              <a:rPr lang="en-US" sz="2400" dirty="0"/>
              <a:t>Massive IoT</a:t>
            </a:r>
          </a:p>
        </p:txBody>
      </p:sp>
      <p:sp>
        <p:nvSpPr>
          <p:cNvPr id="22" name="Freeform 3">
            <a:extLst>
              <a:ext uri="{FF2B5EF4-FFF2-40B4-BE49-F238E27FC236}">
                <a16:creationId xmlns:a16="http://schemas.microsoft.com/office/drawing/2014/main" id="{1F543434-093C-44DD-8F53-7C73D0AE8F94}"/>
              </a:ext>
            </a:extLst>
          </p:cNvPr>
          <p:cNvSpPr/>
          <p:nvPr/>
        </p:nvSpPr>
        <p:spPr>
          <a:xfrm>
            <a:off x="6419112" y="4665799"/>
            <a:ext cx="421008" cy="366080"/>
          </a:xfrm>
          <a:custGeom>
            <a:avLst/>
            <a:gdLst>
              <a:gd name="f0" fmla="val 10800000"/>
              <a:gd name="f1" fmla="val 5400000"/>
              <a:gd name="f2" fmla="val 180"/>
              <a:gd name="f3" fmla="val w"/>
              <a:gd name="f4" fmla="val h"/>
              <a:gd name="f5" fmla="val 0"/>
              <a:gd name="f6" fmla="val 454"/>
              <a:gd name="f7" fmla="val 395"/>
              <a:gd name="f8" fmla="val 446"/>
              <a:gd name="f9" fmla="val 82"/>
              <a:gd name="f10" fmla="val 436"/>
              <a:gd name="f11" fmla="val 76"/>
              <a:gd name="f12" fmla="val 351"/>
              <a:gd name="f13" fmla="val 28"/>
              <a:gd name="f14" fmla="val 350"/>
              <a:gd name="f15" fmla="val 347"/>
              <a:gd name="f16" fmla="val 26"/>
              <a:gd name="f17" fmla="val 342"/>
              <a:gd name="f18" fmla="val 27"/>
              <a:gd name="f19" fmla="val 339"/>
              <a:gd name="f20" fmla="val 31"/>
              <a:gd name="f21" fmla="val 337"/>
              <a:gd name="f22" fmla="val 35"/>
              <a:gd name="f23" fmla="val 39"/>
              <a:gd name="f24" fmla="val 42"/>
              <a:gd name="f25" fmla="val 343"/>
              <a:gd name="f26" fmla="val 415"/>
              <a:gd name="f27" fmla="val 83"/>
              <a:gd name="f28" fmla="val 434"/>
              <a:gd name="f29" fmla="val 93"/>
              <a:gd name="f30" fmla="val 426"/>
              <a:gd name="f31" fmla="val 98"/>
              <a:gd name="f32" fmla="val 407"/>
              <a:gd name="f33" fmla="val 109"/>
              <a:gd name="f34" fmla="val 382"/>
              <a:gd name="f35" fmla="val 123"/>
              <a:gd name="f36" fmla="val 381"/>
              <a:gd name="f37" fmla="val 245"/>
              <a:gd name="f38" fmla="val 47"/>
              <a:gd name="f39" fmla="val 292"/>
              <a:gd name="f40" fmla="val 20"/>
              <a:gd name="f41" fmla="val 297"/>
              <a:gd name="f42" fmla="val 17"/>
              <a:gd name="f43" fmla="val 301"/>
              <a:gd name="f44" fmla="val 302"/>
              <a:gd name="f45" fmla="val 316"/>
              <a:gd name="f46" fmla="val 320"/>
              <a:gd name="f47" fmla="val 30"/>
              <a:gd name="f48" fmla="val 325"/>
              <a:gd name="f49" fmla="val 327"/>
              <a:gd name="f50" fmla="val 24"/>
              <a:gd name="f51" fmla="val 329"/>
              <a:gd name="f52" fmla="val 328"/>
              <a:gd name="f53" fmla="val 16"/>
              <a:gd name="f54" fmla="val 324"/>
              <a:gd name="f55" fmla="val 13"/>
              <a:gd name="f56" fmla="val 310"/>
              <a:gd name="f57" fmla="val 6"/>
              <a:gd name="f58" fmla="val 306"/>
              <a:gd name="f59" fmla="val 3"/>
              <a:gd name="f60" fmla="val 295"/>
              <a:gd name="f61" fmla="val 284"/>
              <a:gd name="f62" fmla="val 9"/>
              <a:gd name="f63" fmla="val 163"/>
              <a:gd name="f64" fmla="val 5"/>
              <a:gd name="f65" fmla="val 165"/>
              <a:gd name="f66" fmla="val 169"/>
              <a:gd name="f67" fmla="val 175"/>
              <a:gd name="f68" fmla="val 178"/>
              <a:gd name="f69" fmla="val 1"/>
              <a:gd name="f70" fmla="val 183"/>
              <a:gd name="f71" fmla="val 188"/>
              <a:gd name="f72" fmla="val 73"/>
              <a:gd name="f73" fmla="val 224"/>
              <a:gd name="f74" fmla="val 300"/>
              <a:gd name="f75" fmla="val 75"/>
              <a:gd name="f76" fmla="val 309"/>
              <a:gd name="f77" fmla="val 84"/>
              <a:gd name="f78" fmla="val 314"/>
              <a:gd name="f79" fmla="val 219"/>
              <a:gd name="f80" fmla="val 392"/>
              <a:gd name="f81" fmla="val 223"/>
              <a:gd name="f82" fmla="val 394"/>
              <a:gd name="f83" fmla="val 227"/>
              <a:gd name="f84" fmla="val 231"/>
              <a:gd name="f85" fmla="val 238"/>
              <a:gd name="f86" fmla="val 242"/>
              <a:gd name="f87" fmla="val 393"/>
              <a:gd name="f88" fmla="val 243"/>
              <a:gd name="f89" fmla="val 244"/>
              <a:gd name="f90" fmla="val 378"/>
              <a:gd name="f91" fmla="val 383"/>
              <a:gd name="f92" fmla="val 312"/>
              <a:gd name="f93" fmla="val 389"/>
              <a:gd name="f94" fmla="val 137"/>
              <a:gd name="f95" fmla="val 420"/>
              <a:gd name="f96" fmla="val 120"/>
              <a:gd name="f97" fmla="val 442"/>
              <a:gd name="f98" fmla="val 107"/>
              <a:gd name="f99" fmla="val 445"/>
              <a:gd name="f100" fmla="val 105"/>
              <a:gd name="f101" fmla="val 449"/>
              <a:gd name="f102" fmla="val 103"/>
              <a:gd name="f103" fmla="val 99"/>
              <a:gd name="f104" fmla="val 94"/>
              <a:gd name="f105" fmla="val 91"/>
              <a:gd name="f106" fmla="val 453"/>
              <a:gd name="f107" fmla="val 86"/>
              <a:gd name="f108" fmla="val 81"/>
              <a:gd name="f109" fmla="val 140"/>
              <a:gd name="f110" fmla="val 215"/>
              <a:gd name="f111" fmla="val 218"/>
              <a:gd name="f112" fmla="val 185"/>
              <a:gd name="f113" fmla="val 235"/>
              <a:gd name="f114" fmla="val 248"/>
              <a:gd name="f115" fmla="val 161"/>
              <a:gd name="f116" fmla="val 249"/>
              <a:gd name="f117" fmla="val 157"/>
              <a:gd name="f118" fmla="val 251"/>
              <a:gd name="f119" fmla="val 151"/>
              <a:gd name="f120" fmla="val 376"/>
              <a:gd name="f121" fmla="val 92"/>
              <a:gd name="f122" fmla="val 89"/>
              <a:gd name="f123" fmla="val 299"/>
              <a:gd name="f124" fmla="val 296"/>
              <a:gd name="f125" fmla="val 233"/>
              <a:gd name="f126" fmla="val 144"/>
              <a:gd name="f127" fmla="val 263"/>
              <a:gd name="f128" fmla="val 146"/>
              <a:gd name="f129" fmla="val 264"/>
              <a:gd name="f130" fmla="val 266"/>
              <a:gd name="f131" fmla="val 265"/>
              <a:gd name="f132" fmla="val 171"/>
              <a:gd name="f133" fmla="val 261"/>
              <a:gd name="f134" fmla="val 193"/>
              <a:gd name="f135" fmla="val 232"/>
              <a:gd name="f136" fmla="val 204"/>
              <a:gd name="f137" fmla="val 97"/>
              <a:gd name="f138" fmla="val 131"/>
              <a:gd name="f139" fmla="val 59"/>
              <a:gd name="f140" fmla="val 239"/>
              <a:gd name="f141" fmla="val 63"/>
              <a:gd name="f142" fmla="val 364"/>
              <a:gd name="f143" fmla="val 132"/>
              <a:gd name="f144" fmla="val 373"/>
              <a:gd name="f145" fmla="val 372"/>
              <a:gd name="f146" fmla="val 371"/>
              <a:gd name="f147" fmla="val 280"/>
              <a:gd name="f148" fmla="val 199"/>
              <a:gd name="f149" fmla="val 332"/>
              <a:gd name="f150" fmla="val 170"/>
              <a:gd name="f151" fmla="+- 0 0 -90"/>
              <a:gd name="f152" fmla="*/ f3 1 454"/>
              <a:gd name="f153" fmla="*/ f4 1 395"/>
              <a:gd name="f154" fmla="+- f7 0 f5"/>
              <a:gd name="f155" fmla="+- f6 0 f5"/>
              <a:gd name="f156" fmla="*/ f151 f0 1"/>
              <a:gd name="f157" fmla="*/ f155 1 454"/>
              <a:gd name="f158" fmla="*/ f154 1 395"/>
              <a:gd name="f159" fmla="*/ 2147483647 f155 1"/>
              <a:gd name="f160" fmla="*/ 2147483647 f154 1"/>
              <a:gd name="f161" fmla="*/ 0 f155 1"/>
              <a:gd name="f162" fmla="*/ f156 1 f2"/>
              <a:gd name="f163" fmla="*/ f159 1 454"/>
              <a:gd name="f164" fmla="*/ f160 1 395"/>
              <a:gd name="f165" fmla="*/ f161 1 454"/>
              <a:gd name="f166" fmla="*/ 0 1 f157"/>
              <a:gd name="f167" fmla="*/ f6 1 f157"/>
              <a:gd name="f168" fmla="*/ 0 1 f158"/>
              <a:gd name="f169" fmla="*/ f7 1 f158"/>
              <a:gd name="f170" fmla="+- f162 0 f1"/>
              <a:gd name="f171" fmla="*/ f163 1 f157"/>
              <a:gd name="f172" fmla="*/ f164 1 f158"/>
              <a:gd name="f173" fmla="*/ f165 1 f157"/>
              <a:gd name="f174" fmla="*/ f166 f152 1"/>
              <a:gd name="f175" fmla="*/ f167 f152 1"/>
              <a:gd name="f176" fmla="*/ f169 f153 1"/>
              <a:gd name="f177" fmla="*/ f168 f153 1"/>
              <a:gd name="f178" fmla="*/ f171 f152 1"/>
              <a:gd name="f179" fmla="*/ f172 f153 1"/>
              <a:gd name="f180" fmla="*/ f173 f152 1"/>
            </a:gdLst>
            <a:ahLst/>
            <a:cxnLst>
              <a:cxn ang="3cd4">
                <a:pos x="hc" y="t"/>
              </a:cxn>
              <a:cxn ang="0">
                <a:pos x="r" y="vc"/>
              </a:cxn>
              <a:cxn ang="cd4">
                <a:pos x="hc" y="b"/>
              </a:cxn>
              <a:cxn ang="cd2">
                <a:pos x="l" y="vc"/>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80"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 ang="f170">
                <a:pos x="f178" y="f179"/>
              </a:cxn>
            </a:cxnLst>
            <a:rect l="f174" t="f177" r="f175" b="f176"/>
            <a:pathLst>
              <a:path w="454" h="395">
                <a:moveTo>
                  <a:pt x="f8" y="f9"/>
                </a:moveTo>
                <a:cubicBezTo>
                  <a:pt x="f10" y="f11"/>
                  <a:pt x="f12" y="f13"/>
                  <a:pt x="f14" y="f13"/>
                </a:cubicBezTo>
                <a:cubicBezTo>
                  <a:pt x="f15" y="f16"/>
                  <a:pt x="f17" y="f18"/>
                  <a:pt x="f19" y="f20"/>
                </a:cubicBezTo>
                <a:cubicBezTo>
                  <a:pt x="f21" y="f22"/>
                  <a:pt x="f19" y="f23"/>
                  <a:pt x="f17" y="f24"/>
                </a:cubicBezTo>
                <a:cubicBezTo>
                  <a:pt x="f25" y="f24"/>
                  <a:pt x="f26" y="f27"/>
                  <a:pt x="f28" y="f29"/>
                </a:cubicBezTo>
                <a:cubicBezTo>
                  <a:pt x="f30" y="f31"/>
                  <a:pt x="f32" y="f33"/>
                  <a:pt x="f34" y="f35"/>
                </a:cubicBezTo>
                <a:cubicBezTo>
                  <a:pt x="f36" y="f35"/>
                  <a:pt x="f36" y="f35"/>
                  <a:pt x="f36" y="f35"/>
                </a:cubicBezTo>
                <a:cubicBezTo>
                  <a:pt x="f37" y="f38"/>
                  <a:pt x="f37" y="f38"/>
                  <a:pt x="f37" y="f38"/>
                </a:cubicBezTo>
                <a:cubicBezTo>
                  <a:pt x="f39" y="f40"/>
                  <a:pt x="f39" y="f40"/>
                  <a:pt x="f39" y="f40"/>
                </a:cubicBezTo>
                <a:cubicBezTo>
                  <a:pt x="f41" y="f42"/>
                  <a:pt x="f43" y="f40"/>
                  <a:pt x="f44" y="f40"/>
                </a:cubicBezTo>
                <a:cubicBezTo>
                  <a:pt x="f44" y="f40"/>
                  <a:pt x="f44" y="f40"/>
                  <a:pt x="f44" y="f40"/>
                </a:cubicBezTo>
                <a:cubicBezTo>
                  <a:pt x="f45" y="f18"/>
                  <a:pt x="f45" y="f18"/>
                  <a:pt x="f45" y="f18"/>
                </a:cubicBezTo>
                <a:cubicBezTo>
                  <a:pt x="f46" y="f47"/>
                  <a:pt x="f48" y="f13"/>
                  <a:pt x="f49" y="f50"/>
                </a:cubicBezTo>
                <a:cubicBezTo>
                  <a:pt x="f51" y="f40"/>
                  <a:pt x="f52" y="f53"/>
                  <a:pt x="f54" y="f55"/>
                </a:cubicBezTo>
                <a:cubicBezTo>
                  <a:pt x="f56" y="f57"/>
                  <a:pt x="f56" y="f57"/>
                  <a:pt x="f56" y="f57"/>
                </a:cubicBezTo>
                <a:cubicBezTo>
                  <a:pt x="f58" y="f59"/>
                  <a:pt x="f60" y="f5"/>
                  <a:pt x="f61" y="f57"/>
                </a:cubicBezTo>
                <a:cubicBezTo>
                  <a:pt x="f62" y="f63"/>
                  <a:pt x="f62" y="f63"/>
                  <a:pt x="f62" y="f63"/>
                </a:cubicBezTo>
                <a:cubicBezTo>
                  <a:pt x="f64" y="f65"/>
                  <a:pt x="f5" y="f66"/>
                  <a:pt x="f5" y="f67"/>
                </a:cubicBezTo>
                <a:cubicBezTo>
                  <a:pt x="f5" y="f68"/>
                  <a:pt x="f69" y="f70"/>
                  <a:pt x="f62" y="f71"/>
                </a:cubicBezTo>
                <a:cubicBezTo>
                  <a:pt x="f72" y="f73"/>
                  <a:pt x="f72" y="f73"/>
                  <a:pt x="f72" y="f73"/>
                </a:cubicBezTo>
                <a:cubicBezTo>
                  <a:pt x="f72" y="f60"/>
                  <a:pt x="f72" y="f60"/>
                  <a:pt x="f72" y="f60"/>
                </a:cubicBezTo>
                <a:cubicBezTo>
                  <a:pt x="f72" y="f74"/>
                  <a:pt x="f75" y="f76"/>
                  <a:pt x="f77" y="f78"/>
                </a:cubicBezTo>
                <a:cubicBezTo>
                  <a:pt x="f79" y="f80"/>
                  <a:pt x="f79" y="f80"/>
                  <a:pt x="f79" y="f80"/>
                </a:cubicBezTo>
                <a:cubicBezTo>
                  <a:pt x="f79" y="f80"/>
                  <a:pt x="f79" y="f80"/>
                  <a:pt x="f79" y="f80"/>
                </a:cubicBezTo>
                <a:cubicBezTo>
                  <a:pt x="f81" y="f82"/>
                  <a:pt x="f83" y="f7"/>
                  <a:pt x="f84" y="f7"/>
                </a:cubicBezTo>
                <a:cubicBezTo>
                  <a:pt x="f84" y="f7"/>
                  <a:pt x="f84" y="f7"/>
                  <a:pt x="f84" y="f7"/>
                </a:cubicBezTo>
                <a:cubicBezTo>
                  <a:pt x="f84" y="f7"/>
                  <a:pt x="f84" y="f7"/>
                  <a:pt x="f84" y="f7"/>
                </a:cubicBezTo>
                <a:cubicBezTo>
                  <a:pt x="f85" y="f7"/>
                  <a:pt x="f86" y="f87"/>
                  <a:pt x="f88" y="f80"/>
                </a:cubicBezTo>
                <a:cubicBezTo>
                  <a:pt x="f88" y="f80"/>
                  <a:pt x="f89" y="f80"/>
                  <a:pt x="f89" y="f80"/>
                </a:cubicBezTo>
                <a:cubicBezTo>
                  <a:pt x="f90" y="f78"/>
                  <a:pt x="f90" y="f78"/>
                  <a:pt x="f90" y="f78"/>
                </a:cubicBezTo>
                <a:cubicBezTo>
                  <a:pt x="f91" y="f92"/>
                  <a:pt x="f93" y="f58"/>
                  <a:pt x="f93" y="f60"/>
                </a:cubicBezTo>
                <a:cubicBezTo>
                  <a:pt x="f93" y="f94"/>
                  <a:pt x="f93" y="f94"/>
                  <a:pt x="f93" y="f94"/>
                </a:cubicBezTo>
                <a:cubicBezTo>
                  <a:pt x="f95" y="f96"/>
                  <a:pt x="f97" y="f98"/>
                  <a:pt x="f99" y="f100"/>
                </a:cubicBezTo>
                <a:cubicBezTo>
                  <a:pt x="f101" y="f102"/>
                  <a:pt x="f6" y="f103"/>
                  <a:pt x="f6" y="f104"/>
                </a:cubicBezTo>
                <a:cubicBezTo>
                  <a:pt x="f6" y="f105"/>
                  <a:pt x="f106" y="f107"/>
                  <a:pt x="f8" y="f9"/>
                </a:cubicBezTo>
                <a:close/>
                <a:moveTo>
                  <a:pt x="f40" y="f67"/>
                </a:moveTo>
                <a:cubicBezTo>
                  <a:pt x="f108" y="f109"/>
                  <a:pt x="f108" y="f109"/>
                  <a:pt x="f108" y="f109"/>
                </a:cubicBezTo>
                <a:cubicBezTo>
                  <a:pt x="f110" y="f111"/>
                  <a:pt x="f110" y="f111"/>
                  <a:pt x="f110" y="f111"/>
                </a:cubicBezTo>
                <a:cubicBezTo>
                  <a:pt x="f112" y="f113"/>
                  <a:pt x="f63" y="f114"/>
                  <a:pt x="f115" y="f116"/>
                </a:cubicBezTo>
                <a:cubicBezTo>
                  <a:pt x="f117" y="f118"/>
                  <a:pt x="f119" y="f116"/>
                  <a:pt x="f119" y="f116"/>
                </a:cubicBezTo>
                <a:cubicBezTo>
                  <a:pt x="f119" y="f116"/>
                  <a:pt x="f119" y="f116"/>
                  <a:pt x="f119" y="f116"/>
                </a:cubicBezTo>
                <a:lnTo>
                  <a:pt x="f40" y="f67"/>
                </a:lnTo>
                <a:close/>
                <a:moveTo>
                  <a:pt x="f81" y="f120"/>
                </a:moveTo>
                <a:cubicBezTo>
                  <a:pt x="f121" y="f74"/>
                  <a:pt x="f121" y="f74"/>
                  <a:pt x="f121" y="f74"/>
                </a:cubicBezTo>
                <a:cubicBezTo>
                  <a:pt x="f122" y="f123"/>
                  <a:pt x="f122" y="f124"/>
                  <a:pt x="f122" y="f124"/>
                </a:cubicBezTo>
                <a:cubicBezTo>
                  <a:pt x="f122" y="f125"/>
                  <a:pt x="f122" y="f125"/>
                  <a:pt x="f122" y="f125"/>
                </a:cubicBezTo>
                <a:cubicBezTo>
                  <a:pt x="f126" y="f127"/>
                  <a:pt x="f126" y="f127"/>
                  <a:pt x="f126" y="f127"/>
                </a:cubicBezTo>
                <a:cubicBezTo>
                  <a:pt x="f128" y="f129"/>
                  <a:pt x="f119" y="f130"/>
                  <a:pt x="f117" y="f130"/>
                </a:cubicBezTo>
                <a:cubicBezTo>
                  <a:pt x="f115" y="f130"/>
                  <a:pt x="f65" y="f131"/>
                  <a:pt x="f66" y="f127"/>
                </a:cubicBezTo>
                <a:cubicBezTo>
                  <a:pt x="f132" y="f133"/>
                  <a:pt x="f134" y="f116"/>
                  <a:pt x="f81" y="f135"/>
                </a:cubicBezTo>
                <a:lnTo>
                  <a:pt x="f81" y="f120"/>
                </a:lnTo>
                <a:close/>
                <a:moveTo>
                  <a:pt x="f81" y="f136"/>
                </a:moveTo>
                <a:cubicBezTo>
                  <a:pt x="f137" y="f138"/>
                  <a:pt x="f137" y="f138"/>
                  <a:pt x="f137" y="f138"/>
                </a:cubicBezTo>
                <a:cubicBezTo>
                  <a:pt x="f81" y="f139"/>
                  <a:pt x="f81" y="f139"/>
                  <a:pt x="f81" y="f139"/>
                </a:cubicBezTo>
                <a:lnTo>
                  <a:pt x="f81" y="f136"/>
                </a:lnTo>
                <a:close/>
                <a:moveTo>
                  <a:pt x="f140" y="f141"/>
                </a:moveTo>
                <a:cubicBezTo>
                  <a:pt x="f142" y="f143"/>
                  <a:pt x="f142" y="f143"/>
                  <a:pt x="f142" y="f143"/>
                </a:cubicBezTo>
                <a:cubicBezTo>
                  <a:pt x="f140" y="f136"/>
                  <a:pt x="f140" y="f136"/>
                  <a:pt x="f140" y="f136"/>
                </a:cubicBezTo>
                <a:lnTo>
                  <a:pt x="f140" y="f141"/>
                </a:lnTo>
                <a:close/>
                <a:moveTo>
                  <a:pt x="f144" y="f60"/>
                </a:moveTo>
                <a:cubicBezTo>
                  <a:pt x="f144" y="f123"/>
                  <a:pt x="f145" y="f74"/>
                  <a:pt x="f146" y="f74"/>
                </a:cubicBezTo>
                <a:cubicBezTo>
                  <a:pt x="f146" y="f74"/>
                  <a:pt x="f146" y="f74"/>
                  <a:pt x="f146" y="f74"/>
                </a:cubicBezTo>
                <a:cubicBezTo>
                  <a:pt x="f140" y="f120"/>
                  <a:pt x="f140" y="f120"/>
                  <a:pt x="f140" y="f120"/>
                </a:cubicBezTo>
                <a:cubicBezTo>
                  <a:pt x="f140" y="f81"/>
                  <a:pt x="f140" y="f81"/>
                  <a:pt x="f140" y="f81"/>
                </a:cubicBezTo>
                <a:cubicBezTo>
                  <a:pt x="f147" y="f148"/>
                  <a:pt x="f149" y="f150"/>
                  <a:pt x="f144" y="f128"/>
                </a:cubicBezTo>
                <a:lnTo>
                  <a:pt x="f144" y="f60"/>
                </a:lnTo>
                <a:close/>
              </a:path>
            </a:pathLst>
          </a:custGeom>
          <a:solidFill>
            <a:srgbClr val="B1B3B4"/>
          </a:solidFill>
          <a:ln cap="flat">
            <a:noFill/>
            <a:prstDash val="solid"/>
          </a:ln>
        </p:spPr>
        <p:txBody>
          <a:bodyPr vert="horz" wrap="square" lIns="91440" tIns="45720" rIns="91440" bIns="45720" anchor="t" anchorCtr="1" compatLnSpc="1">
            <a:noAutofit/>
          </a:bodyPr>
          <a:lstStyle/>
          <a:p>
            <a:pPr marL="0" marR="0" lvl="0" indent="0" algn="ctr"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sv-SE" sz="2000" b="1" i="0" u="none" strike="noStrike" kern="1200" cap="none" spc="0" baseline="0">
              <a:uFillTx/>
              <a:latin typeface="Arial"/>
            </a:endParaRPr>
          </a:p>
        </p:txBody>
      </p:sp>
      <p:sp>
        <p:nvSpPr>
          <p:cNvPr id="23" name="Freeform 2">
            <a:extLst>
              <a:ext uri="{FF2B5EF4-FFF2-40B4-BE49-F238E27FC236}">
                <a16:creationId xmlns:a16="http://schemas.microsoft.com/office/drawing/2014/main" id="{131ACE04-619B-4185-82FF-745611B1E6C5}"/>
              </a:ext>
            </a:extLst>
          </p:cNvPr>
          <p:cNvSpPr/>
          <p:nvPr/>
        </p:nvSpPr>
        <p:spPr>
          <a:xfrm>
            <a:off x="2862347" y="4665534"/>
            <a:ext cx="394508" cy="366610"/>
          </a:xfrm>
          <a:custGeom>
            <a:avLst/>
            <a:gdLst>
              <a:gd name="f0" fmla="val 10800000"/>
              <a:gd name="f1" fmla="val 5400000"/>
              <a:gd name="f2" fmla="val 180"/>
              <a:gd name="f3" fmla="val w"/>
              <a:gd name="f4" fmla="val h"/>
              <a:gd name="f5" fmla="val 0"/>
              <a:gd name="f6" fmla="val 383"/>
              <a:gd name="f7" fmla="val 356"/>
              <a:gd name="f8" fmla="val 343"/>
              <a:gd name="f9" fmla="val 220"/>
              <a:gd name="f10" fmla="val 347"/>
              <a:gd name="f11" fmla="val 351"/>
              <a:gd name="f12" fmla="val 216"/>
              <a:gd name="f13" fmla="val 212"/>
              <a:gd name="f14" fmla="val 182"/>
              <a:gd name="f15" fmla="val 350"/>
              <a:gd name="f16" fmla="val 178"/>
              <a:gd name="f17" fmla="val 349"/>
              <a:gd name="f18" fmla="val 177"/>
              <a:gd name="f19" fmla="val 175"/>
              <a:gd name="f20" fmla="val 345"/>
              <a:gd name="f21" fmla="val 174"/>
              <a:gd name="f22" fmla="val 300"/>
              <a:gd name="f23" fmla="val 297"/>
              <a:gd name="f24" fmla="val 295"/>
              <a:gd name="f25" fmla="val 294"/>
              <a:gd name="f26" fmla="val 292"/>
              <a:gd name="f27" fmla="val 305"/>
              <a:gd name="f28" fmla="val 279"/>
              <a:gd name="f29" fmla="val 158"/>
              <a:gd name="f30" fmla="val 155"/>
              <a:gd name="f31" fmla="val 278"/>
              <a:gd name="f32" fmla="val 153"/>
              <a:gd name="f33" fmla="val 277"/>
              <a:gd name="f34" fmla="val 152"/>
              <a:gd name="f35" fmla="val 256"/>
              <a:gd name="f36" fmla="val 132"/>
              <a:gd name="f37" fmla="val 123"/>
              <a:gd name="f38" fmla="val 121"/>
              <a:gd name="f39" fmla="val 255"/>
              <a:gd name="f40" fmla="val 119"/>
              <a:gd name="f41" fmla="val 254"/>
              <a:gd name="f42" fmla="val 117"/>
              <a:gd name="f43" fmla="val 245"/>
              <a:gd name="f44" fmla="val 108"/>
              <a:gd name="f45" fmla="val 92"/>
              <a:gd name="f46" fmla="val 89"/>
              <a:gd name="f47" fmla="val 244"/>
              <a:gd name="f48" fmla="val 87"/>
              <a:gd name="f49" fmla="val 243"/>
              <a:gd name="f50" fmla="val 86"/>
              <a:gd name="f51" fmla="val 239"/>
              <a:gd name="f52" fmla="val 82"/>
              <a:gd name="f53" fmla="val 60"/>
              <a:gd name="f54" fmla="val 57"/>
              <a:gd name="f55" fmla="val 238"/>
              <a:gd name="f56" fmla="val 55"/>
              <a:gd name="f57" fmla="val 236"/>
              <a:gd name="f58" fmla="val 54"/>
              <a:gd name="f59" fmla="val 217"/>
              <a:gd name="f60" fmla="val 35"/>
              <a:gd name="f61" fmla="val 8"/>
              <a:gd name="f62" fmla="val 4"/>
              <a:gd name="f63" fmla="val 214"/>
              <a:gd name="f64" fmla="val 209"/>
              <a:gd name="f65" fmla="val 205"/>
              <a:gd name="f66" fmla="val 201"/>
              <a:gd name="f67" fmla="val 181"/>
              <a:gd name="f68" fmla="val 176"/>
              <a:gd name="f69" fmla="val 165"/>
              <a:gd name="f70" fmla="val 163"/>
              <a:gd name="f71" fmla="val 162"/>
              <a:gd name="f72" fmla="val 142"/>
              <a:gd name="f73" fmla="val 141"/>
              <a:gd name="f74" fmla="val 140"/>
              <a:gd name="f75" fmla="val 264"/>
              <a:gd name="f76" fmla="val 127"/>
              <a:gd name="f77" fmla="val 126"/>
              <a:gd name="f78" fmla="val 138"/>
              <a:gd name="f79" fmla="val 124"/>
              <a:gd name="f80" fmla="val 136"/>
              <a:gd name="f81" fmla="val 103"/>
              <a:gd name="f82" fmla="val 100"/>
              <a:gd name="f83" fmla="val 96"/>
              <a:gd name="f84" fmla="val 93"/>
              <a:gd name="f85" fmla="val 73"/>
              <a:gd name="f86" fmla="val 71"/>
              <a:gd name="f87" fmla="val 70"/>
              <a:gd name="f88" fmla="val 226"/>
              <a:gd name="f89" fmla="val 40"/>
              <a:gd name="f90" fmla="val 38"/>
              <a:gd name="f91" fmla="val 227"/>
              <a:gd name="f92" fmla="val 34"/>
              <a:gd name="f93" fmla="val 228"/>
              <a:gd name="f94" fmla="val 33"/>
              <a:gd name="f95" fmla="val 230"/>
              <a:gd name="f96" fmla="val 32"/>
              <a:gd name="f97" fmla="val 232"/>
              <a:gd name="f98" fmla="val 234"/>
              <a:gd name="f99" fmla="val 340"/>
              <a:gd name="f100" fmla="val 3"/>
              <a:gd name="f101" fmla="val 348"/>
              <a:gd name="f102" fmla="val 352"/>
              <a:gd name="f103" fmla="val 42"/>
              <a:gd name="f104" fmla="val 44"/>
              <a:gd name="f105" fmla="val 355"/>
              <a:gd name="f106" fmla="val 45"/>
              <a:gd name="f107" fmla="val 353"/>
              <a:gd name="f108" fmla="val 47"/>
              <a:gd name="f109" fmla="val 48"/>
              <a:gd name="f110" fmla="val 242"/>
              <a:gd name="f111" fmla="val 78"/>
              <a:gd name="f112" fmla="val 80"/>
              <a:gd name="f113" fmla="val 241"/>
              <a:gd name="f114" fmla="val 83"/>
              <a:gd name="f115" fmla="val 240"/>
              <a:gd name="f116" fmla="val 85"/>
              <a:gd name="f117" fmla="val 146"/>
              <a:gd name="f118" fmla="val 98"/>
              <a:gd name="f119" fmla="val 111"/>
              <a:gd name="f120" fmla="val 272"/>
              <a:gd name="f121" fmla="val 274"/>
              <a:gd name="f122" fmla="val 112"/>
              <a:gd name="f123" fmla="val 276"/>
              <a:gd name="f124" fmla="val 113"/>
              <a:gd name="f125" fmla="val 115"/>
              <a:gd name="f126" fmla="val 280"/>
              <a:gd name="f127" fmla="val 148"/>
              <a:gd name="f128" fmla="val 150"/>
              <a:gd name="f129" fmla="val 156"/>
              <a:gd name="f130" fmla="val 161"/>
              <a:gd name="f131" fmla="val 139"/>
              <a:gd name="f132" fmla="val 137"/>
              <a:gd name="f133" fmla="val 135"/>
              <a:gd name="f134" fmla="val 187"/>
              <a:gd name="f135" fmla="val 189"/>
              <a:gd name="f136" fmla="val 116"/>
              <a:gd name="f137" fmla="val 190"/>
              <a:gd name="f138" fmla="val 114"/>
              <a:gd name="f139" fmla="val 95"/>
              <a:gd name="f140" fmla="val 194"/>
              <a:gd name="f141" fmla="val 91"/>
              <a:gd name="f142" fmla="val 195"/>
              <a:gd name="f143" fmla="val 196"/>
              <a:gd name="f144" fmla="val 63"/>
              <a:gd name="f145" fmla="val 50"/>
              <a:gd name="f146" fmla="val 223"/>
              <a:gd name="f147" fmla="val 224"/>
              <a:gd name="f148" fmla="val 225"/>
              <a:gd name="f149" fmla="val 229"/>
              <a:gd name="f150" fmla="val 231"/>
              <a:gd name="f151" fmla="val 263"/>
              <a:gd name="f152" fmla="val 313"/>
              <a:gd name="f153" fmla="val 315"/>
              <a:gd name="f154" fmla="val 317"/>
              <a:gd name="f155" fmla="val 265"/>
              <a:gd name="f156" fmla="val 318"/>
              <a:gd name="f157" fmla="val 267"/>
              <a:gd name="f158" fmla="val 320"/>
              <a:gd name="f159" fmla="val 269"/>
              <a:gd name="f160" fmla="val 321"/>
              <a:gd name="f161" fmla="val 271"/>
              <a:gd name="f162" fmla="val 302"/>
              <a:gd name="f163" fmla="val 304"/>
              <a:gd name="f164" fmla="val 307"/>
              <a:gd name="f165" fmla="val 308"/>
              <a:gd name="f166" fmla="val 335"/>
              <a:gd name="f167" fmla="val 339"/>
              <a:gd name="f168" fmla="val 375"/>
              <a:gd name="f169" fmla="val 235"/>
              <a:gd name="f170" fmla="val 336"/>
              <a:gd name="f171" fmla="val 337"/>
              <a:gd name="f172" fmla="val 341"/>
              <a:gd name="f173" fmla="val 379"/>
              <a:gd name="f174" fmla="+- 0 0 -90"/>
              <a:gd name="f175" fmla="*/ f3 1 383"/>
              <a:gd name="f176" fmla="*/ f4 1 356"/>
              <a:gd name="f177" fmla="+- f7 0 f5"/>
              <a:gd name="f178" fmla="+- f6 0 f5"/>
              <a:gd name="f179" fmla="*/ f174 f0 1"/>
              <a:gd name="f180" fmla="*/ f178 1 383"/>
              <a:gd name="f181" fmla="*/ f177 1 356"/>
              <a:gd name="f182" fmla="*/ 2147483646 f178 1"/>
              <a:gd name="f183" fmla="*/ 2147483646 f177 1"/>
              <a:gd name="f184" fmla="*/ 0 f177 1"/>
              <a:gd name="f185" fmla="*/ 0 f178 1"/>
              <a:gd name="f186" fmla="*/ f179 1 f2"/>
              <a:gd name="f187" fmla="*/ f182 1 383"/>
              <a:gd name="f188" fmla="*/ f183 1 356"/>
              <a:gd name="f189" fmla="*/ f184 1 356"/>
              <a:gd name="f190" fmla="*/ f185 1 383"/>
              <a:gd name="f191" fmla="*/ 0 1 f180"/>
              <a:gd name="f192" fmla="*/ f6 1 f180"/>
              <a:gd name="f193" fmla="*/ 0 1 f181"/>
              <a:gd name="f194" fmla="*/ f7 1 f181"/>
              <a:gd name="f195" fmla="+- f186 0 f1"/>
              <a:gd name="f196" fmla="*/ f187 1 f180"/>
              <a:gd name="f197" fmla="*/ f188 1 f181"/>
              <a:gd name="f198" fmla="*/ f189 1 f181"/>
              <a:gd name="f199" fmla="*/ f190 1 f180"/>
              <a:gd name="f200" fmla="*/ f191 f175 1"/>
              <a:gd name="f201" fmla="*/ f192 f175 1"/>
              <a:gd name="f202" fmla="*/ f194 f176 1"/>
              <a:gd name="f203" fmla="*/ f193 f176 1"/>
              <a:gd name="f204" fmla="*/ f196 f175 1"/>
              <a:gd name="f205" fmla="*/ f197 f176 1"/>
              <a:gd name="f206" fmla="*/ f198 f176 1"/>
              <a:gd name="f207" fmla="*/ f199 f175 1"/>
            </a:gdLst>
            <a:ahLst/>
            <a:cxnLst>
              <a:cxn ang="3cd4">
                <a:pos x="hc" y="t"/>
              </a:cxn>
              <a:cxn ang="0">
                <a:pos x="r" y="vc"/>
              </a:cxn>
              <a:cxn ang="cd4">
                <a:pos x="hc" y="b"/>
              </a:cxn>
              <a:cxn ang="cd2">
                <a:pos x="l" y="vc"/>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6"/>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7"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 ang="f195">
                <a:pos x="f204" y="f205"/>
              </a:cxn>
            </a:cxnLst>
            <a:rect l="f200" t="f203" r="f201" b="f202"/>
            <a:pathLst>
              <a:path w="383" h="356">
                <a:moveTo>
                  <a:pt x="f8" y="f9"/>
                </a:moveTo>
                <a:cubicBezTo>
                  <a:pt x="f10" y="f9"/>
                  <a:pt x="f11" y="f12"/>
                  <a:pt x="f11" y="f13"/>
                </a:cubicBezTo>
                <a:cubicBezTo>
                  <a:pt x="f11" y="f13"/>
                  <a:pt x="f11" y="f13"/>
                  <a:pt x="f11" y="f13"/>
                </a:cubicBezTo>
                <a:cubicBezTo>
                  <a:pt x="f11" y="f14"/>
                  <a:pt x="f11" y="f14"/>
                  <a:pt x="f11" y="f14"/>
                </a:cubicBezTo>
                <a:cubicBezTo>
                  <a:pt x="f11" y="f2"/>
                  <a:pt x="f15" y="f16"/>
                  <a:pt x="f17" y="f18"/>
                </a:cubicBezTo>
                <a:cubicBezTo>
                  <a:pt x="f10" y="f19"/>
                  <a:pt x="f20" y="f21"/>
                  <a:pt x="f8" y="f21"/>
                </a:cubicBezTo>
                <a:cubicBezTo>
                  <a:pt x="f22" y="f21"/>
                  <a:pt x="f22" y="f21"/>
                  <a:pt x="f22" y="f21"/>
                </a:cubicBezTo>
                <a:cubicBezTo>
                  <a:pt x="f23" y="f21"/>
                  <a:pt x="f24" y="f19"/>
                  <a:pt x="f25" y="f18"/>
                </a:cubicBezTo>
                <a:cubicBezTo>
                  <a:pt x="f26" y="f16"/>
                  <a:pt x="f26" y="f2"/>
                  <a:pt x="f26" y="f14"/>
                </a:cubicBezTo>
                <a:cubicBezTo>
                  <a:pt x="f26" y="f27"/>
                  <a:pt x="f26" y="f27"/>
                  <a:pt x="f26" y="f27"/>
                </a:cubicBezTo>
                <a:cubicBezTo>
                  <a:pt x="f28" y="f27"/>
                  <a:pt x="f28" y="f27"/>
                  <a:pt x="f28" y="f27"/>
                </a:cubicBezTo>
                <a:cubicBezTo>
                  <a:pt x="f28" y="f29"/>
                  <a:pt x="f28" y="f29"/>
                  <a:pt x="f28" y="f29"/>
                </a:cubicBezTo>
                <a:cubicBezTo>
                  <a:pt x="f28" y="f30"/>
                  <a:pt x="f31" y="f32"/>
                  <a:pt x="f33" y="f34"/>
                </a:cubicBezTo>
                <a:cubicBezTo>
                  <a:pt x="f35" y="f36"/>
                  <a:pt x="f35" y="f36"/>
                  <a:pt x="f35" y="f36"/>
                </a:cubicBezTo>
                <a:cubicBezTo>
                  <a:pt x="f35" y="f37"/>
                  <a:pt x="f35" y="f37"/>
                  <a:pt x="f35" y="f37"/>
                </a:cubicBezTo>
                <a:cubicBezTo>
                  <a:pt x="f35" y="f38"/>
                  <a:pt x="f39" y="f40"/>
                  <a:pt x="f41" y="f42"/>
                </a:cubicBezTo>
                <a:cubicBezTo>
                  <a:pt x="f43" y="f44"/>
                  <a:pt x="f43" y="f44"/>
                  <a:pt x="f43" y="f44"/>
                </a:cubicBezTo>
                <a:cubicBezTo>
                  <a:pt x="f43" y="f45"/>
                  <a:pt x="f43" y="f45"/>
                  <a:pt x="f43" y="f45"/>
                </a:cubicBezTo>
                <a:cubicBezTo>
                  <a:pt x="f43" y="f46"/>
                  <a:pt x="f47" y="f48"/>
                  <a:pt x="f49" y="f50"/>
                </a:cubicBezTo>
                <a:cubicBezTo>
                  <a:pt x="f49" y="f50"/>
                  <a:pt x="f49" y="f50"/>
                  <a:pt x="f49" y="f50"/>
                </a:cubicBezTo>
                <a:cubicBezTo>
                  <a:pt x="f51" y="f52"/>
                  <a:pt x="f51" y="f52"/>
                  <a:pt x="f51" y="f52"/>
                </a:cubicBezTo>
                <a:cubicBezTo>
                  <a:pt x="f51" y="f53"/>
                  <a:pt x="f51" y="f53"/>
                  <a:pt x="f51" y="f53"/>
                </a:cubicBezTo>
                <a:cubicBezTo>
                  <a:pt x="f51" y="f54"/>
                  <a:pt x="f55" y="f56"/>
                  <a:pt x="f57" y="f58"/>
                </a:cubicBezTo>
                <a:cubicBezTo>
                  <a:pt x="f59" y="f60"/>
                  <a:pt x="f59" y="f60"/>
                  <a:pt x="f59" y="f60"/>
                </a:cubicBezTo>
                <a:cubicBezTo>
                  <a:pt x="f59" y="f61"/>
                  <a:pt x="f59" y="f61"/>
                  <a:pt x="f59" y="f61"/>
                </a:cubicBezTo>
                <a:cubicBezTo>
                  <a:pt x="f59" y="f62"/>
                  <a:pt x="f63" y="f5"/>
                  <a:pt x="f64" y="f5"/>
                </a:cubicBezTo>
                <a:cubicBezTo>
                  <a:pt x="f65" y="f5"/>
                  <a:pt x="f66" y="f62"/>
                  <a:pt x="f66" y="f61"/>
                </a:cubicBezTo>
                <a:cubicBezTo>
                  <a:pt x="f66" y="f60"/>
                  <a:pt x="f66" y="f60"/>
                  <a:pt x="f66" y="f60"/>
                </a:cubicBezTo>
                <a:cubicBezTo>
                  <a:pt x="f14" y="f58"/>
                  <a:pt x="f14" y="f58"/>
                  <a:pt x="f14" y="f58"/>
                </a:cubicBezTo>
                <a:cubicBezTo>
                  <a:pt x="f67" y="f56"/>
                  <a:pt x="f2" y="f54"/>
                  <a:pt x="f2" y="f53"/>
                </a:cubicBezTo>
                <a:cubicBezTo>
                  <a:pt x="f2" y="f52"/>
                  <a:pt x="f2" y="f52"/>
                  <a:pt x="f2" y="f52"/>
                </a:cubicBezTo>
                <a:cubicBezTo>
                  <a:pt x="f68" y="f50"/>
                  <a:pt x="f68" y="f50"/>
                  <a:pt x="f68" y="f50"/>
                </a:cubicBezTo>
                <a:cubicBezTo>
                  <a:pt x="f21" y="f48"/>
                  <a:pt x="f21" y="f46"/>
                  <a:pt x="f21" y="f45"/>
                </a:cubicBezTo>
                <a:cubicBezTo>
                  <a:pt x="f21" y="f44"/>
                  <a:pt x="f21" y="f44"/>
                  <a:pt x="f21" y="f44"/>
                </a:cubicBezTo>
                <a:cubicBezTo>
                  <a:pt x="f69" y="f42"/>
                  <a:pt x="f69" y="f42"/>
                  <a:pt x="f69" y="f42"/>
                </a:cubicBezTo>
                <a:cubicBezTo>
                  <a:pt x="f70" y="f40"/>
                  <a:pt x="f71" y="f38"/>
                  <a:pt x="f71" y="f37"/>
                </a:cubicBezTo>
                <a:cubicBezTo>
                  <a:pt x="f71" y="f36"/>
                  <a:pt x="f71" y="f36"/>
                  <a:pt x="f71" y="f36"/>
                </a:cubicBezTo>
                <a:cubicBezTo>
                  <a:pt x="f72" y="f34"/>
                  <a:pt x="f72" y="f34"/>
                  <a:pt x="f72" y="f34"/>
                </a:cubicBezTo>
                <a:cubicBezTo>
                  <a:pt x="f73" y="f32"/>
                  <a:pt x="f74" y="f30"/>
                  <a:pt x="f74" y="f29"/>
                </a:cubicBezTo>
                <a:cubicBezTo>
                  <a:pt x="f74" y="f75"/>
                  <a:pt x="f74" y="f75"/>
                  <a:pt x="f74" y="f75"/>
                </a:cubicBezTo>
                <a:cubicBezTo>
                  <a:pt x="f76" y="f75"/>
                  <a:pt x="f76" y="f75"/>
                  <a:pt x="f76" y="f75"/>
                </a:cubicBezTo>
                <a:cubicBezTo>
                  <a:pt x="f76" y="f72"/>
                  <a:pt x="f76" y="f72"/>
                  <a:pt x="f76" y="f72"/>
                </a:cubicBezTo>
                <a:cubicBezTo>
                  <a:pt x="f76" y="f74"/>
                  <a:pt x="f77" y="f78"/>
                  <a:pt x="f79" y="f80"/>
                </a:cubicBezTo>
                <a:cubicBezTo>
                  <a:pt x="f81" y="f40"/>
                  <a:pt x="f81" y="f40"/>
                  <a:pt x="f81" y="f40"/>
                </a:cubicBezTo>
                <a:cubicBezTo>
                  <a:pt x="f82" y="f42"/>
                  <a:pt x="f83" y="f42"/>
                  <a:pt x="f84" y="f40"/>
                </a:cubicBezTo>
                <a:cubicBezTo>
                  <a:pt x="f85" y="f80"/>
                  <a:pt x="f85" y="f80"/>
                  <a:pt x="f85" y="f80"/>
                </a:cubicBezTo>
                <a:cubicBezTo>
                  <a:pt x="f86" y="f78"/>
                  <a:pt x="f87" y="f74"/>
                  <a:pt x="f87" y="f72"/>
                </a:cubicBezTo>
                <a:cubicBezTo>
                  <a:pt x="f87" y="f88"/>
                  <a:pt x="f87" y="f88"/>
                  <a:pt x="f87" y="f88"/>
                </a:cubicBezTo>
                <a:cubicBezTo>
                  <a:pt x="f89" y="f88"/>
                  <a:pt x="f89" y="f88"/>
                  <a:pt x="f89" y="f88"/>
                </a:cubicBezTo>
                <a:cubicBezTo>
                  <a:pt x="f90" y="f88"/>
                  <a:pt x="f60" y="f91"/>
                  <a:pt x="f92" y="f93"/>
                </a:cubicBezTo>
                <a:cubicBezTo>
                  <a:pt x="f94" y="f95"/>
                  <a:pt x="f96" y="f97"/>
                  <a:pt x="f96" y="f98"/>
                </a:cubicBezTo>
                <a:cubicBezTo>
                  <a:pt x="f96" y="f99"/>
                  <a:pt x="f96" y="f99"/>
                  <a:pt x="f96" y="f99"/>
                </a:cubicBezTo>
                <a:cubicBezTo>
                  <a:pt x="f61" y="f99"/>
                  <a:pt x="f61" y="f99"/>
                  <a:pt x="f61" y="f99"/>
                </a:cubicBezTo>
                <a:cubicBezTo>
                  <a:pt x="f100" y="f99"/>
                  <a:pt x="f5" y="f8"/>
                  <a:pt x="f5" y="f101"/>
                </a:cubicBezTo>
                <a:cubicBezTo>
                  <a:pt x="f5" y="f102"/>
                  <a:pt x="f100" y="f7"/>
                  <a:pt x="f61" y="f7"/>
                </a:cubicBezTo>
                <a:cubicBezTo>
                  <a:pt x="f89" y="f7"/>
                  <a:pt x="f89" y="f7"/>
                  <a:pt x="f89" y="f7"/>
                </a:cubicBezTo>
                <a:cubicBezTo>
                  <a:pt x="f103" y="f7"/>
                  <a:pt x="f104" y="f105"/>
                  <a:pt x="f106" y="f107"/>
                </a:cubicBezTo>
                <a:cubicBezTo>
                  <a:pt x="f108" y="f102"/>
                  <a:pt x="f109" y="f15"/>
                  <a:pt x="f109" y="f101"/>
                </a:cubicBezTo>
                <a:cubicBezTo>
                  <a:pt x="f109" y="f110"/>
                  <a:pt x="f109" y="f110"/>
                  <a:pt x="f109" y="f110"/>
                </a:cubicBezTo>
                <a:cubicBezTo>
                  <a:pt x="f111" y="f110"/>
                  <a:pt x="f111" y="f110"/>
                  <a:pt x="f111" y="f110"/>
                </a:cubicBezTo>
                <a:cubicBezTo>
                  <a:pt x="f112" y="f110"/>
                  <a:pt x="f52" y="f113"/>
                  <a:pt x="f114" y="f115"/>
                </a:cubicBezTo>
                <a:cubicBezTo>
                  <a:pt x="f116" y="f55"/>
                  <a:pt x="f50" y="f57"/>
                  <a:pt x="f50" y="f98"/>
                </a:cubicBezTo>
                <a:cubicBezTo>
                  <a:pt x="f50" y="f117"/>
                  <a:pt x="f50" y="f117"/>
                  <a:pt x="f50" y="f117"/>
                </a:cubicBezTo>
                <a:cubicBezTo>
                  <a:pt x="f118" y="f80"/>
                  <a:pt x="f118" y="f80"/>
                  <a:pt x="f118" y="f80"/>
                </a:cubicBezTo>
                <a:cubicBezTo>
                  <a:pt x="f119" y="f117"/>
                  <a:pt x="f119" y="f117"/>
                  <a:pt x="f119" y="f117"/>
                </a:cubicBezTo>
                <a:cubicBezTo>
                  <a:pt x="f119" y="f120"/>
                  <a:pt x="f119" y="f120"/>
                  <a:pt x="f119" y="f120"/>
                </a:cubicBezTo>
                <a:cubicBezTo>
                  <a:pt x="f119" y="f121"/>
                  <a:pt x="f122" y="f123"/>
                  <a:pt x="f124" y="f31"/>
                </a:cubicBezTo>
                <a:cubicBezTo>
                  <a:pt x="f125" y="f28"/>
                  <a:pt x="f42" y="f126"/>
                  <a:pt x="f40" y="f126"/>
                </a:cubicBezTo>
                <a:cubicBezTo>
                  <a:pt x="f127" y="f126"/>
                  <a:pt x="f127" y="f126"/>
                  <a:pt x="f127" y="f126"/>
                </a:cubicBezTo>
                <a:cubicBezTo>
                  <a:pt x="f128" y="f126"/>
                  <a:pt x="f34" y="f28"/>
                  <a:pt x="f32" y="f31"/>
                </a:cubicBezTo>
                <a:cubicBezTo>
                  <a:pt x="f30" y="f123"/>
                  <a:pt x="f129" y="f121"/>
                  <a:pt x="f129" y="f120"/>
                </a:cubicBezTo>
                <a:cubicBezTo>
                  <a:pt x="f129" y="f130"/>
                  <a:pt x="f129" y="f130"/>
                  <a:pt x="f129" y="f130"/>
                </a:cubicBezTo>
                <a:cubicBezTo>
                  <a:pt x="f68" y="f73"/>
                  <a:pt x="f68" y="f73"/>
                  <a:pt x="f68" y="f73"/>
                </a:cubicBezTo>
                <a:cubicBezTo>
                  <a:pt x="f18" y="f131"/>
                  <a:pt x="f16" y="f132"/>
                  <a:pt x="f16" y="f133"/>
                </a:cubicBezTo>
                <a:cubicBezTo>
                  <a:pt x="f16" y="f77"/>
                  <a:pt x="f16" y="f77"/>
                  <a:pt x="f16" y="f77"/>
                </a:cubicBezTo>
                <a:cubicBezTo>
                  <a:pt x="f134" y="f42"/>
                  <a:pt x="f134" y="f42"/>
                  <a:pt x="f134" y="f42"/>
                </a:cubicBezTo>
                <a:cubicBezTo>
                  <a:pt x="f135" y="f136"/>
                  <a:pt x="f137" y="f138"/>
                  <a:pt x="f137" y="f122"/>
                </a:cubicBezTo>
                <a:cubicBezTo>
                  <a:pt x="f137" y="f139"/>
                  <a:pt x="f137" y="f139"/>
                  <a:pt x="f137" y="f139"/>
                </a:cubicBezTo>
                <a:cubicBezTo>
                  <a:pt x="f140" y="f141"/>
                  <a:pt x="f140" y="f141"/>
                  <a:pt x="f140" y="f141"/>
                </a:cubicBezTo>
                <a:cubicBezTo>
                  <a:pt x="f142" y="f46"/>
                  <a:pt x="f143" y="f48"/>
                  <a:pt x="f143" y="f116"/>
                </a:cubicBezTo>
                <a:cubicBezTo>
                  <a:pt x="f143" y="f144"/>
                  <a:pt x="f143" y="f144"/>
                  <a:pt x="f143" y="f144"/>
                </a:cubicBezTo>
                <a:cubicBezTo>
                  <a:pt x="f64" y="f145"/>
                  <a:pt x="f64" y="f145"/>
                  <a:pt x="f64" y="f145"/>
                </a:cubicBezTo>
                <a:cubicBezTo>
                  <a:pt x="f146" y="f144"/>
                  <a:pt x="f146" y="f144"/>
                  <a:pt x="f146" y="f144"/>
                </a:cubicBezTo>
                <a:cubicBezTo>
                  <a:pt x="f146" y="f116"/>
                  <a:pt x="f146" y="f116"/>
                  <a:pt x="f146" y="f116"/>
                </a:cubicBezTo>
                <a:cubicBezTo>
                  <a:pt x="f146" y="f48"/>
                  <a:pt x="f147" y="f46"/>
                  <a:pt x="f148" y="f141"/>
                </a:cubicBezTo>
                <a:cubicBezTo>
                  <a:pt x="f149" y="f139"/>
                  <a:pt x="f149" y="f139"/>
                  <a:pt x="f149" y="f139"/>
                </a:cubicBezTo>
                <a:cubicBezTo>
                  <a:pt x="f149" y="f122"/>
                  <a:pt x="f149" y="f122"/>
                  <a:pt x="f149" y="f122"/>
                </a:cubicBezTo>
                <a:cubicBezTo>
                  <a:pt x="f149" y="f138"/>
                  <a:pt x="f95" y="f136"/>
                  <a:pt x="f150" y="f42"/>
                </a:cubicBezTo>
                <a:cubicBezTo>
                  <a:pt x="f115" y="f77"/>
                  <a:pt x="f115" y="f77"/>
                  <a:pt x="f115" y="f77"/>
                </a:cubicBezTo>
                <a:cubicBezTo>
                  <a:pt x="f115" y="f133"/>
                  <a:pt x="f115" y="f133"/>
                  <a:pt x="f115" y="f133"/>
                </a:cubicBezTo>
                <a:cubicBezTo>
                  <a:pt x="f115" y="f132"/>
                  <a:pt x="f113" y="f131"/>
                  <a:pt x="f49" y="f73"/>
                </a:cubicBezTo>
                <a:cubicBezTo>
                  <a:pt x="f151" y="f130"/>
                  <a:pt x="f151" y="f130"/>
                  <a:pt x="f151" y="f130"/>
                </a:cubicBezTo>
                <a:cubicBezTo>
                  <a:pt x="f151" y="f152"/>
                  <a:pt x="f151" y="f152"/>
                  <a:pt x="f151" y="f152"/>
                </a:cubicBezTo>
                <a:cubicBezTo>
                  <a:pt x="f151" y="f153"/>
                  <a:pt x="f75" y="f154"/>
                  <a:pt x="f155" y="f156"/>
                </a:cubicBezTo>
                <a:cubicBezTo>
                  <a:pt x="f157" y="f158"/>
                  <a:pt x="f159" y="f160"/>
                  <a:pt x="f161" y="f160"/>
                </a:cubicBezTo>
                <a:cubicBezTo>
                  <a:pt x="f22" y="f160"/>
                  <a:pt x="f22" y="f160"/>
                  <a:pt x="f22" y="f160"/>
                </a:cubicBezTo>
                <a:cubicBezTo>
                  <a:pt x="f162" y="f160"/>
                  <a:pt x="f163" y="f158"/>
                  <a:pt x="f27" y="f156"/>
                </a:cubicBezTo>
                <a:cubicBezTo>
                  <a:pt x="f164" y="f154"/>
                  <a:pt x="f165" y="f153"/>
                  <a:pt x="f165" y="f152"/>
                </a:cubicBezTo>
                <a:cubicBezTo>
                  <a:pt x="f165" y="f137"/>
                  <a:pt x="f165" y="f137"/>
                  <a:pt x="f165" y="f137"/>
                </a:cubicBezTo>
                <a:cubicBezTo>
                  <a:pt x="f166" y="f137"/>
                  <a:pt x="f166" y="f137"/>
                  <a:pt x="f166" y="f137"/>
                </a:cubicBezTo>
                <a:cubicBezTo>
                  <a:pt x="f166" y="f13"/>
                  <a:pt x="f166" y="f13"/>
                  <a:pt x="f166" y="f13"/>
                </a:cubicBezTo>
                <a:cubicBezTo>
                  <a:pt x="f166" y="f12"/>
                  <a:pt x="f167" y="f9"/>
                  <a:pt x="f8" y="f9"/>
                </a:cubicBezTo>
                <a:close/>
                <a:moveTo>
                  <a:pt x="f168" y="f99"/>
                </a:moveTo>
                <a:cubicBezTo>
                  <a:pt x="f168" y="f99"/>
                  <a:pt x="f168" y="f99"/>
                  <a:pt x="f168" y="f99"/>
                </a:cubicBezTo>
                <a:cubicBezTo>
                  <a:pt x="f11" y="f99"/>
                  <a:pt x="f11" y="f99"/>
                  <a:pt x="f11" y="f99"/>
                </a:cubicBezTo>
                <a:cubicBezTo>
                  <a:pt x="f11" y="f49"/>
                  <a:pt x="f11" y="f49"/>
                  <a:pt x="f11" y="f49"/>
                </a:cubicBezTo>
                <a:cubicBezTo>
                  <a:pt x="f11" y="f51"/>
                  <a:pt x="f10" y="f169"/>
                  <a:pt x="f8" y="f169"/>
                </a:cubicBezTo>
                <a:cubicBezTo>
                  <a:pt x="f167" y="f169"/>
                  <a:pt x="f166" y="f51"/>
                  <a:pt x="f166" y="f49"/>
                </a:cubicBezTo>
                <a:cubicBezTo>
                  <a:pt x="f166" y="f101"/>
                  <a:pt x="f166" y="f101"/>
                  <a:pt x="f166" y="f101"/>
                </a:cubicBezTo>
                <a:cubicBezTo>
                  <a:pt x="f166" y="f15"/>
                  <a:pt x="f170" y="f102"/>
                  <a:pt x="f171" y="f107"/>
                </a:cubicBezTo>
                <a:cubicBezTo>
                  <a:pt x="f167" y="f105"/>
                  <a:pt x="f172" y="f7"/>
                  <a:pt x="f8" y="f7"/>
                </a:cubicBezTo>
                <a:cubicBezTo>
                  <a:pt x="f168" y="f7"/>
                  <a:pt x="f168" y="f7"/>
                  <a:pt x="f168" y="f7"/>
                </a:cubicBezTo>
                <a:cubicBezTo>
                  <a:pt x="f173" y="f7"/>
                  <a:pt x="f6" y="f102"/>
                  <a:pt x="f6" y="f101"/>
                </a:cubicBezTo>
                <a:cubicBezTo>
                  <a:pt x="f6" y="f8"/>
                  <a:pt x="f173" y="f99"/>
                  <a:pt x="f168" y="f99"/>
                </a:cubicBezTo>
                <a:close/>
              </a:path>
            </a:pathLst>
          </a:custGeom>
          <a:solidFill>
            <a:srgbClr val="B1B3B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dirty="0">
              <a:uFillTx/>
              <a:latin typeface="Arial"/>
            </a:endParaRPr>
          </a:p>
        </p:txBody>
      </p:sp>
      <p:sp>
        <p:nvSpPr>
          <p:cNvPr id="24" name="Freeform 6">
            <a:extLst>
              <a:ext uri="{FF2B5EF4-FFF2-40B4-BE49-F238E27FC236}">
                <a16:creationId xmlns:a16="http://schemas.microsoft.com/office/drawing/2014/main" id="{0E342C3B-F2D3-430D-9152-74B23D78106B}"/>
              </a:ext>
            </a:extLst>
          </p:cNvPr>
          <p:cNvSpPr/>
          <p:nvPr/>
        </p:nvSpPr>
        <p:spPr>
          <a:xfrm>
            <a:off x="3993874" y="4651137"/>
            <a:ext cx="394975" cy="395404"/>
          </a:xfrm>
          <a:custGeom>
            <a:avLst/>
            <a:gdLst>
              <a:gd name="f0" fmla="val 10800000"/>
              <a:gd name="f1" fmla="val 5400000"/>
              <a:gd name="f2" fmla="val 180"/>
              <a:gd name="f3" fmla="val w"/>
              <a:gd name="f4" fmla="val h"/>
              <a:gd name="f5" fmla="val 0"/>
              <a:gd name="f6" fmla="val 394"/>
              <a:gd name="f7" fmla="val 395"/>
              <a:gd name="f8" fmla="val 348"/>
              <a:gd name="f9" fmla="val 70"/>
              <a:gd name="f10" fmla="val 345"/>
              <a:gd name="f11" fmla="val 67"/>
              <a:gd name="f12" fmla="val 340"/>
              <a:gd name="f13" fmla="val 66"/>
              <a:gd name="f14" fmla="val 337"/>
              <a:gd name="f15" fmla="val 69"/>
              <a:gd name="f16" fmla="val 333"/>
              <a:gd name="f17" fmla="val 72"/>
              <a:gd name="f18" fmla="val 77"/>
              <a:gd name="f19" fmla="val 336"/>
              <a:gd name="f20" fmla="val 81"/>
              <a:gd name="f21" fmla="val 362"/>
              <a:gd name="f22" fmla="val 112"/>
              <a:gd name="f23" fmla="val 378"/>
              <a:gd name="f24" fmla="val 153"/>
              <a:gd name="f25" fmla="val 198"/>
              <a:gd name="f26" fmla="val 248"/>
              <a:gd name="f27" fmla="val 358"/>
              <a:gd name="f28" fmla="val 293"/>
              <a:gd name="f29" fmla="val 325"/>
              <a:gd name="f30" fmla="val 326"/>
              <a:gd name="f31" fmla="val 292"/>
              <a:gd name="f32" fmla="val 359"/>
              <a:gd name="f33" fmla="val 247"/>
              <a:gd name="f34" fmla="val 379"/>
              <a:gd name="f35" fmla="val 197"/>
              <a:gd name="f36" fmla="val 147"/>
              <a:gd name="f37" fmla="val 102"/>
              <a:gd name="f38" fmla="val 36"/>
              <a:gd name="f39" fmla="val 16"/>
              <a:gd name="f40" fmla="val 37"/>
              <a:gd name="f41" fmla="val 242"/>
              <a:gd name="f42" fmla="val 282"/>
              <a:gd name="f43" fmla="val 32"/>
              <a:gd name="f44" fmla="val 314"/>
              <a:gd name="f45" fmla="val 59"/>
              <a:gd name="f46" fmla="val 317"/>
              <a:gd name="f47" fmla="val 62"/>
              <a:gd name="f48" fmla="val 322"/>
              <a:gd name="f49" fmla="val 61"/>
              <a:gd name="f50" fmla="val 58"/>
              <a:gd name="f51" fmla="val 328"/>
              <a:gd name="f52" fmla="val 55"/>
              <a:gd name="f53" fmla="val 50"/>
              <a:gd name="f54" fmla="val 324"/>
              <a:gd name="f55" fmla="val 47"/>
              <a:gd name="f56" fmla="val 290"/>
              <a:gd name="f57" fmla="val 18"/>
              <a:gd name="f58" fmla="val 245"/>
              <a:gd name="f59" fmla="val 88"/>
              <a:gd name="f60" fmla="val 89"/>
              <a:gd name="f61" fmla="val 307"/>
              <a:gd name="f62" fmla="val 306"/>
              <a:gd name="f63" fmla="val 149"/>
              <a:gd name="f64" fmla="val 377"/>
              <a:gd name="f65" fmla="val 105"/>
              <a:gd name="f66" fmla="val 327"/>
              <a:gd name="f67" fmla="val 103"/>
              <a:gd name="f68" fmla="val 99"/>
              <a:gd name="f69" fmla="val 323"/>
              <a:gd name="f70" fmla="val 95"/>
              <a:gd name="f71" fmla="val 319"/>
              <a:gd name="f72" fmla="val 74"/>
              <a:gd name="f73" fmla="val 107"/>
              <a:gd name="f74" fmla="val 111"/>
              <a:gd name="f75" fmla="val 239"/>
              <a:gd name="f76" fmla="val 234"/>
              <a:gd name="f77" fmla="val 154"/>
              <a:gd name="f78" fmla="val 159"/>
              <a:gd name="f79" fmla="val 236"/>
              <a:gd name="f80" fmla="val 246"/>
              <a:gd name="f81" fmla="val 288"/>
              <a:gd name="f82" fmla="val 284"/>
              <a:gd name="f83" fmla="val 210"/>
              <a:gd name="f84" fmla="val 219"/>
              <a:gd name="f85" fmla="val 277"/>
              <a:gd name="f86" fmla="val 224"/>
              <a:gd name="f87" fmla="val 269"/>
              <a:gd name="f88" fmla="val 226"/>
              <a:gd name="f89" fmla="val 268"/>
              <a:gd name="f90" fmla="val 267"/>
              <a:gd name="f91" fmla="val 266"/>
              <a:gd name="f92" fmla="val 264"/>
              <a:gd name="f93" fmla="val 225"/>
              <a:gd name="f94" fmla="val 223"/>
              <a:gd name="f95" fmla="val 222"/>
              <a:gd name="f96" fmla="val 265"/>
              <a:gd name="f97" fmla="val 221"/>
              <a:gd name="f98" fmla="val 273"/>
              <a:gd name="f99" fmla="val 220"/>
              <a:gd name="f100" fmla="val 278"/>
              <a:gd name="f101" fmla="val 216"/>
              <a:gd name="f102" fmla="val 204"/>
              <a:gd name="f103" fmla="val 199"/>
              <a:gd name="f104" fmla="val 262"/>
              <a:gd name="f105" fmla="val 253"/>
              <a:gd name="f106" fmla="val 217"/>
              <a:gd name="f107" fmla="val 260"/>
              <a:gd name="f108" fmla="val 261"/>
              <a:gd name="f109" fmla="val 259"/>
              <a:gd name="f110" fmla="val 258"/>
              <a:gd name="f111" fmla="val 249"/>
              <a:gd name="f112" fmla="val 203"/>
              <a:gd name="f113" fmla="val 196"/>
              <a:gd name="f114" fmla="val 195"/>
              <a:gd name="f115" fmla="val 244"/>
              <a:gd name="f116" fmla="val 191"/>
              <a:gd name="f117" fmla="val 184"/>
              <a:gd name="f118" fmla="val 176"/>
              <a:gd name="f119" fmla="val 171"/>
              <a:gd name="f120" fmla="val 169"/>
              <a:gd name="f121" fmla="val 170"/>
              <a:gd name="f122" fmla="val 172"/>
              <a:gd name="f123" fmla="val 173"/>
              <a:gd name="f124" fmla="val 174"/>
              <a:gd name="f125" fmla="val 175"/>
              <a:gd name="f126" fmla="val 178"/>
              <a:gd name="f127" fmla="val 190"/>
              <a:gd name="f128" fmla="val 254"/>
              <a:gd name="f129" fmla="val 194"/>
              <a:gd name="f130" fmla="val 271"/>
              <a:gd name="f131" fmla="val 177"/>
              <a:gd name="f132" fmla="val 279"/>
              <a:gd name="f133" fmla="val 274"/>
              <a:gd name="f134" fmla="val 283"/>
              <a:gd name="f135" fmla="val 113"/>
              <a:gd name="f136" fmla="val 150"/>
              <a:gd name="f137" fmla="val 156"/>
              <a:gd name="f138" fmla="val 161"/>
              <a:gd name="f139" fmla="val 116"/>
              <a:gd name="f140" fmla="val 114"/>
              <a:gd name="f141" fmla="val 133"/>
              <a:gd name="f142" fmla="val 144"/>
              <a:gd name="f143" fmla="val 215"/>
              <a:gd name="f144" fmla="val 140"/>
              <a:gd name="f145" fmla="val 126"/>
              <a:gd name="f146" fmla="val 122"/>
              <a:gd name="f147" fmla="val 120"/>
              <a:gd name="f148" fmla="val 115"/>
              <a:gd name="f149" fmla="val 117"/>
              <a:gd name="f150" fmla="val 145"/>
              <a:gd name="f151" fmla="val 192"/>
              <a:gd name="f152" fmla="val 123"/>
              <a:gd name="f153" fmla="val 127"/>
              <a:gd name="f154" fmla="val 189"/>
              <a:gd name="f155" fmla="val 143"/>
              <a:gd name="f156" fmla="val 218"/>
              <a:gd name="f157" fmla="val 137"/>
              <a:gd name="f158" fmla="val 227"/>
              <a:gd name="f159" fmla="val 300"/>
              <a:gd name="f160" fmla="val 297"/>
              <a:gd name="f161" fmla="val 41"/>
              <a:gd name="f162" fmla="val 84"/>
              <a:gd name="f163" fmla="val 90"/>
              <a:gd name="f164" fmla="val 65"/>
              <a:gd name="f165" fmla="val 53"/>
              <a:gd name="f166" fmla="val 181"/>
              <a:gd name="f167" fmla="val 52"/>
              <a:gd name="f168" fmla="val 182"/>
              <a:gd name="f169" fmla="val 51"/>
              <a:gd name="f170" fmla="val 48"/>
              <a:gd name="f171" fmla="val 179"/>
              <a:gd name="f172" fmla="val 56"/>
              <a:gd name="f173" fmla="val 83"/>
              <a:gd name="f174" fmla="val 193"/>
              <a:gd name="f175" fmla="val 78"/>
              <a:gd name="f176" fmla="val 206"/>
              <a:gd name="f177" fmla="val 57"/>
              <a:gd name="f178" fmla="val 212"/>
              <a:gd name="f179" fmla="val 49"/>
              <a:gd name="f180" fmla="val 209"/>
              <a:gd name="f181" fmla="val 60"/>
              <a:gd name="f182" fmla="val 73"/>
              <a:gd name="f183" fmla="val 168"/>
              <a:gd name="f184" fmla="val 205"/>
              <a:gd name="f185" fmla="val 208"/>
              <a:gd name="f186" fmla="val 211"/>
              <a:gd name="f187" fmla="val 353"/>
              <a:gd name="f188" fmla="val 310"/>
              <a:gd name="f189" fmla="val 305"/>
              <a:gd name="f190" fmla="val 315"/>
              <a:gd name="f191" fmla="val 313"/>
              <a:gd name="f192" fmla="val 312"/>
              <a:gd name="f193" fmla="val 334"/>
              <a:gd name="f194" fmla="val 343"/>
              <a:gd name="f195" fmla="val 342"/>
              <a:gd name="f196" fmla="val 338"/>
              <a:gd name="f197" fmla="val 187"/>
              <a:gd name="f198" fmla="val 318"/>
              <a:gd name="f199" fmla="val 200"/>
              <a:gd name="f200" fmla="val 330"/>
              <a:gd name="f201" fmla="val 332"/>
              <a:gd name="f202" fmla="val 339"/>
              <a:gd name="f203" fmla="val 202"/>
              <a:gd name="f204" fmla="val 316"/>
              <a:gd name="f205" fmla="val 309"/>
              <a:gd name="f206" fmla="val 188"/>
              <a:gd name="f207" fmla="val 341"/>
              <a:gd name="f208" fmla="val 349"/>
              <a:gd name="f209" fmla="+- 0 0 -90"/>
              <a:gd name="f210" fmla="*/ f3 1 394"/>
              <a:gd name="f211" fmla="*/ f4 1 395"/>
              <a:gd name="f212" fmla="+- f7 0 f5"/>
              <a:gd name="f213" fmla="+- f6 0 f5"/>
              <a:gd name="f214" fmla="*/ f209 f0 1"/>
              <a:gd name="f215" fmla="*/ f213 1 394"/>
              <a:gd name="f216" fmla="*/ f212 1 395"/>
              <a:gd name="f217" fmla="*/ 2147483647 f213 1"/>
              <a:gd name="f218" fmla="*/ 2147483647 f212 1"/>
              <a:gd name="f219" fmla="*/ 0 f212 1"/>
              <a:gd name="f220" fmla="*/ f214 1 f2"/>
              <a:gd name="f221" fmla="*/ f217 1 394"/>
              <a:gd name="f222" fmla="*/ f218 1 395"/>
              <a:gd name="f223" fmla="*/ f219 1 395"/>
              <a:gd name="f224" fmla="*/ 0 1 f215"/>
              <a:gd name="f225" fmla="*/ f6 1 f215"/>
              <a:gd name="f226" fmla="*/ 0 1 f216"/>
              <a:gd name="f227" fmla="*/ f7 1 f216"/>
              <a:gd name="f228" fmla="+- f220 0 f1"/>
              <a:gd name="f229" fmla="*/ f221 1 f215"/>
              <a:gd name="f230" fmla="*/ f222 1 f216"/>
              <a:gd name="f231" fmla="*/ f223 1 f216"/>
              <a:gd name="f232" fmla="*/ f224 f210 1"/>
              <a:gd name="f233" fmla="*/ f225 f210 1"/>
              <a:gd name="f234" fmla="*/ f227 f211 1"/>
              <a:gd name="f235" fmla="*/ f226 f211 1"/>
              <a:gd name="f236" fmla="*/ f229 f210 1"/>
              <a:gd name="f237" fmla="*/ f230 f211 1"/>
              <a:gd name="f238" fmla="*/ f231 f211 1"/>
            </a:gdLst>
            <a:ahLst/>
            <a:cxnLst>
              <a:cxn ang="3cd4">
                <a:pos x="hc" y="t"/>
              </a:cxn>
              <a:cxn ang="0">
                <a:pos x="r" y="vc"/>
              </a:cxn>
              <a:cxn ang="cd4">
                <a:pos x="hc" y="b"/>
              </a:cxn>
              <a:cxn ang="cd2">
                <a:pos x="l" y="vc"/>
              </a:cxn>
              <a:cxn ang="f228">
                <a:pos x="f236" y="f237"/>
              </a:cxn>
              <a:cxn ang="f228">
                <a:pos x="f236" y="f237"/>
              </a:cxn>
              <a:cxn ang="f228">
                <a:pos x="f236" y="f237"/>
              </a:cxn>
              <a:cxn ang="f228">
                <a:pos x="f236" y="f237"/>
              </a:cxn>
              <a:cxn ang="f228">
                <a:pos x="f236" y="f238"/>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 ang="f228">
                <a:pos x="f236" y="f237"/>
              </a:cxn>
            </a:cxnLst>
            <a:rect l="f232" t="f235" r="f233" b="f234"/>
            <a:pathLst>
              <a:path w="394" h="395">
                <a:moveTo>
                  <a:pt x="f8" y="f9"/>
                </a:moveTo>
                <a:cubicBezTo>
                  <a:pt x="f10" y="f11"/>
                  <a:pt x="f12" y="f13"/>
                  <a:pt x="f14" y="f15"/>
                </a:cubicBezTo>
                <a:cubicBezTo>
                  <a:pt x="f16" y="f17"/>
                  <a:pt x="f16" y="f18"/>
                  <a:pt x="f19" y="f20"/>
                </a:cubicBezTo>
                <a:cubicBezTo>
                  <a:pt x="f21" y="f22"/>
                  <a:pt x="f23" y="f24"/>
                  <a:pt x="f23" y="f25"/>
                </a:cubicBezTo>
                <a:cubicBezTo>
                  <a:pt x="f23" y="f26"/>
                  <a:pt x="f27" y="f28"/>
                  <a:pt x="f29" y="f30"/>
                </a:cubicBezTo>
                <a:cubicBezTo>
                  <a:pt x="f31" y="f32"/>
                  <a:pt x="f33" y="f34"/>
                  <a:pt x="f35" y="f34"/>
                </a:cubicBezTo>
                <a:cubicBezTo>
                  <a:pt x="f36" y="f34"/>
                  <a:pt x="f37" y="f32"/>
                  <a:pt x="f15" y="f30"/>
                </a:cubicBezTo>
                <a:cubicBezTo>
                  <a:pt x="f38" y="f28"/>
                  <a:pt x="f39" y="f26"/>
                  <a:pt x="f39" y="f25"/>
                </a:cubicBezTo>
                <a:cubicBezTo>
                  <a:pt x="f39" y="f36"/>
                  <a:pt x="f38" y="f37"/>
                  <a:pt x="f15" y="f15"/>
                </a:cubicBezTo>
                <a:cubicBezTo>
                  <a:pt x="f37" y="f40"/>
                  <a:pt x="f36" y="f39"/>
                  <a:pt x="f35" y="f39"/>
                </a:cubicBezTo>
                <a:cubicBezTo>
                  <a:pt x="f41" y="f39"/>
                  <a:pt x="f42" y="f43"/>
                  <a:pt x="f44" y="f45"/>
                </a:cubicBezTo>
                <a:cubicBezTo>
                  <a:pt x="f46" y="f47"/>
                  <a:pt x="f48" y="f49"/>
                  <a:pt x="f29" y="f50"/>
                </a:cubicBezTo>
                <a:cubicBezTo>
                  <a:pt x="f51" y="f52"/>
                  <a:pt x="f51" y="f53"/>
                  <a:pt x="f54" y="f55"/>
                </a:cubicBezTo>
                <a:cubicBezTo>
                  <a:pt x="f54" y="f55"/>
                  <a:pt x="f54" y="f55"/>
                  <a:pt x="f54" y="f55"/>
                </a:cubicBezTo>
                <a:cubicBezTo>
                  <a:pt x="f56" y="f57"/>
                  <a:pt x="f58" y="f5"/>
                  <a:pt x="f35" y="f5"/>
                </a:cubicBezTo>
                <a:cubicBezTo>
                  <a:pt x="f59" y="f5"/>
                  <a:pt x="f5" y="f60"/>
                  <a:pt x="f5" y="f25"/>
                </a:cubicBezTo>
                <a:cubicBezTo>
                  <a:pt x="f5" y="f61"/>
                  <a:pt x="f59" y="f7"/>
                  <a:pt x="f35" y="f7"/>
                </a:cubicBezTo>
                <a:cubicBezTo>
                  <a:pt x="f62" y="f7"/>
                  <a:pt x="f6" y="f61"/>
                  <a:pt x="f6" y="f25"/>
                </a:cubicBezTo>
                <a:cubicBezTo>
                  <a:pt x="f6" y="f63"/>
                  <a:pt x="f64" y="f65"/>
                  <a:pt x="f8" y="f9"/>
                </a:cubicBezTo>
                <a:close/>
                <a:moveTo>
                  <a:pt x="f66" y="f67"/>
                </a:moveTo>
                <a:cubicBezTo>
                  <a:pt x="f66" y="f68"/>
                  <a:pt x="f69" y="f70"/>
                  <a:pt x="f71" y="f70"/>
                </a:cubicBezTo>
                <a:cubicBezTo>
                  <a:pt x="f72" y="f70"/>
                  <a:pt x="f72" y="f70"/>
                  <a:pt x="f72" y="f70"/>
                </a:cubicBezTo>
                <a:cubicBezTo>
                  <a:pt x="f9" y="f70"/>
                  <a:pt x="f13" y="f68"/>
                  <a:pt x="f13" y="f67"/>
                </a:cubicBezTo>
                <a:cubicBezTo>
                  <a:pt x="f13" y="f73"/>
                  <a:pt x="f9" y="f74"/>
                  <a:pt x="f72" y="f74"/>
                </a:cubicBezTo>
                <a:cubicBezTo>
                  <a:pt x="f71" y="f74"/>
                  <a:pt x="f71" y="f74"/>
                  <a:pt x="f71" y="f74"/>
                </a:cubicBezTo>
                <a:cubicBezTo>
                  <a:pt x="f69" y="f74"/>
                  <a:pt x="f66" y="f73"/>
                  <a:pt x="f66" y="f67"/>
                </a:cubicBezTo>
                <a:close/>
                <a:moveTo>
                  <a:pt x="f58" y="f63"/>
                </a:moveTo>
                <a:cubicBezTo>
                  <a:pt x="f75" y="f63"/>
                  <a:pt x="f76" y="f77"/>
                  <a:pt x="f76" y="f78"/>
                </a:cubicBezTo>
                <a:cubicBezTo>
                  <a:pt x="f76" y="f79"/>
                  <a:pt x="f76" y="f79"/>
                  <a:pt x="f76" y="f79"/>
                </a:cubicBezTo>
                <a:cubicBezTo>
                  <a:pt x="f76" y="f41"/>
                  <a:pt x="f75" y="f80"/>
                  <a:pt x="f58" y="f80"/>
                </a:cubicBezTo>
                <a:cubicBezTo>
                  <a:pt x="f42" y="f80"/>
                  <a:pt x="f42" y="f80"/>
                  <a:pt x="f42" y="f80"/>
                </a:cubicBezTo>
                <a:cubicBezTo>
                  <a:pt x="f81" y="f80"/>
                  <a:pt x="f31" y="f41"/>
                  <a:pt x="f31" y="f79"/>
                </a:cubicBezTo>
                <a:cubicBezTo>
                  <a:pt x="f31" y="f78"/>
                  <a:pt x="f31" y="f78"/>
                  <a:pt x="f31" y="f78"/>
                </a:cubicBezTo>
                <a:cubicBezTo>
                  <a:pt x="f31" y="f77"/>
                  <a:pt x="f81" y="f63"/>
                  <a:pt x="f42" y="f63"/>
                </a:cubicBezTo>
                <a:lnTo>
                  <a:pt x="f58" y="f63"/>
                </a:lnTo>
                <a:close/>
                <a:moveTo>
                  <a:pt x="f82" y="f83"/>
                </a:moveTo>
                <a:cubicBezTo>
                  <a:pt x="f82" y="f84"/>
                  <a:pt x="f85" y="f86"/>
                  <a:pt x="f87" y="f88"/>
                </a:cubicBezTo>
                <a:cubicBezTo>
                  <a:pt x="f89" y="f88"/>
                  <a:pt x="f90" y="f88"/>
                  <a:pt x="f90" y="f88"/>
                </a:cubicBezTo>
                <a:cubicBezTo>
                  <a:pt x="f91" y="f88"/>
                  <a:pt x="f92" y="f93"/>
                  <a:pt x="f92" y="f94"/>
                </a:cubicBezTo>
                <a:cubicBezTo>
                  <a:pt x="f92" y="f95"/>
                  <a:pt x="f96" y="f97"/>
                  <a:pt x="f90" y="f97"/>
                </a:cubicBezTo>
                <a:cubicBezTo>
                  <a:pt x="f98" y="f99"/>
                  <a:pt x="f100" y="f101"/>
                  <a:pt x="f100" y="f83"/>
                </a:cubicBezTo>
                <a:cubicBezTo>
                  <a:pt x="f100" y="f102"/>
                  <a:pt x="f98" y="f103"/>
                  <a:pt x="f104" y="f103"/>
                </a:cubicBezTo>
                <a:cubicBezTo>
                  <a:pt x="f105" y="f103"/>
                  <a:pt x="f26" y="f102"/>
                  <a:pt x="f26" y="f83"/>
                </a:cubicBezTo>
                <a:cubicBezTo>
                  <a:pt x="f26" y="f106"/>
                  <a:pt x="f105" y="f99"/>
                  <a:pt x="f107" y="f97"/>
                </a:cubicBezTo>
                <a:cubicBezTo>
                  <a:pt x="f108" y="f97"/>
                  <a:pt x="f104" y="f95"/>
                  <a:pt x="f104" y="f94"/>
                </a:cubicBezTo>
                <a:cubicBezTo>
                  <a:pt x="f104" y="f93"/>
                  <a:pt x="f108" y="f88"/>
                  <a:pt x="f109" y="f88"/>
                </a:cubicBezTo>
                <a:cubicBezTo>
                  <a:pt x="f109" y="f88"/>
                  <a:pt x="f110" y="f88"/>
                  <a:pt x="f110" y="f88"/>
                </a:cubicBezTo>
                <a:cubicBezTo>
                  <a:pt x="f111" y="f86"/>
                  <a:pt x="f41" y="f84"/>
                  <a:pt x="f41" y="f83"/>
                </a:cubicBezTo>
                <a:cubicBezTo>
                  <a:pt x="f41" y="f112"/>
                  <a:pt x="f33" y="f25"/>
                  <a:pt x="f105" y="f113"/>
                </a:cubicBezTo>
                <a:cubicBezTo>
                  <a:pt x="f105" y="f113"/>
                  <a:pt x="f105" y="f113"/>
                  <a:pt x="f105" y="f113"/>
                </a:cubicBezTo>
                <a:cubicBezTo>
                  <a:pt x="f33" y="f114"/>
                  <a:pt x="f115" y="f116"/>
                  <a:pt x="f115" y="f117"/>
                </a:cubicBezTo>
                <a:cubicBezTo>
                  <a:pt x="f115" y="f118"/>
                  <a:pt x="f26" y="f119"/>
                  <a:pt x="f110" y="f120"/>
                </a:cubicBezTo>
                <a:cubicBezTo>
                  <a:pt x="f110" y="f120"/>
                  <a:pt x="f109" y="f120"/>
                  <a:pt x="f109" y="f120"/>
                </a:cubicBezTo>
                <a:cubicBezTo>
                  <a:pt x="f108" y="f120"/>
                  <a:pt x="f104" y="f121"/>
                  <a:pt x="f104" y="f122"/>
                </a:cubicBezTo>
                <a:cubicBezTo>
                  <a:pt x="f104" y="f123"/>
                  <a:pt x="f108" y="f124"/>
                  <a:pt x="f107" y="f124"/>
                </a:cubicBezTo>
                <a:cubicBezTo>
                  <a:pt x="f105" y="f125"/>
                  <a:pt x="f111" y="f126"/>
                  <a:pt x="f111" y="f117"/>
                </a:cubicBezTo>
                <a:cubicBezTo>
                  <a:pt x="f111" y="f127"/>
                  <a:pt x="f128" y="f129"/>
                  <a:pt x="f92" y="f129"/>
                </a:cubicBezTo>
                <a:cubicBezTo>
                  <a:pt x="f130" y="f129"/>
                  <a:pt x="f85" y="f127"/>
                  <a:pt x="f85" y="f117"/>
                </a:cubicBezTo>
                <a:cubicBezTo>
                  <a:pt x="f85" y="f126"/>
                  <a:pt x="f98" y="f125"/>
                  <a:pt x="f90" y="f124"/>
                </a:cubicBezTo>
                <a:cubicBezTo>
                  <a:pt x="f96" y="f124"/>
                  <a:pt x="f92" y="f123"/>
                  <a:pt x="f92" y="f122"/>
                </a:cubicBezTo>
                <a:cubicBezTo>
                  <a:pt x="f92" y="f121"/>
                  <a:pt x="f91" y="f120"/>
                  <a:pt x="f90" y="f120"/>
                </a:cubicBezTo>
                <a:cubicBezTo>
                  <a:pt x="f90" y="f120"/>
                  <a:pt x="f89" y="f120"/>
                  <a:pt x="f87" y="f120"/>
                </a:cubicBezTo>
                <a:cubicBezTo>
                  <a:pt x="f100" y="f119"/>
                  <a:pt x="f42" y="f131"/>
                  <a:pt x="f42" y="f117"/>
                </a:cubicBezTo>
                <a:cubicBezTo>
                  <a:pt x="f42" y="f127"/>
                  <a:pt x="f132" y="f129"/>
                  <a:pt x="f133" y="f113"/>
                </a:cubicBezTo>
                <a:cubicBezTo>
                  <a:pt x="f133" y="f113"/>
                  <a:pt x="f133" y="f113"/>
                  <a:pt x="f133" y="f113"/>
                </a:cubicBezTo>
                <a:cubicBezTo>
                  <a:pt x="f132" y="f25"/>
                  <a:pt x="f134" y="f112"/>
                  <a:pt x="f82" y="f83"/>
                </a:cubicBezTo>
                <a:close/>
                <a:moveTo>
                  <a:pt x="f135" y="f63"/>
                </a:moveTo>
                <a:cubicBezTo>
                  <a:pt x="f73" y="f63"/>
                  <a:pt x="f37" y="f77"/>
                  <a:pt x="f37" y="f78"/>
                </a:cubicBezTo>
                <a:cubicBezTo>
                  <a:pt x="f37" y="f79"/>
                  <a:pt x="f37" y="f79"/>
                  <a:pt x="f37" y="f79"/>
                </a:cubicBezTo>
                <a:cubicBezTo>
                  <a:pt x="f37" y="f41"/>
                  <a:pt x="f73" y="f80"/>
                  <a:pt x="f135" y="f80"/>
                </a:cubicBezTo>
                <a:cubicBezTo>
                  <a:pt x="f136" y="f80"/>
                  <a:pt x="f136" y="f80"/>
                  <a:pt x="f136" y="f80"/>
                </a:cubicBezTo>
                <a:cubicBezTo>
                  <a:pt x="f137" y="f80"/>
                  <a:pt x="f138" y="f41"/>
                  <a:pt x="f138" y="f79"/>
                </a:cubicBezTo>
                <a:cubicBezTo>
                  <a:pt x="f138" y="f78"/>
                  <a:pt x="f138" y="f78"/>
                  <a:pt x="f138" y="f78"/>
                </a:cubicBezTo>
                <a:cubicBezTo>
                  <a:pt x="f138" y="f77"/>
                  <a:pt x="f137" y="f63"/>
                  <a:pt x="f136" y="f63"/>
                </a:cubicBezTo>
                <a:lnTo>
                  <a:pt x="f135" y="f63"/>
                </a:lnTo>
                <a:close/>
                <a:moveTo>
                  <a:pt x="f139" y="f88"/>
                </a:moveTo>
                <a:cubicBezTo>
                  <a:pt x="f140" y="f88"/>
                  <a:pt x="f135" y="f93"/>
                  <a:pt x="f135" y="f94"/>
                </a:cubicBezTo>
                <a:cubicBezTo>
                  <a:pt x="f135" y="f95"/>
                  <a:pt x="f140" y="f99"/>
                  <a:pt x="f139" y="f99"/>
                </a:cubicBezTo>
                <a:cubicBezTo>
                  <a:pt x="f141" y="f97"/>
                  <a:pt x="f142" y="f143"/>
                  <a:pt x="f142" y="f102"/>
                </a:cubicBezTo>
                <a:cubicBezTo>
                  <a:pt x="f142" y="f25"/>
                  <a:pt x="f144" y="f129"/>
                  <a:pt x="f141" y="f129"/>
                </a:cubicBezTo>
                <a:cubicBezTo>
                  <a:pt x="f145" y="f129"/>
                  <a:pt x="f146" y="f113"/>
                  <a:pt x="f147" y="f25"/>
                </a:cubicBezTo>
                <a:cubicBezTo>
                  <a:pt x="f139" y="f103"/>
                  <a:pt x="f148" y="f35"/>
                  <a:pt x="f148" y="f114"/>
                </a:cubicBezTo>
                <a:cubicBezTo>
                  <a:pt x="f148" y="f124"/>
                  <a:pt x="f148" y="f124"/>
                  <a:pt x="f148" y="f124"/>
                </a:cubicBezTo>
                <a:cubicBezTo>
                  <a:pt x="f148" y="f119"/>
                  <a:pt x="f149" y="f121"/>
                  <a:pt x="f147" y="f121"/>
                </a:cubicBezTo>
                <a:cubicBezTo>
                  <a:pt x="f142" y="f120"/>
                  <a:pt x="f142" y="f120"/>
                  <a:pt x="f142" y="f120"/>
                </a:cubicBezTo>
                <a:cubicBezTo>
                  <a:pt x="f150" y="f120"/>
                  <a:pt x="f36" y="f119"/>
                  <a:pt x="f36" y="f122"/>
                </a:cubicBezTo>
                <a:cubicBezTo>
                  <a:pt x="f36" y="f124"/>
                  <a:pt x="f150" y="f125"/>
                  <a:pt x="f142" y="f125"/>
                </a:cubicBezTo>
                <a:cubicBezTo>
                  <a:pt x="f147" y="f125"/>
                  <a:pt x="f147" y="f125"/>
                  <a:pt x="f147" y="f125"/>
                </a:cubicBezTo>
                <a:cubicBezTo>
                  <a:pt x="f147" y="f151"/>
                  <a:pt x="f147" y="f151"/>
                  <a:pt x="f147" y="f151"/>
                </a:cubicBezTo>
                <a:cubicBezTo>
                  <a:pt x="f152" y="f127"/>
                  <a:pt x="f153" y="f154"/>
                  <a:pt x="f141" y="f154"/>
                </a:cubicBezTo>
                <a:cubicBezTo>
                  <a:pt x="f155" y="f154"/>
                  <a:pt x="f136" y="f114"/>
                  <a:pt x="f136" y="f102"/>
                </a:cubicBezTo>
                <a:cubicBezTo>
                  <a:pt x="f136" y="f156"/>
                  <a:pt x="f157" y="f158"/>
                  <a:pt x="f139" y="f88"/>
                </a:cubicBezTo>
                <a:close/>
                <a:moveTo>
                  <a:pt x="f72" y="f159"/>
                </a:moveTo>
                <a:cubicBezTo>
                  <a:pt x="f71" y="f159"/>
                  <a:pt x="f71" y="f159"/>
                  <a:pt x="f71" y="f159"/>
                </a:cubicBezTo>
                <a:cubicBezTo>
                  <a:pt x="f69" y="f159"/>
                  <a:pt x="f66" y="f160"/>
                  <a:pt x="f66" y="f31"/>
                </a:cubicBezTo>
                <a:cubicBezTo>
                  <a:pt x="f66" y="f81"/>
                  <a:pt x="f69" y="f82"/>
                  <a:pt x="f71" y="f82"/>
                </a:cubicBezTo>
                <a:cubicBezTo>
                  <a:pt x="f72" y="f82"/>
                  <a:pt x="f72" y="f82"/>
                  <a:pt x="f72" y="f82"/>
                </a:cubicBezTo>
                <a:cubicBezTo>
                  <a:pt x="f9" y="f82"/>
                  <a:pt x="f13" y="f81"/>
                  <a:pt x="f13" y="f31"/>
                </a:cubicBezTo>
                <a:cubicBezTo>
                  <a:pt x="f13" y="f160"/>
                  <a:pt x="f9" y="f159"/>
                  <a:pt x="f72" y="f159"/>
                </a:cubicBezTo>
                <a:close/>
                <a:moveTo>
                  <a:pt x="f40" y="f78"/>
                </a:moveTo>
                <a:cubicBezTo>
                  <a:pt x="f40" y="f79"/>
                  <a:pt x="f40" y="f79"/>
                  <a:pt x="f40" y="f79"/>
                </a:cubicBezTo>
                <a:cubicBezTo>
                  <a:pt x="f40" y="f41"/>
                  <a:pt x="f161" y="f80"/>
                  <a:pt x="f55" y="f80"/>
                </a:cubicBezTo>
                <a:cubicBezTo>
                  <a:pt x="f162" y="f80"/>
                  <a:pt x="f162" y="f80"/>
                  <a:pt x="f162" y="f80"/>
                </a:cubicBezTo>
                <a:cubicBezTo>
                  <a:pt x="f163" y="f80"/>
                  <a:pt x="f70" y="f41"/>
                  <a:pt x="f70" y="f79"/>
                </a:cubicBezTo>
                <a:cubicBezTo>
                  <a:pt x="f70" y="f78"/>
                  <a:pt x="f70" y="f78"/>
                  <a:pt x="f70" y="f78"/>
                </a:cubicBezTo>
                <a:cubicBezTo>
                  <a:pt x="f70" y="f77"/>
                  <a:pt x="f163" y="f63"/>
                  <a:pt x="f162" y="f63"/>
                </a:cubicBezTo>
                <a:cubicBezTo>
                  <a:pt x="f55" y="f63"/>
                  <a:pt x="f55" y="f63"/>
                  <a:pt x="f55" y="f63"/>
                </a:cubicBezTo>
                <a:cubicBezTo>
                  <a:pt x="f161" y="f63"/>
                  <a:pt x="f40" y="f77"/>
                  <a:pt x="f40" y="f78"/>
                </a:cubicBezTo>
                <a:close/>
                <a:moveTo>
                  <a:pt x="f164" y="f125"/>
                </a:moveTo>
                <a:cubicBezTo>
                  <a:pt x="f45" y="f125"/>
                  <a:pt x="f52" y="f131"/>
                  <a:pt x="f165" y="f166"/>
                </a:cubicBezTo>
                <a:cubicBezTo>
                  <a:pt x="f165" y="f166"/>
                  <a:pt x="f167" y="f168"/>
                  <a:pt x="f169" y="f168"/>
                </a:cubicBezTo>
                <a:cubicBezTo>
                  <a:pt x="f53" y="f168"/>
                  <a:pt x="f170" y="f166"/>
                  <a:pt x="f170" y="f2"/>
                </a:cubicBezTo>
                <a:cubicBezTo>
                  <a:pt x="f55" y="f171"/>
                  <a:pt x="f170" y="f126"/>
                  <a:pt x="f170" y="f126"/>
                </a:cubicBezTo>
                <a:cubicBezTo>
                  <a:pt x="f169" y="f124"/>
                  <a:pt x="f172" y="f120"/>
                  <a:pt x="f164" y="f120"/>
                </a:cubicBezTo>
                <a:cubicBezTo>
                  <a:pt x="f18" y="f120"/>
                  <a:pt x="f173" y="f118"/>
                  <a:pt x="f173" y="f117"/>
                </a:cubicBezTo>
                <a:cubicBezTo>
                  <a:pt x="f173" y="f174"/>
                  <a:pt x="f175" y="f35"/>
                  <a:pt x="f164" y="f176"/>
                </a:cubicBezTo>
                <a:cubicBezTo>
                  <a:pt x="f177" y="f178"/>
                  <a:pt x="f165" y="f101"/>
                  <a:pt x="f165" y="f99"/>
                </a:cubicBezTo>
                <a:cubicBezTo>
                  <a:pt x="f20" y="f99"/>
                  <a:pt x="f20" y="f99"/>
                  <a:pt x="f20" y="f99"/>
                </a:cubicBezTo>
                <a:cubicBezTo>
                  <a:pt x="f173" y="f99"/>
                  <a:pt x="f162" y="f95"/>
                  <a:pt x="f162" y="f94"/>
                </a:cubicBezTo>
                <a:cubicBezTo>
                  <a:pt x="f162" y="f93"/>
                  <a:pt x="f173" y="f88"/>
                  <a:pt x="f20" y="f88"/>
                </a:cubicBezTo>
                <a:cubicBezTo>
                  <a:pt x="f167" y="f88"/>
                  <a:pt x="f167" y="f88"/>
                  <a:pt x="f167" y="f88"/>
                </a:cubicBezTo>
                <a:cubicBezTo>
                  <a:pt x="f179" y="f88"/>
                  <a:pt x="f170" y="f86"/>
                  <a:pt x="f170" y="f95"/>
                </a:cubicBezTo>
                <a:cubicBezTo>
                  <a:pt x="f170" y="f143"/>
                  <a:pt x="f169" y="f180"/>
                  <a:pt x="f181" y="f112"/>
                </a:cubicBezTo>
                <a:cubicBezTo>
                  <a:pt x="f182" y="f129"/>
                  <a:pt x="f18" y="f116"/>
                  <a:pt x="f18" y="f117"/>
                </a:cubicBezTo>
                <a:cubicBezTo>
                  <a:pt x="f18" y="f2"/>
                  <a:pt x="f72" y="f125"/>
                  <a:pt x="f164" y="f125"/>
                </a:cubicBezTo>
                <a:close/>
                <a:moveTo>
                  <a:pt x="f171" y="f63"/>
                </a:moveTo>
                <a:cubicBezTo>
                  <a:pt x="f123" y="f63"/>
                  <a:pt x="f183" y="f77"/>
                  <a:pt x="f183" y="f78"/>
                </a:cubicBezTo>
                <a:cubicBezTo>
                  <a:pt x="f183" y="f79"/>
                  <a:pt x="f183" y="f79"/>
                  <a:pt x="f183" y="f79"/>
                </a:cubicBezTo>
                <a:cubicBezTo>
                  <a:pt x="f183" y="f41"/>
                  <a:pt x="f123" y="f80"/>
                  <a:pt x="f171" y="f80"/>
                </a:cubicBezTo>
                <a:cubicBezTo>
                  <a:pt x="f101" y="f80"/>
                  <a:pt x="f101" y="f80"/>
                  <a:pt x="f101" y="f80"/>
                </a:cubicBezTo>
                <a:cubicBezTo>
                  <a:pt x="f95" y="f80"/>
                  <a:pt x="f88" y="f41"/>
                  <a:pt x="f88" y="f79"/>
                </a:cubicBezTo>
                <a:cubicBezTo>
                  <a:pt x="f88" y="f78"/>
                  <a:pt x="f88" y="f78"/>
                  <a:pt x="f88" y="f78"/>
                </a:cubicBezTo>
                <a:cubicBezTo>
                  <a:pt x="f88" y="f77"/>
                  <a:pt x="f95" y="f63"/>
                  <a:pt x="f101" y="f63"/>
                </a:cubicBezTo>
                <a:lnTo>
                  <a:pt x="f171" y="f63"/>
                </a:lnTo>
                <a:close/>
                <a:moveTo>
                  <a:pt x="f168" y="f88"/>
                </a:moveTo>
                <a:cubicBezTo>
                  <a:pt x="f2" y="f88"/>
                  <a:pt x="f171" y="f93"/>
                  <a:pt x="f171" y="f94"/>
                </a:cubicBezTo>
                <a:cubicBezTo>
                  <a:pt x="f171" y="f97"/>
                  <a:pt x="f2" y="f99"/>
                  <a:pt x="f168" y="f99"/>
                </a:cubicBezTo>
                <a:cubicBezTo>
                  <a:pt x="f103" y="f97"/>
                  <a:pt x="f83" y="f101"/>
                  <a:pt x="f83" y="f184"/>
                </a:cubicBezTo>
                <a:cubicBezTo>
                  <a:pt x="f83" y="f103"/>
                  <a:pt x="f184" y="f114"/>
                  <a:pt x="f25" y="f114"/>
                </a:cubicBezTo>
                <a:cubicBezTo>
                  <a:pt x="f114" y="f114"/>
                  <a:pt x="f129" y="f113"/>
                  <a:pt x="f174" y="f113"/>
                </a:cubicBezTo>
                <a:cubicBezTo>
                  <a:pt x="f116" y="f113"/>
                  <a:pt x="f127" y="f129"/>
                  <a:pt x="f127" y="f174"/>
                </a:cubicBezTo>
                <a:cubicBezTo>
                  <a:pt x="f127" y="f151"/>
                  <a:pt x="f127" y="f151"/>
                  <a:pt x="f116" y="f116"/>
                </a:cubicBezTo>
                <a:cubicBezTo>
                  <a:pt x="f184" y="f125"/>
                  <a:pt x="f184" y="f125"/>
                  <a:pt x="f184" y="f125"/>
                </a:cubicBezTo>
                <a:cubicBezTo>
                  <a:pt x="f168" y="f125"/>
                  <a:pt x="f168" y="f125"/>
                  <a:pt x="f168" y="f125"/>
                </a:cubicBezTo>
                <a:cubicBezTo>
                  <a:pt x="f2" y="f125"/>
                  <a:pt x="f171" y="f124"/>
                  <a:pt x="f171" y="f122"/>
                </a:cubicBezTo>
                <a:cubicBezTo>
                  <a:pt x="f171" y="f119"/>
                  <a:pt x="f2" y="f120"/>
                  <a:pt x="f168" y="f120"/>
                </a:cubicBezTo>
                <a:cubicBezTo>
                  <a:pt x="f185" y="f120"/>
                  <a:pt x="f185" y="f120"/>
                  <a:pt x="f185" y="f120"/>
                </a:cubicBezTo>
                <a:cubicBezTo>
                  <a:pt x="f83" y="f120"/>
                  <a:pt x="f178" y="f119"/>
                  <a:pt x="f178" y="f124"/>
                </a:cubicBezTo>
                <a:cubicBezTo>
                  <a:pt x="f178" y="f124"/>
                  <a:pt x="f178" y="f125"/>
                  <a:pt x="f186" y="f118"/>
                </a:cubicBezTo>
                <a:cubicBezTo>
                  <a:pt x="f103" y="f127"/>
                  <a:pt x="f103" y="f127"/>
                  <a:pt x="f103" y="f127"/>
                </a:cubicBezTo>
                <a:cubicBezTo>
                  <a:pt x="f185" y="f127"/>
                  <a:pt x="f101" y="f113"/>
                  <a:pt x="f101" y="f184"/>
                </a:cubicBezTo>
                <a:cubicBezTo>
                  <a:pt x="f101" y="f84"/>
                  <a:pt x="f112" y="f158"/>
                  <a:pt x="f168" y="f88"/>
                </a:cubicBezTo>
                <a:close/>
                <a:moveTo>
                  <a:pt x="f27" y="f79"/>
                </a:moveTo>
                <a:cubicBezTo>
                  <a:pt x="f27" y="f78"/>
                  <a:pt x="f27" y="f78"/>
                  <a:pt x="f27" y="f78"/>
                </a:cubicBezTo>
                <a:cubicBezTo>
                  <a:pt x="f27" y="f77"/>
                  <a:pt x="f187" y="f63"/>
                  <a:pt x="f8" y="f63"/>
                </a:cubicBezTo>
                <a:cubicBezTo>
                  <a:pt x="f188" y="f63"/>
                  <a:pt x="f188" y="f63"/>
                  <a:pt x="f188" y="f63"/>
                </a:cubicBezTo>
                <a:cubicBezTo>
                  <a:pt x="f189" y="f63"/>
                  <a:pt x="f159" y="f77"/>
                  <a:pt x="f159" y="f78"/>
                </a:cubicBezTo>
                <a:cubicBezTo>
                  <a:pt x="f159" y="f79"/>
                  <a:pt x="f159" y="f79"/>
                  <a:pt x="f159" y="f79"/>
                </a:cubicBezTo>
                <a:cubicBezTo>
                  <a:pt x="f159" y="f41"/>
                  <a:pt x="f189" y="f80"/>
                  <a:pt x="f188" y="f80"/>
                </a:cubicBezTo>
                <a:cubicBezTo>
                  <a:pt x="f8" y="f80"/>
                  <a:pt x="f8" y="f80"/>
                  <a:pt x="f8" y="f80"/>
                </a:cubicBezTo>
                <a:cubicBezTo>
                  <a:pt x="f187" y="f80"/>
                  <a:pt x="f27" y="f41"/>
                  <a:pt x="f27" y="f79"/>
                </a:cubicBezTo>
                <a:close/>
                <a:moveTo>
                  <a:pt x="f190" y="f88"/>
                </a:moveTo>
                <a:cubicBezTo>
                  <a:pt x="f44" y="f88"/>
                  <a:pt x="f191" y="f93"/>
                  <a:pt x="f192" y="f86"/>
                </a:cubicBezTo>
                <a:cubicBezTo>
                  <a:pt x="f192" y="f95"/>
                  <a:pt x="f44" y="f97"/>
                  <a:pt x="f190" y="f97"/>
                </a:cubicBezTo>
                <a:cubicBezTo>
                  <a:pt x="f193" y="f97"/>
                  <a:pt x="f194" y="f101"/>
                  <a:pt x="f194" y="f35"/>
                </a:cubicBezTo>
                <a:cubicBezTo>
                  <a:pt x="f194" y="f129"/>
                  <a:pt x="f194" y="f116"/>
                  <a:pt x="f194" y="f154"/>
                </a:cubicBezTo>
                <a:cubicBezTo>
                  <a:pt x="f195" y="f171"/>
                  <a:pt x="f196" y="f124"/>
                  <a:pt x="f51" y="f124"/>
                </a:cubicBezTo>
                <a:cubicBezTo>
                  <a:pt x="f71" y="f124"/>
                  <a:pt x="f190" y="f171"/>
                  <a:pt x="f190" y="f197"/>
                </a:cubicBezTo>
                <a:cubicBezTo>
                  <a:pt x="f190" y="f113"/>
                  <a:pt x="f198" y="f199"/>
                  <a:pt x="f51" y="f199"/>
                </a:cubicBezTo>
                <a:cubicBezTo>
                  <a:pt x="f200" y="f199"/>
                  <a:pt x="f201" y="f103"/>
                  <a:pt x="f19" y="f25"/>
                </a:cubicBezTo>
                <a:cubicBezTo>
                  <a:pt x="f196" y="f25"/>
                  <a:pt x="f202" y="f103"/>
                  <a:pt x="f202" y="f199"/>
                </a:cubicBezTo>
                <a:cubicBezTo>
                  <a:pt x="f12" y="f203"/>
                  <a:pt x="f202" y="f112"/>
                  <a:pt x="f14" y="f102"/>
                </a:cubicBezTo>
                <a:cubicBezTo>
                  <a:pt x="f193" y="f102"/>
                  <a:pt x="f201" y="f184"/>
                  <a:pt x="f51" y="f184"/>
                </a:cubicBezTo>
                <a:cubicBezTo>
                  <a:pt x="f204" y="f184"/>
                  <a:pt x="f205" y="f103"/>
                  <a:pt x="f205" y="f206"/>
                </a:cubicBezTo>
                <a:cubicBezTo>
                  <a:pt x="f205" y="f126"/>
                  <a:pt x="f204" y="f120"/>
                  <a:pt x="f51" y="f120"/>
                </a:cubicBezTo>
                <a:cubicBezTo>
                  <a:pt x="f207" y="f120"/>
                  <a:pt x="f8" y="f118"/>
                  <a:pt x="f208" y="f154"/>
                </a:cubicBezTo>
                <a:cubicBezTo>
                  <a:pt x="f208" y="f116"/>
                  <a:pt x="f208" y="f174"/>
                  <a:pt x="f208" y="f35"/>
                </a:cubicBezTo>
                <a:cubicBezTo>
                  <a:pt x="f8" y="f84"/>
                  <a:pt x="f14" y="f88"/>
                  <a:pt x="f190" y="f88"/>
                </a:cubicBezTo>
                <a:close/>
              </a:path>
            </a:pathLst>
          </a:custGeom>
          <a:solidFill>
            <a:srgbClr val="B1B3B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sv-SE" sz="2000" b="0" i="0" u="none" strike="noStrike" kern="1200" cap="none" spc="0" baseline="0">
              <a:uFillTx/>
              <a:latin typeface="Arial"/>
            </a:endParaRPr>
          </a:p>
        </p:txBody>
      </p:sp>
      <p:sp>
        <p:nvSpPr>
          <p:cNvPr id="25" name="Freeform 3">
            <a:extLst>
              <a:ext uri="{FF2B5EF4-FFF2-40B4-BE49-F238E27FC236}">
                <a16:creationId xmlns:a16="http://schemas.microsoft.com/office/drawing/2014/main" id="{C85E6CEF-BB62-4331-9152-F91EE09515B0}"/>
              </a:ext>
            </a:extLst>
          </p:cNvPr>
          <p:cNvSpPr>
            <a:spLocks noChangeAspect="1" noEditPoints="1"/>
          </p:cNvSpPr>
          <p:nvPr/>
        </p:nvSpPr>
        <p:spPr bwMode="auto">
          <a:xfrm rot="20274559">
            <a:off x="7391734" y="4643176"/>
            <a:ext cx="354987" cy="411327"/>
          </a:xfrm>
          <a:custGeom>
            <a:avLst/>
            <a:gdLst>
              <a:gd name="T0" fmla="*/ 2147483646 w 355"/>
              <a:gd name="T1" fmla="*/ 2147483646 h 411"/>
              <a:gd name="T2" fmla="*/ 2147483646 w 355"/>
              <a:gd name="T3" fmla="*/ 2147483646 h 411"/>
              <a:gd name="T4" fmla="*/ 2147483646 w 355"/>
              <a:gd name="T5" fmla="*/ 2147483646 h 411"/>
              <a:gd name="T6" fmla="*/ 2147483646 w 355"/>
              <a:gd name="T7" fmla="*/ 2147483646 h 411"/>
              <a:gd name="T8" fmla="*/ 2147483646 w 355"/>
              <a:gd name="T9" fmla="*/ 2147483646 h 411"/>
              <a:gd name="T10" fmla="*/ 2147483646 w 355"/>
              <a:gd name="T11" fmla="*/ 2147483646 h 411"/>
              <a:gd name="T12" fmla="*/ 2147483646 w 355"/>
              <a:gd name="T13" fmla="*/ 2147483646 h 411"/>
              <a:gd name="T14" fmla="*/ 2147483646 w 355"/>
              <a:gd name="T15" fmla="*/ 2147483646 h 411"/>
              <a:gd name="T16" fmla="*/ 2147483646 w 355"/>
              <a:gd name="T17" fmla="*/ 2147483646 h 411"/>
              <a:gd name="T18" fmla="*/ 2147483646 w 355"/>
              <a:gd name="T19" fmla="*/ 2147483646 h 411"/>
              <a:gd name="T20" fmla="*/ 2147483646 w 355"/>
              <a:gd name="T21" fmla="*/ 2147483646 h 411"/>
              <a:gd name="T22" fmla="*/ 2147483646 w 355"/>
              <a:gd name="T23" fmla="*/ 2147483646 h 411"/>
              <a:gd name="T24" fmla="*/ 2147483646 w 355"/>
              <a:gd name="T25" fmla="*/ 2147483646 h 411"/>
              <a:gd name="T26" fmla="*/ 2147483646 w 355"/>
              <a:gd name="T27" fmla="*/ 2147483646 h 411"/>
              <a:gd name="T28" fmla="*/ 2147483646 w 355"/>
              <a:gd name="T29" fmla="*/ 2147483646 h 411"/>
              <a:gd name="T30" fmla="*/ 2147483646 w 355"/>
              <a:gd name="T31" fmla="*/ 2147483646 h 411"/>
              <a:gd name="T32" fmla="*/ 2147483646 w 355"/>
              <a:gd name="T33" fmla="*/ 2147483646 h 411"/>
              <a:gd name="T34" fmla="*/ 2147483646 w 355"/>
              <a:gd name="T35" fmla="*/ 2147483646 h 411"/>
              <a:gd name="T36" fmla="*/ 2147483646 w 355"/>
              <a:gd name="T37" fmla="*/ 2147483646 h 411"/>
              <a:gd name="T38" fmla="*/ 2147483646 w 355"/>
              <a:gd name="T39" fmla="*/ 2147483646 h 411"/>
              <a:gd name="T40" fmla="*/ 2147483646 w 355"/>
              <a:gd name="T41" fmla="*/ 2147483646 h 411"/>
              <a:gd name="T42" fmla="*/ 2147483646 w 355"/>
              <a:gd name="T43" fmla="*/ 2147483646 h 411"/>
              <a:gd name="T44" fmla="*/ 2147483646 w 355"/>
              <a:gd name="T45" fmla="*/ 2147483646 h 411"/>
              <a:gd name="T46" fmla="*/ 2147483646 w 355"/>
              <a:gd name="T47" fmla="*/ 2147483646 h 411"/>
              <a:gd name="T48" fmla="*/ 2147483646 w 355"/>
              <a:gd name="T49" fmla="*/ 2147483646 h 411"/>
              <a:gd name="T50" fmla="*/ 2147483646 w 355"/>
              <a:gd name="T51" fmla="*/ 2147483646 h 411"/>
              <a:gd name="T52" fmla="*/ 2147483646 w 355"/>
              <a:gd name="T53" fmla="*/ 2147483646 h 411"/>
              <a:gd name="T54" fmla="*/ 2147483646 w 355"/>
              <a:gd name="T55" fmla="*/ 2147483646 h 411"/>
              <a:gd name="T56" fmla="*/ 2147483646 w 355"/>
              <a:gd name="T57" fmla="*/ 2147483646 h 411"/>
              <a:gd name="T58" fmla="*/ 2147483646 w 355"/>
              <a:gd name="T59" fmla="*/ 2147483646 h 411"/>
              <a:gd name="T60" fmla="*/ 2147483646 w 355"/>
              <a:gd name="T61" fmla="*/ 2147483646 h 411"/>
              <a:gd name="T62" fmla="*/ 2147483646 w 355"/>
              <a:gd name="T63" fmla="*/ 2147483646 h 411"/>
              <a:gd name="T64" fmla="*/ 2147483646 w 355"/>
              <a:gd name="T65" fmla="*/ 2147483646 h 411"/>
              <a:gd name="T66" fmla="*/ 2147483646 w 355"/>
              <a:gd name="T67" fmla="*/ 2147483646 h 411"/>
              <a:gd name="T68" fmla="*/ 2147483646 w 355"/>
              <a:gd name="T69" fmla="*/ 2147483646 h 411"/>
              <a:gd name="T70" fmla="*/ 2147483646 w 355"/>
              <a:gd name="T71" fmla="*/ 2147483646 h 411"/>
              <a:gd name="T72" fmla="*/ 2147483646 w 355"/>
              <a:gd name="T73" fmla="*/ 2147483646 h 411"/>
              <a:gd name="T74" fmla="*/ 2147483646 w 355"/>
              <a:gd name="T75" fmla="*/ 2147483646 h 411"/>
              <a:gd name="T76" fmla="*/ 2147483646 w 355"/>
              <a:gd name="T77" fmla="*/ 2147483646 h 411"/>
              <a:gd name="T78" fmla="*/ 2147483646 w 355"/>
              <a:gd name="T79" fmla="*/ 2147483646 h 411"/>
              <a:gd name="T80" fmla="*/ 2147483646 w 355"/>
              <a:gd name="T81" fmla="*/ 2147483646 h 411"/>
              <a:gd name="T82" fmla="*/ 2147483646 w 355"/>
              <a:gd name="T83" fmla="*/ 2147483646 h 411"/>
              <a:gd name="T84" fmla="*/ 2147483646 w 355"/>
              <a:gd name="T85" fmla="*/ 2147483646 h 411"/>
              <a:gd name="T86" fmla="*/ 2147483646 w 355"/>
              <a:gd name="T87" fmla="*/ 2147483646 h 411"/>
              <a:gd name="T88" fmla="*/ 2147483646 w 355"/>
              <a:gd name="T89" fmla="*/ 2147483646 h 411"/>
              <a:gd name="T90" fmla="*/ 2147483646 w 355"/>
              <a:gd name="T91" fmla="*/ 2147483646 h 411"/>
              <a:gd name="T92" fmla="*/ 2147483646 w 355"/>
              <a:gd name="T93" fmla="*/ 2147483646 h 411"/>
              <a:gd name="T94" fmla="*/ 2147483646 w 355"/>
              <a:gd name="T95" fmla="*/ 2147483646 h 411"/>
              <a:gd name="T96" fmla="*/ 2147483646 w 355"/>
              <a:gd name="T97" fmla="*/ 2147483646 h 411"/>
              <a:gd name="T98" fmla="*/ 2147483646 w 355"/>
              <a:gd name="T99" fmla="*/ 2147483646 h 41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55" h="411">
                <a:moveTo>
                  <a:pt x="204" y="143"/>
                </a:moveTo>
                <a:cubicBezTo>
                  <a:pt x="204" y="144"/>
                  <a:pt x="206" y="146"/>
                  <a:pt x="208" y="146"/>
                </a:cubicBezTo>
                <a:cubicBezTo>
                  <a:pt x="215" y="146"/>
                  <a:pt x="229" y="145"/>
                  <a:pt x="243" y="136"/>
                </a:cubicBezTo>
                <a:cubicBezTo>
                  <a:pt x="264" y="121"/>
                  <a:pt x="268" y="97"/>
                  <a:pt x="269" y="98"/>
                </a:cubicBezTo>
                <a:cubicBezTo>
                  <a:pt x="271" y="99"/>
                  <a:pt x="268" y="126"/>
                  <a:pt x="248" y="143"/>
                </a:cubicBezTo>
                <a:cubicBezTo>
                  <a:pt x="237" y="153"/>
                  <a:pt x="223" y="154"/>
                  <a:pt x="215" y="155"/>
                </a:cubicBezTo>
                <a:cubicBezTo>
                  <a:pt x="212" y="156"/>
                  <a:pt x="215" y="159"/>
                  <a:pt x="216" y="160"/>
                </a:cubicBezTo>
                <a:cubicBezTo>
                  <a:pt x="229" y="168"/>
                  <a:pt x="257" y="170"/>
                  <a:pt x="275" y="145"/>
                </a:cubicBezTo>
                <a:cubicBezTo>
                  <a:pt x="291" y="123"/>
                  <a:pt x="290" y="99"/>
                  <a:pt x="284" y="71"/>
                </a:cubicBezTo>
                <a:cubicBezTo>
                  <a:pt x="283" y="69"/>
                  <a:pt x="282" y="68"/>
                  <a:pt x="280" y="70"/>
                </a:cubicBezTo>
                <a:cubicBezTo>
                  <a:pt x="254" y="98"/>
                  <a:pt x="231" y="89"/>
                  <a:pt x="213" y="103"/>
                </a:cubicBezTo>
                <a:cubicBezTo>
                  <a:pt x="200" y="115"/>
                  <a:pt x="199" y="131"/>
                  <a:pt x="204" y="143"/>
                </a:cubicBezTo>
                <a:close/>
                <a:moveTo>
                  <a:pt x="354" y="309"/>
                </a:moveTo>
                <a:cubicBezTo>
                  <a:pt x="353" y="304"/>
                  <a:pt x="349" y="301"/>
                  <a:pt x="344" y="302"/>
                </a:cubicBezTo>
                <a:cubicBezTo>
                  <a:pt x="340" y="303"/>
                  <a:pt x="337" y="307"/>
                  <a:pt x="338" y="311"/>
                </a:cubicBezTo>
                <a:cubicBezTo>
                  <a:pt x="338" y="315"/>
                  <a:pt x="339" y="316"/>
                  <a:pt x="339" y="319"/>
                </a:cubicBezTo>
                <a:cubicBezTo>
                  <a:pt x="338" y="333"/>
                  <a:pt x="334" y="344"/>
                  <a:pt x="325" y="354"/>
                </a:cubicBezTo>
                <a:cubicBezTo>
                  <a:pt x="317" y="364"/>
                  <a:pt x="305" y="372"/>
                  <a:pt x="292" y="378"/>
                </a:cubicBezTo>
                <a:cubicBezTo>
                  <a:pt x="272" y="388"/>
                  <a:pt x="227" y="395"/>
                  <a:pt x="192" y="395"/>
                </a:cubicBezTo>
                <a:cubicBezTo>
                  <a:pt x="180" y="395"/>
                  <a:pt x="169" y="394"/>
                  <a:pt x="161" y="393"/>
                </a:cubicBezTo>
                <a:cubicBezTo>
                  <a:pt x="132" y="387"/>
                  <a:pt x="77" y="350"/>
                  <a:pt x="56" y="328"/>
                </a:cubicBezTo>
                <a:cubicBezTo>
                  <a:pt x="47" y="319"/>
                  <a:pt x="36" y="298"/>
                  <a:pt x="29" y="277"/>
                </a:cubicBezTo>
                <a:cubicBezTo>
                  <a:pt x="21" y="257"/>
                  <a:pt x="16" y="235"/>
                  <a:pt x="16" y="227"/>
                </a:cubicBezTo>
                <a:cubicBezTo>
                  <a:pt x="16" y="227"/>
                  <a:pt x="16" y="226"/>
                  <a:pt x="16" y="226"/>
                </a:cubicBezTo>
                <a:cubicBezTo>
                  <a:pt x="16" y="226"/>
                  <a:pt x="16" y="226"/>
                  <a:pt x="16" y="226"/>
                </a:cubicBezTo>
                <a:cubicBezTo>
                  <a:pt x="17" y="220"/>
                  <a:pt x="27" y="213"/>
                  <a:pt x="34" y="213"/>
                </a:cubicBezTo>
                <a:cubicBezTo>
                  <a:pt x="37" y="213"/>
                  <a:pt x="40" y="214"/>
                  <a:pt x="43" y="217"/>
                </a:cubicBezTo>
                <a:cubicBezTo>
                  <a:pt x="55" y="229"/>
                  <a:pt x="60" y="240"/>
                  <a:pt x="67" y="257"/>
                </a:cubicBezTo>
                <a:cubicBezTo>
                  <a:pt x="68" y="258"/>
                  <a:pt x="68" y="258"/>
                  <a:pt x="68" y="259"/>
                </a:cubicBezTo>
                <a:cubicBezTo>
                  <a:pt x="63" y="261"/>
                  <a:pt x="59" y="264"/>
                  <a:pt x="56" y="267"/>
                </a:cubicBezTo>
                <a:cubicBezTo>
                  <a:pt x="51" y="272"/>
                  <a:pt x="48" y="278"/>
                  <a:pt x="47" y="285"/>
                </a:cubicBezTo>
                <a:cubicBezTo>
                  <a:pt x="46" y="287"/>
                  <a:pt x="46" y="289"/>
                  <a:pt x="46" y="291"/>
                </a:cubicBezTo>
                <a:cubicBezTo>
                  <a:pt x="46" y="292"/>
                  <a:pt x="46" y="293"/>
                  <a:pt x="46" y="294"/>
                </a:cubicBezTo>
                <a:cubicBezTo>
                  <a:pt x="47" y="303"/>
                  <a:pt x="53" y="311"/>
                  <a:pt x="60" y="317"/>
                </a:cubicBezTo>
                <a:cubicBezTo>
                  <a:pt x="63" y="320"/>
                  <a:pt x="66" y="323"/>
                  <a:pt x="70" y="326"/>
                </a:cubicBezTo>
                <a:cubicBezTo>
                  <a:pt x="72" y="327"/>
                  <a:pt x="73" y="329"/>
                  <a:pt x="75" y="330"/>
                </a:cubicBezTo>
                <a:cubicBezTo>
                  <a:pt x="79" y="333"/>
                  <a:pt x="83" y="336"/>
                  <a:pt x="88" y="339"/>
                </a:cubicBezTo>
                <a:cubicBezTo>
                  <a:pt x="100" y="347"/>
                  <a:pt x="119" y="352"/>
                  <a:pt x="138" y="356"/>
                </a:cubicBezTo>
                <a:cubicBezTo>
                  <a:pt x="146" y="358"/>
                  <a:pt x="154" y="359"/>
                  <a:pt x="162" y="360"/>
                </a:cubicBezTo>
                <a:cubicBezTo>
                  <a:pt x="170" y="361"/>
                  <a:pt x="177" y="362"/>
                  <a:pt x="184" y="362"/>
                </a:cubicBezTo>
                <a:cubicBezTo>
                  <a:pt x="185" y="362"/>
                  <a:pt x="187" y="362"/>
                  <a:pt x="188" y="362"/>
                </a:cubicBezTo>
                <a:cubicBezTo>
                  <a:pt x="190" y="362"/>
                  <a:pt x="191" y="362"/>
                  <a:pt x="192" y="362"/>
                </a:cubicBezTo>
                <a:cubicBezTo>
                  <a:pt x="196" y="362"/>
                  <a:pt x="200" y="358"/>
                  <a:pt x="200" y="354"/>
                </a:cubicBezTo>
                <a:cubicBezTo>
                  <a:pt x="199" y="352"/>
                  <a:pt x="199" y="350"/>
                  <a:pt x="198" y="349"/>
                </a:cubicBezTo>
                <a:cubicBezTo>
                  <a:pt x="197" y="348"/>
                  <a:pt x="196" y="347"/>
                  <a:pt x="194" y="346"/>
                </a:cubicBezTo>
                <a:cubicBezTo>
                  <a:pt x="193" y="346"/>
                  <a:pt x="192" y="346"/>
                  <a:pt x="191" y="346"/>
                </a:cubicBezTo>
                <a:cubicBezTo>
                  <a:pt x="190" y="346"/>
                  <a:pt x="189" y="346"/>
                  <a:pt x="188" y="346"/>
                </a:cubicBezTo>
                <a:cubicBezTo>
                  <a:pt x="186" y="346"/>
                  <a:pt x="183" y="346"/>
                  <a:pt x="180" y="346"/>
                </a:cubicBezTo>
                <a:cubicBezTo>
                  <a:pt x="170" y="345"/>
                  <a:pt x="156" y="344"/>
                  <a:pt x="143" y="341"/>
                </a:cubicBezTo>
                <a:cubicBezTo>
                  <a:pt x="142" y="341"/>
                  <a:pt x="142" y="341"/>
                  <a:pt x="141" y="340"/>
                </a:cubicBezTo>
                <a:cubicBezTo>
                  <a:pt x="123" y="337"/>
                  <a:pt x="106" y="331"/>
                  <a:pt x="97" y="325"/>
                </a:cubicBezTo>
                <a:cubicBezTo>
                  <a:pt x="92" y="322"/>
                  <a:pt x="88" y="320"/>
                  <a:pt x="84" y="317"/>
                </a:cubicBezTo>
                <a:cubicBezTo>
                  <a:pt x="82" y="315"/>
                  <a:pt x="79" y="313"/>
                  <a:pt x="77" y="311"/>
                </a:cubicBezTo>
                <a:cubicBezTo>
                  <a:pt x="75" y="309"/>
                  <a:pt x="73" y="308"/>
                  <a:pt x="71" y="306"/>
                </a:cubicBezTo>
                <a:cubicBezTo>
                  <a:pt x="70" y="305"/>
                  <a:pt x="69" y="304"/>
                  <a:pt x="68" y="303"/>
                </a:cubicBezTo>
                <a:cubicBezTo>
                  <a:pt x="64" y="298"/>
                  <a:pt x="62" y="295"/>
                  <a:pt x="62" y="292"/>
                </a:cubicBezTo>
                <a:cubicBezTo>
                  <a:pt x="62" y="291"/>
                  <a:pt x="62" y="291"/>
                  <a:pt x="62" y="291"/>
                </a:cubicBezTo>
                <a:cubicBezTo>
                  <a:pt x="62" y="290"/>
                  <a:pt x="62" y="289"/>
                  <a:pt x="62" y="288"/>
                </a:cubicBezTo>
                <a:cubicBezTo>
                  <a:pt x="62" y="287"/>
                  <a:pt x="63" y="286"/>
                  <a:pt x="63" y="284"/>
                </a:cubicBezTo>
                <a:cubicBezTo>
                  <a:pt x="65" y="280"/>
                  <a:pt x="68" y="278"/>
                  <a:pt x="71" y="276"/>
                </a:cubicBezTo>
                <a:cubicBezTo>
                  <a:pt x="74" y="273"/>
                  <a:pt x="78" y="272"/>
                  <a:pt x="83" y="272"/>
                </a:cubicBezTo>
                <a:cubicBezTo>
                  <a:pt x="83" y="272"/>
                  <a:pt x="83" y="272"/>
                  <a:pt x="84" y="272"/>
                </a:cubicBezTo>
                <a:cubicBezTo>
                  <a:pt x="84" y="272"/>
                  <a:pt x="84" y="272"/>
                  <a:pt x="84" y="272"/>
                </a:cubicBezTo>
                <a:cubicBezTo>
                  <a:pt x="86" y="272"/>
                  <a:pt x="88" y="272"/>
                  <a:pt x="89" y="273"/>
                </a:cubicBezTo>
                <a:cubicBezTo>
                  <a:pt x="90" y="273"/>
                  <a:pt x="91" y="273"/>
                  <a:pt x="93" y="274"/>
                </a:cubicBezTo>
                <a:cubicBezTo>
                  <a:pt x="97" y="275"/>
                  <a:pt x="105" y="278"/>
                  <a:pt x="113" y="282"/>
                </a:cubicBezTo>
                <a:cubicBezTo>
                  <a:pt x="116" y="282"/>
                  <a:pt x="118" y="283"/>
                  <a:pt x="121" y="284"/>
                </a:cubicBezTo>
                <a:cubicBezTo>
                  <a:pt x="132" y="288"/>
                  <a:pt x="145" y="293"/>
                  <a:pt x="161" y="296"/>
                </a:cubicBezTo>
                <a:cubicBezTo>
                  <a:pt x="165" y="297"/>
                  <a:pt x="169" y="297"/>
                  <a:pt x="173" y="297"/>
                </a:cubicBezTo>
                <a:cubicBezTo>
                  <a:pt x="183" y="297"/>
                  <a:pt x="193" y="296"/>
                  <a:pt x="203" y="293"/>
                </a:cubicBezTo>
                <a:cubicBezTo>
                  <a:pt x="215" y="291"/>
                  <a:pt x="226" y="287"/>
                  <a:pt x="238" y="284"/>
                </a:cubicBezTo>
                <a:cubicBezTo>
                  <a:pt x="248" y="281"/>
                  <a:pt x="257" y="279"/>
                  <a:pt x="266" y="276"/>
                </a:cubicBezTo>
                <a:cubicBezTo>
                  <a:pt x="278" y="273"/>
                  <a:pt x="289" y="271"/>
                  <a:pt x="299" y="271"/>
                </a:cubicBezTo>
                <a:cubicBezTo>
                  <a:pt x="302" y="271"/>
                  <a:pt x="306" y="272"/>
                  <a:pt x="309" y="272"/>
                </a:cubicBezTo>
                <a:cubicBezTo>
                  <a:pt x="317" y="274"/>
                  <a:pt x="319" y="276"/>
                  <a:pt x="327" y="286"/>
                </a:cubicBezTo>
                <a:cubicBezTo>
                  <a:pt x="330" y="290"/>
                  <a:pt x="335" y="290"/>
                  <a:pt x="338" y="288"/>
                </a:cubicBezTo>
                <a:cubicBezTo>
                  <a:pt x="342" y="285"/>
                  <a:pt x="343" y="280"/>
                  <a:pt x="340" y="276"/>
                </a:cubicBezTo>
                <a:cubicBezTo>
                  <a:pt x="340" y="276"/>
                  <a:pt x="340" y="276"/>
                  <a:pt x="340" y="276"/>
                </a:cubicBezTo>
                <a:cubicBezTo>
                  <a:pt x="332" y="266"/>
                  <a:pt x="324" y="259"/>
                  <a:pt x="312" y="257"/>
                </a:cubicBezTo>
                <a:cubicBezTo>
                  <a:pt x="308" y="256"/>
                  <a:pt x="303" y="255"/>
                  <a:pt x="299" y="255"/>
                </a:cubicBezTo>
                <a:cubicBezTo>
                  <a:pt x="286" y="255"/>
                  <a:pt x="272" y="258"/>
                  <a:pt x="258" y="262"/>
                </a:cubicBezTo>
                <a:cubicBezTo>
                  <a:pt x="256" y="258"/>
                  <a:pt x="254" y="255"/>
                  <a:pt x="249" y="251"/>
                </a:cubicBezTo>
                <a:cubicBezTo>
                  <a:pt x="237" y="243"/>
                  <a:pt x="230" y="249"/>
                  <a:pt x="221" y="243"/>
                </a:cubicBezTo>
                <a:cubicBezTo>
                  <a:pt x="216" y="240"/>
                  <a:pt x="211" y="236"/>
                  <a:pt x="204" y="233"/>
                </a:cubicBezTo>
                <a:cubicBezTo>
                  <a:pt x="205" y="216"/>
                  <a:pt x="205" y="180"/>
                  <a:pt x="196" y="153"/>
                </a:cubicBezTo>
                <a:cubicBezTo>
                  <a:pt x="192" y="139"/>
                  <a:pt x="183" y="125"/>
                  <a:pt x="176" y="115"/>
                </a:cubicBezTo>
                <a:cubicBezTo>
                  <a:pt x="174" y="112"/>
                  <a:pt x="173" y="112"/>
                  <a:pt x="175" y="117"/>
                </a:cubicBezTo>
                <a:cubicBezTo>
                  <a:pt x="179" y="128"/>
                  <a:pt x="186" y="143"/>
                  <a:pt x="187" y="158"/>
                </a:cubicBezTo>
                <a:cubicBezTo>
                  <a:pt x="188" y="187"/>
                  <a:pt x="182" y="216"/>
                  <a:pt x="178" y="232"/>
                </a:cubicBezTo>
                <a:cubicBezTo>
                  <a:pt x="169" y="234"/>
                  <a:pt x="167" y="240"/>
                  <a:pt x="158" y="243"/>
                </a:cubicBezTo>
                <a:cubicBezTo>
                  <a:pt x="151" y="246"/>
                  <a:pt x="144" y="244"/>
                  <a:pt x="138" y="244"/>
                </a:cubicBezTo>
                <a:cubicBezTo>
                  <a:pt x="134" y="235"/>
                  <a:pt x="126" y="221"/>
                  <a:pt x="123" y="216"/>
                </a:cubicBezTo>
                <a:cubicBezTo>
                  <a:pt x="119" y="210"/>
                  <a:pt x="113" y="208"/>
                  <a:pt x="108" y="208"/>
                </a:cubicBezTo>
                <a:cubicBezTo>
                  <a:pt x="101" y="208"/>
                  <a:pt x="95" y="211"/>
                  <a:pt x="93" y="213"/>
                </a:cubicBezTo>
                <a:cubicBezTo>
                  <a:pt x="92" y="212"/>
                  <a:pt x="92" y="212"/>
                  <a:pt x="91" y="211"/>
                </a:cubicBezTo>
                <a:cubicBezTo>
                  <a:pt x="87" y="206"/>
                  <a:pt x="81" y="204"/>
                  <a:pt x="76" y="204"/>
                </a:cubicBezTo>
                <a:cubicBezTo>
                  <a:pt x="68" y="205"/>
                  <a:pt x="61" y="208"/>
                  <a:pt x="58" y="210"/>
                </a:cubicBezTo>
                <a:cubicBezTo>
                  <a:pt x="57" y="208"/>
                  <a:pt x="56" y="207"/>
                  <a:pt x="54" y="206"/>
                </a:cubicBezTo>
                <a:cubicBezTo>
                  <a:pt x="48" y="200"/>
                  <a:pt x="41" y="197"/>
                  <a:pt x="34" y="197"/>
                </a:cubicBezTo>
                <a:cubicBezTo>
                  <a:pt x="18" y="198"/>
                  <a:pt x="5" y="208"/>
                  <a:pt x="1" y="221"/>
                </a:cubicBezTo>
                <a:cubicBezTo>
                  <a:pt x="0" y="223"/>
                  <a:pt x="0" y="225"/>
                  <a:pt x="0" y="227"/>
                </a:cubicBezTo>
                <a:cubicBezTo>
                  <a:pt x="0" y="240"/>
                  <a:pt x="6" y="261"/>
                  <a:pt x="14" y="283"/>
                </a:cubicBezTo>
                <a:cubicBezTo>
                  <a:pt x="22" y="304"/>
                  <a:pt x="32" y="326"/>
                  <a:pt x="44" y="339"/>
                </a:cubicBezTo>
                <a:cubicBezTo>
                  <a:pt x="68" y="364"/>
                  <a:pt x="122" y="400"/>
                  <a:pt x="158" y="408"/>
                </a:cubicBezTo>
                <a:cubicBezTo>
                  <a:pt x="167" y="410"/>
                  <a:pt x="179" y="411"/>
                  <a:pt x="192" y="411"/>
                </a:cubicBezTo>
                <a:cubicBezTo>
                  <a:pt x="229" y="411"/>
                  <a:pt x="275" y="404"/>
                  <a:pt x="299" y="392"/>
                </a:cubicBezTo>
                <a:cubicBezTo>
                  <a:pt x="314" y="385"/>
                  <a:pt x="327" y="376"/>
                  <a:pt x="338" y="364"/>
                </a:cubicBezTo>
                <a:cubicBezTo>
                  <a:pt x="348" y="352"/>
                  <a:pt x="355" y="337"/>
                  <a:pt x="355" y="319"/>
                </a:cubicBezTo>
                <a:cubicBezTo>
                  <a:pt x="355" y="316"/>
                  <a:pt x="354" y="313"/>
                  <a:pt x="354" y="309"/>
                </a:cubicBezTo>
                <a:close/>
                <a:moveTo>
                  <a:pt x="108" y="224"/>
                </a:moveTo>
                <a:cubicBezTo>
                  <a:pt x="109" y="224"/>
                  <a:pt x="109" y="224"/>
                  <a:pt x="110" y="225"/>
                </a:cubicBezTo>
                <a:cubicBezTo>
                  <a:pt x="112" y="228"/>
                  <a:pt x="120" y="243"/>
                  <a:pt x="124" y="251"/>
                </a:cubicBezTo>
                <a:cubicBezTo>
                  <a:pt x="121" y="254"/>
                  <a:pt x="118" y="258"/>
                  <a:pt x="117" y="261"/>
                </a:cubicBezTo>
                <a:cubicBezTo>
                  <a:pt x="114" y="251"/>
                  <a:pt x="107" y="237"/>
                  <a:pt x="101" y="226"/>
                </a:cubicBezTo>
                <a:cubicBezTo>
                  <a:pt x="103" y="225"/>
                  <a:pt x="106" y="224"/>
                  <a:pt x="108" y="224"/>
                </a:cubicBezTo>
                <a:close/>
                <a:moveTo>
                  <a:pt x="76" y="220"/>
                </a:moveTo>
                <a:cubicBezTo>
                  <a:pt x="78" y="221"/>
                  <a:pt x="78" y="221"/>
                  <a:pt x="79" y="222"/>
                </a:cubicBezTo>
                <a:cubicBezTo>
                  <a:pt x="84" y="227"/>
                  <a:pt x="94" y="245"/>
                  <a:pt x="99" y="259"/>
                </a:cubicBezTo>
                <a:cubicBezTo>
                  <a:pt x="97" y="258"/>
                  <a:pt x="94" y="257"/>
                  <a:pt x="92" y="257"/>
                </a:cubicBezTo>
                <a:cubicBezTo>
                  <a:pt x="89" y="256"/>
                  <a:pt x="87" y="256"/>
                  <a:pt x="84" y="256"/>
                </a:cubicBezTo>
                <a:cubicBezTo>
                  <a:pt x="84" y="254"/>
                  <a:pt x="83" y="253"/>
                  <a:pt x="82" y="250"/>
                </a:cubicBezTo>
                <a:cubicBezTo>
                  <a:pt x="78" y="240"/>
                  <a:pt x="74" y="231"/>
                  <a:pt x="68" y="223"/>
                </a:cubicBezTo>
                <a:cubicBezTo>
                  <a:pt x="71" y="222"/>
                  <a:pt x="74" y="220"/>
                  <a:pt x="76" y="220"/>
                </a:cubicBezTo>
                <a:close/>
                <a:moveTo>
                  <a:pt x="163" y="118"/>
                </a:moveTo>
                <a:cubicBezTo>
                  <a:pt x="166" y="118"/>
                  <a:pt x="166" y="115"/>
                  <a:pt x="165" y="114"/>
                </a:cubicBezTo>
                <a:cubicBezTo>
                  <a:pt x="161" y="108"/>
                  <a:pt x="157" y="102"/>
                  <a:pt x="153" y="89"/>
                </a:cubicBezTo>
                <a:cubicBezTo>
                  <a:pt x="150" y="76"/>
                  <a:pt x="153" y="56"/>
                  <a:pt x="154" y="49"/>
                </a:cubicBezTo>
                <a:cubicBezTo>
                  <a:pt x="154" y="47"/>
                  <a:pt x="155" y="47"/>
                  <a:pt x="155" y="49"/>
                </a:cubicBezTo>
                <a:cubicBezTo>
                  <a:pt x="157" y="56"/>
                  <a:pt x="161" y="74"/>
                  <a:pt x="166" y="84"/>
                </a:cubicBezTo>
                <a:cubicBezTo>
                  <a:pt x="172" y="96"/>
                  <a:pt x="179" y="106"/>
                  <a:pt x="185" y="112"/>
                </a:cubicBezTo>
                <a:cubicBezTo>
                  <a:pt x="186" y="113"/>
                  <a:pt x="189" y="114"/>
                  <a:pt x="189" y="113"/>
                </a:cubicBezTo>
                <a:cubicBezTo>
                  <a:pt x="201" y="107"/>
                  <a:pt x="207" y="93"/>
                  <a:pt x="200" y="70"/>
                </a:cubicBezTo>
                <a:cubicBezTo>
                  <a:pt x="195" y="53"/>
                  <a:pt x="182" y="47"/>
                  <a:pt x="170" y="29"/>
                </a:cubicBezTo>
                <a:cubicBezTo>
                  <a:pt x="164" y="20"/>
                  <a:pt x="164" y="20"/>
                  <a:pt x="164" y="20"/>
                </a:cubicBezTo>
                <a:cubicBezTo>
                  <a:pt x="162" y="17"/>
                  <a:pt x="159" y="6"/>
                  <a:pt x="157" y="2"/>
                </a:cubicBezTo>
                <a:cubicBezTo>
                  <a:pt x="157" y="0"/>
                  <a:pt x="154" y="0"/>
                  <a:pt x="153" y="1"/>
                </a:cubicBezTo>
                <a:cubicBezTo>
                  <a:pt x="140" y="25"/>
                  <a:pt x="124" y="60"/>
                  <a:pt x="134" y="89"/>
                </a:cubicBezTo>
                <a:cubicBezTo>
                  <a:pt x="141" y="111"/>
                  <a:pt x="151" y="117"/>
                  <a:pt x="163" y="118"/>
                </a:cubicBezTo>
                <a:close/>
                <a:moveTo>
                  <a:pt x="60" y="144"/>
                </a:moveTo>
                <a:cubicBezTo>
                  <a:pt x="66" y="147"/>
                  <a:pt x="71" y="149"/>
                  <a:pt x="76" y="152"/>
                </a:cubicBezTo>
                <a:cubicBezTo>
                  <a:pt x="84" y="159"/>
                  <a:pt x="84" y="159"/>
                  <a:pt x="84" y="159"/>
                </a:cubicBezTo>
                <a:cubicBezTo>
                  <a:pt x="100" y="171"/>
                  <a:pt x="109" y="184"/>
                  <a:pt x="125" y="189"/>
                </a:cubicBezTo>
                <a:cubicBezTo>
                  <a:pt x="146" y="196"/>
                  <a:pt x="160" y="189"/>
                  <a:pt x="167" y="182"/>
                </a:cubicBezTo>
                <a:cubicBezTo>
                  <a:pt x="168" y="180"/>
                  <a:pt x="169" y="176"/>
                  <a:pt x="168" y="174"/>
                </a:cubicBezTo>
                <a:cubicBezTo>
                  <a:pt x="163" y="167"/>
                  <a:pt x="151" y="155"/>
                  <a:pt x="136" y="147"/>
                </a:cubicBezTo>
                <a:cubicBezTo>
                  <a:pt x="114" y="136"/>
                  <a:pt x="91" y="142"/>
                  <a:pt x="92" y="140"/>
                </a:cubicBezTo>
                <a:cubicBezTo>
                  <a:pt x="92" y="139"/>
                  <a:pt x="116" y="130"/>
                  <a:pt x="139" y="138"/>
                </a:cubicBezTo>
                <a:cubicBezTo>
                  <a:pt x="154" y="143"/>
                  <a:pt x="165" y="157"/>
                  <a:pt x="171" y="163"/>
                </a:cubicBezTo>
                <a:cubicBezTo>
                  <a:pt x="172" y="164"/>
                  <a:pt x="174" y="163"/>
                  <a:pt x="174" y="162"/>
                </a:cubicBezTo>
                <a:cubicBezTo>
                  <a:pt x="174" y="148"/>
                  <a:pt x="169" y="133"/>
                  <a:pt x="147" y="125"/>
                </a:cubicBezTo>
                <a:cubicBezTo>
                  <a:pt x="119" y="114"/>
                  <a:pt x="83" y="128"/>
                  <a:pt x="59" y="140"/>
                </a:cubicBezTo>
                <a:cubicBezTo>
                  <a:pt x="58" y="140"/>
                  <a:pt x="58" y="143"/>
                  <a:pt x="60" y="144"/>
                </a:cubicBezTo>
                <a:close/>
              </a:path>
            </a:pathLst>
          </a:custGeom>
          <a:solidFill>
            <a:srgbClr val="8788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sv-SE" sz="900">
              <a:latin typeface="Arial" panose="020B0604020202020204" pitchFamily="34" charset="0"/>
              <a:cs typeface="Arial" panose="020B0604020202020204" pitchFamily="34" charset="0"/>
            </a:endParaRPr>
          </a:p>
        </p:txBody>
      </p:sp>
      <p:sp>
        <p:nvSpPr>
          <p:cNvPr id="26" name="Freeform 3">
            <a:extLst>
              <a:ext uri="{FF2B5EF4-FFF2-40B4-BE49-F238E27FC236}">
                <a16:creationId xmlns:a16="http://schemas.microsoft.com/office/drawing/2014/main" id="{BFD36FFE-5954-4EE8-88C1-7BC959853699}"/>
              </a:ext>
            </a:extLst>
          </p:cNvPr>
          <p:cNvSpPr>
            <a:spLocks noChangeAspect="1" noEditPoints="1"/>
          </p:cNvSpPr>
          <p:nvPr/>
        </p:nvSpPr>
        <p:spPr bwMode="auto">
          <a:xfrm flipH="1">
            <a:off x="5900931" y="3463777"/>
            <a:ext cx="480428" cy="358373"/>
          </a:xfrm>
          <a:custGeom>
            <a:avLst/>
            <a:gdLst>
              <a:gd name="T0" fmla="*/ 2147483647 w 372"/>
              <a:gd name="T1" fmla="*/ 2147483647 h 330"/>
              <a:gd name="T2" fmla="*/ 2147483647 w 372"/>
              <a:gd name="T3" fmla="*/ 2147483647 h 330"/>
              <a:gd name="T4" fmla="*/ 2147483647 w 372"/>
              <a:gd name="T5" fmla="*/ 2147483647 h 330"/>
              <a:gd name="T6" fmla="*/ 2147483647 w 372"/>
              <a:gd name="T7" fmla="*/ 2147483647 h 330"/>
              <a:gd name="T8" fmla="*/ 2147483647 w 372"/>
              <a:gd name="T9" fmla="*/ 2147483647 h 330"/>
              <a:gd name="T10" fmla="*/ 2147483647 w 372"/>
              <a:gd name="T11" fmla="*/ 2147483647 h 330"/>
              <a:gd name="T12" fmla="*/ 2147483647 w 372"/>
              <a:gd name="T13" fmla="*/ 2147483647 h 330"/>
              <a:gd name="T14" fmla="*/ 2147483647 w 372"/>
              <a:gd name="T15" fmla="*/ 2147483647 h 330"/>
              <a:gd name="T16" fmla="*/ 2147483647 w 372"/>
              <a:gd name="T17" fmla="*/ 2147483647 h 330"/>
              <a:gd name="T18" fmla="*/ 2147483647 w 372"/>
              <a:gd name="T19" fmla="*/ 2147483647 h 330"/>
              <a:gd name="T20" fmla="*/ 2147483647 w 372"/>
              <a:gd name="T21" fmla="*/ 2147483647 h 330"/>
              <a:gd name="T22" fmla="*/ 2147483647 w 372"/>
              <a:gd name="T23" fmla="*/ 2147483647 h 330"/>
              <a:gd name="T24" fmla="*/ 2147483647 w 372"/>
              <a:gd name="T25" fmla="*/ 2147483647 h 330"/>
              <a:gd name="T26" fmla="*/ 2147483647 w 372"/>
              <a:gd name="T27" fmla="*/ 2147483647 h 330"/>
              <a:gd name="T28" fmla="*/ 2147483647 w 372"/>
              <a:gd name="T29" fmla="*/ 2147483647 h 330"/>
              <a:gd name="T30" fmla="*/ 2147483647 w 372"/>
              <a:gd name="T31" fmla="*/ 2147483647 h 330"/>
              <a:gd name="T32" fmla="*/ 2147483647 w 372"/>
              <a:gd name="T33" fmla="*/ 2147483647 h 330"/>
              <a:gd name="T34" fmla="*/ 2147483647 w 372"/>
              <a:gd name="T35" fmla="*/ 2147483647 h 330"/>
              <a:gd name="T36" fmla="*/ 2147483647 w 372"/>
              <a:gd name="T37" fmla="*/ 0 h 330"/>
              <a:gd name="T38" fmla="*/ 2147483647 w 372"/>
              <a:gd name="T39" fmla="*/ 2147483647 h 330"/>
              <a:gd name="T40" fmla="*/ 2147483647 w 372"/>
              <a:gd name="T41" fmla="*/ 2147483647 h 330"/>
              <a:gd name="T42" fmla="*/ 2147483647 w 372"/>
              <a:gd name="T43" fmla="*/ 2147483647 h 330"/>
              <a:gd name="T44" fmla="*/ 2147483647 w 372"/>
              <a:gd name="T45" fmla="*/ 2147483647 h 330"/>
              <a:gd name="T46" fmla="*/ 2147483647 w 372"/>
              <a:gd name="T47" fmla="*/ 2147483647 h 330"/>
              <a:gd name="T48" fmla="*/ 2147483647 w 372"/>
              <a:gd name="T49" fmla="*/ 2147483647 h 330"/>
              <a:gd name="T50" fmla="*/ 2147483647 w 372"/>
              <a:gd name="T51" fmla="*/ 2147483647 h 330"/>
              <a:gd name="T52" fmla="*/ 2147483647 w 372"/>
              <a:gd name="T53" fmla="*/ 2147483647 h 330"/>
              <a:gd name="T54" fmla="*/ 2147483647 w 372"/>
              <a:gd name="T55" fmla="*/ 2147483647 h 330"/>
              <a:gd name="T56" fmla="*/ 2147483647 w 372"/>
              <a:gd name="T57" fmla="*/ 2147483647 h 330"/>
              <a:gd name="T58" fmla="*/ 2147483647 w 372"/>
              <a:gd name="T59" fmla="*/ 2147483647 h 330"/>
              <a:gd name="T60" fmla="*/ 2147483647 w 372"/>
              <a:gd name="T61" fmla="*/ 2147483647 h 330"/>
              <a:gd name="T62" fmla="*/ 2147483647 w 372"/>
              <a:gd name="T63" fmla="*/ 2147483647 h 330"/>
              <a:gd name="T64" fmla="*/ 2147483647 w 372"/>
              <a:gd name="T65" fmla="*/ 2147483647 h 330"/>
              <a:gd name="T66" fmla="*/ 2147483647 w 372"/>
              <a:gd name="T67" fmla="*/ 2147483647 h 330"/>
              <a:gd name="T68" fmla="*/ 2147483647 w 372"/>
              <a:gd name="T69" fmla="*/ 2147483647 h 330"/>
              <a:gd name="T70" fmla="*/ 2147483647 w 372"/>
              <a:gd name="T71" fmla="*/ 2147483647 h 330"/>
              <a:gd name="T72" fmla="*/ 2147483647 w 372"/>
              <a:gd name="T73" fmla="*/ 2147483647 h 330"/>
              <a:gd name="T74" fmla="*/ 2147483647 w 372"/>
              <a:gd name="T75" fmla="*/ 2147483647 h 330"/>
              <a:gd name="T76" fmla="*/ 2147483647 w 372"/>
              <a:gd name="T77" fmla="*/ 2147483647 h 330"/>
              <a:gd name="T78" fmla="*/ 2147483647 w 372"/>
              <a:gd name="T79" fmla="*/ 2147483647 h 330"/>
              <a:gd name="T80" fmla="*/ 2147483647 w 372"/>
              <a:gd name="T81" fmla="*/ 2147483647 h 330"/>
              <a:gd name="T82" fmla="*/ 2147483647 w 372"/>
              <a:gd name="T83" fmla="*/ 2147483647 h 330"/>
              <a:gd name="T84" fmla="*/ 2147483647 w 372"/>
              <a:gd name="T85" fmla="*/ 2147483647 h 330"/>
              <a:gd name="T86" fmla="*/ 2147483647 w 372"/>
              <a:gd name="T87" fmla="*/ 2147483647 h 330"/>
              <a:gd name="T88" fmla="*/ 2147483647 w 372"/>
              <a:gd name="T89" fmla="*/ 2147483647 h 330"/>
              <a:gd name="T90" fmla="*/ 2147483647 w 372"/>
              <a:gd name="T91" fmla="*/ 2147483647 h 330"/>
              <a:gd name="T92" fmla="*/ 2147483647 w 372"/>
              <a:gd name="T93" fmla="*/ 2147483647 h 330"/>
              <a:gd name="T94" fmla="*/ 2147483647 w 372"/>
              <a:gd name="T95" fmla="*/ 2147483647 h 330"/>
              <a:gd name="T96" fmla="*/ 2147483647 w 372"/>
              <a:gd name="T97" fmla="*/ 2147483647 h 3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72" h="330">
                <a:moveTo>
                  <a:pt x="359" y="284"/>
                </a:moveTo>
                <a:cubicBezTo>
                  <a:pt x="264" y="284"/>
                  <a:pt x="264" y="284"/>
                  <a:pt x="264" y="284"/>
                </a:cubicBezTo>
                <a:cubicBezTo>
                  <a:pt x="261" y="284"/>
                  <a:pt x="259" y="284"/>
                  <a:pt x="258" y="283"/>
                </a:cubicBezTo>
                <a:cubicBezTo>
                  <a:pt x="256" y="283"/>
                  <a:pt x="256" y="283"/>
                  <a:pt x="256" y="283"/>
                </a:cubicBezTo>
                <a:cubicBezTo>
                  <a:pt x="256" y="282"/>
                  <a:pt x="255" y="280"/>
                  <a:pt x="255" y="276"/>
                </a:cubicBezTo>
                <a:cubicBezTo>
                  <a:pt x="255" y="258"/>
                  <a:pt x="255" y="258"/>
                  <a:pt x="255" y="258"/>
                </a:cubicBezTo>
                <a:cubicBezTo>
                  <a:pt x="268" y="258"/>
                  <a:pt x="268" y="258"/>
                  <a:pt x="268" y="258"/>
                </a:cubicBezTo>
                <a:cubicBezTo>
                  <a:pt x="271" y="258"/>
                  <a:pt x="273" y="257"/>
                  <a:pt x="274" y="256"/>
                </a:cubicBezTo>
                <a:cubicBezTo>
                  <a:pt x="276" y="254"/>
                  <a:pt x="276" y="252"/>
                  <a:pt x="276" y="250"/>
                </a:cubicBezTo>
                <a:cubicBezTo>
                  <a:pt x="276" y="177"/>
                  <a:pt x="276" y="177"/>
                  <a:pt x="276" y="177"/>
                </a:cubicBezTo>
                <a:cubicBezTo>
                  <a:pt x="355" y="141"/>
                  <a:pt x="355" y="141"/>
                  <a:pt x="355" y="141"/>
                </a:cubicBezTo>
                <a:cubicBezTo>
                  <a:pt x="365" y="136"/>
                  <a:pt x="372" y="125"/>
                  <a:pt x="372" y="114"/>
                </a:cubicBezTo>
                <a:cubicBezTo>
                  <a:pt x="372" y="110"/>
                  <a:pt x="371" y="106"/>
                  <a:pt x="369" y="102"/>
                </a:cubicBezTo>
                <a:cubicBezTo>
                  <a:pt x="343" y="45"/>
                  <a:pt x="343" y="45"/>
                  <a:pt x="343" y="45"/>
                </a:cubicBezTo>
                <a:cubicBezTo>
                  <a:pt x="342" y="41"/>
                  <a:pt x="337" y="40"/>
                  <a:pt x="333" y="42"/>
                </a:cubicBezTo>
                <a:cubicBezTo>
                  <a:pt x="329" y="43"/>
                  <a:pt x="327" y="48"/>
                  <a:pt x="329" y="52"/>
                </a:cubicBezTo>
                <a:cubicBezTo>
                  <a:pt x="329" y="52"/>
                  <a:pt x="329" y="52"/>
                  <a:pt x="329" y="52"/>
                </a:cubicBezTo>
                <a:cubicBezTo>
                  <a:pt x="355" y="109"/>
                  <a:pt x="355" y="109"/>
                  <a:pt x="355" y="109"/>
                </a:cubicBezTo>
                <a:cubicBezTo>
                  <a:pt x="355" y="110"/>
                  <a:pt x="356" y="112"/>
                  <a:pt x="356" y="114"/>
                </a:cubicBezTo>
                <a:cubicBezTo>
                  <a:pt x="356" y="119"/>
                  <a:pt x="353" y="124"/>
                  <a:pt x="348" y="126"/>
                </a:cubicBezTo>
                <a:cubicBezTo>
                  <a:pt x="146" y="219"/>
                  <a:pt x="146" y="219"/>
                  <a:pt x="146" y="219"/>
                </a:cubicBezTo>
                <a:cubicBezTo>
                  <a:pt x="144" y="220"/>
                  <a:pt x="142" y="221"/>
                  <a:pt x="141" y="221"/>
                </a:cubicBezTo>
                <a:cubicBezTo>
                  <a:pt x="136" y="221"/>
                  <a:pt x="131" y="218"/>
                  <a:pt x="129" y="213"/>
                </a:cubicBezTo>
                <a:cubicBezTo>
                  <a:pt x="122" y="198"/>
                  <a:pt x="122" y="198"/>
                  <a:pt x="122" y="198"/>
                </a:cubicBezTo>
                <a:cubicBezTo>
                  <a:pt x="122" y="198"/>
                  <a:pt x="122" y="198"/>
                  <a:pt x="122" y="198"/>
                </a:cubicBezTo>
                <a:cubicBezTo>
                  <a:pt x="122" y="198"/>
                  <a:pt x="122" y="198"/>
                  <a:pt x="122" y="198"/>
                </a:cubicBezTo>
                <a:cubicBezTo>
                  <a:pt x="95" y="141"/>
                  <a:pt x="95" y="141"/>
                  <a:pt x="95" y="141"/>
                </a:cubicBezTo>
                <a:cubicBezTo>
                  <a:pt x="95" y="141"/>
                  <a:pt x="95" y="141"/>
                  <a:pt x="95" y="141"/>
                </a:cubicBezTo>
                <a:cubicBezTo>
                  <a:pt x="95" y="141"/>
                  <a:pt x="95" y="141"/>
                  <a:pt x="95" y="141"/>
                </a:cubicBezTo>
                <a:cubicBezTo>
                  <a:pt x="89" y="128"/>
                  <a:pt x="89" y="128"/>
                  <a:pt x="89" y="128"/>
                </a:cubicBezTo>
                <a:cubicBezTo>
                  <a:pt x="88" y="126"/>
                  <a:pt x="88" y="124"/>
                  <a:pt x="88" y="122"/>
                </a:cubicBezTo>
                <a:cubicBezTo>
                  <a:pt x="88" y="117"/>
                  <a:pt x="91" y="112"/>
                  <a:pt x="96" y="110"/>
                </a:cubicBezTo>
                <a:cubicBezTo>
                  <a:pt x="298" y="17"/>
                  <a:pt x="298" y="17"/>
                  <a:pt x="298" y="17"/>
                </a:cubicBezTo>
                <a:cubicBezTo>
                  <a:pt x="300" y="16"/>
                  <a:pt x="301" y="16"/>
                  <a:pt x="303" y="16"/>
                </a:cubicBezTo>
                <a:cubicBezTo>
                  <a:pt x="308" y="16"/>
                  <a:pt x="313" y="18"/>
                  <a:pt x="315" y="23"/>
                </a:cubicBezTo>
                <a:cubicBezTo>
                  <a:pt x="317" y="27"/>
                  <a:pt x="322" y="29"/>
                  <a:pt x="326" y="27"/>
                </a:cubicBezTo>
                <a:cubicBezTo>
                  <a:pt x="330" y="25"/>
                  <a:pt x="332" y="21"/>
                  <a:pt x="330" y="17"/>
                </a:cubicBezTo>
                <a:cubicBezTo>
                  <a:pt x="325" y="6"/>
                  <a:pt x="314" y="0"/>
                  <a:pt x="303" y="0"/>
                </a:cubicBezTo>
                <a:cubicBezTo>
                  <a:pt x="299" y="0"/>
                  <a:pt x="295" y="1"/>
                  <a:pt x="291" y="2"/>
                </a:cubicBezTo>
                <a:cubicBezTo>
                  <a:pt x="89" y="96"/>
                  <a:pt x="89" y="96"/>
                  <a:pt x="89" y="96"/>
                </a:cubicBezTo>
                <a:cubicBezTo>
                  <a:pt x="78" y="101"/>
                  <a:pt x="72" y="111"/>
                  <a:pt x="72" y="122"/>
                </a:cubicBezTo>
                <a:cubicBezTo>
                  <a:pt x="72" y="126"/>
                  <a:pt x="73" y="130"/>
                  <a:pt x="75" y="134"/>
                </a:cubicBezTo>
                <a:cubicBezTo>
                  <a:pt x="77" y="140"/>
                  <a:pt x="77" y="140"/>
                  <a:pt x="77" y="140"/>
                </a:cubicBezTo>
                <a:cubicBezTo>
                  <a:pt x="66" y="145"/>
                  <a:pt x="66" y="145"/>
                  <a:pt x="66" y="145"/>
                </a:cubicBezTo>
                <a:cubicBezTo>
                  <a:pt x="41" y="136"/>
                  <a:pt x="41" y="136"/>
                  <a:pt x="41" y="136"/>
                </a:cubicBezTo>
                <a:cubicBezTo>
                  <a:pt x="39" y="135"/>
                  <a:pt x="37" y="135"/>
                  <a:pt x="35" y="136"/>
                </a:cubicBezTo>
                <a:cubicBezTo>
                  <a:pt x="5" y="150"/>
                  <a:pt x="5" y="150"/>
                  <a:pt x="5" y="150"/>
                </a:cubicBezTo>
                <a:cubicBezTo>
                  <a:pt x="1" y="152"/>
                  <a:pt x="0" y="156"/>
                  <a:pt x="1" y="160"/>
                </a:cubicBezTo>
                <a:cubicBezTo>
                  <a:pt x="46" y="256"/>
                  <a:pt x="46" y="256"/>
                  <a:pt x="46" y="256"/>
                </a:cubicBezTo>
                <a:cubicBezTo>
                  <a:pt x="47" y="258"/>
                  <a:pt x="48" y="260"/>
                  <a:pt x="50" y="261"/>
                </a:cubicBezTo>
                <a:cubicBezTo>
                  <a:pt x="51" y="261"/>
                  <a:pt x="52" y="261"/>
                  <a:pt x="53" y="261"/>
                </a:cubicBezTo>
                <a:cubicBezTo>
                  <a:pt x="54" y="261"/>
                  <a:pt x="55" y="261"/>
                  <a:pt x="56" y="260"/>
                </a:cubicBezTo>
                <a:cubicBezTo>
                  <a:pt x="86" y="247"/>
                  <a:pt x="86" y="247"/>
                  <a:pt x="86" y="247"/>
                </a:cubicBezTo>
                <a:cubicBezTo>
                  <a:pt x="88" y="246"/>
                  <a:pt x="89" y="244"/>
                  <a:pt x="90" y="242"/>
                </a:cubicBezTo>
                <a:cubicBezTo>
                  <a:pt x="100" y="217"/>
                  <a:pt x="100" y="217"/>
                  <a:pt x="100" y="217"/>
                </a:cubicBezTo>
                <a:cubicBezTo>
                  <a:pt x="110" y="212"/>
                  <a:pt x="110" y="212"/>
                  <a:pt x="110" y="212"/>
                </a:cubicBezTo>
                <a:cubicBezTo>
                  <a:pt x="114" y="220"/>
                  <a:pt x="114" y="220"/>
                  <a:pt x="114" y="220"/>
                </a:cubicBezTo>
                <a:cubicBezTo>
                  <a:pt x="119" y="230"/>
                  <a:pt x="130" y="237"/>
                  <a:pt x="141" y="237"/>
                </a:cubicBezTo>
                <a:cubicBezTo>
                  <a:pt x="145" y="237"/>
                  <a:pt x="149" y="236"/>
                  <a:pt x="153" y="234"/>
                </a:cubicBezTo>
                <a:cubicBezTo>
                  <a:pt x="184" y="220"/>
                  <a:pt x="184" y="220"/>
                  <a:pt x="184" y="220"/>
                </a:cubicBezTo>
                <a:cubicBezTo>
                  <a:pt x="184" y="250"/>
                  <a:pt x="184" y="250"/>
                  <a:pt x="184" y="250"/>
                </a:cubicBezTo>
                <a:cubicBezTo>
                  <a:pt x="184" y="252"/>
                  <a:pt x="185" y="254"/>
                  <a:pt x="186" y="256"/>
                </a:cubicBezTo>
                <a:cubicBezTo>
                  <a:pt x="188" y="257"/>
                  <a:pt x="190" y="258"/>
                  <a:pt x="192" y="258"/>
                </a:cubicBezTo>
                <a:cubicBezTo>
                  <a:pt x="206" y="258"/>
                  <a:pt x="206" y="258"/>
                  <a:pt x="206" y="258"/>
                </a:cubicBezTo>
                <a:cubicBezTo>
                  <a:pt x="206" y="299"/>
                  <a:pt x="206" y="299"/>
                  <a:pt x="206" y="299"/>
                </a:cubicBezTo>
                <a:cubicBezTo>
                  <a:pt x="206" y="316"/>
                  <a:pt x="220" y="330"/>
                  <a:pt x="237" y="330"/>
                </a:cubicBezTo>
                <a:cubicBezTo>
                  <a:pt x="359" y="330"/>
                  <a:pt x="359" y="330"/>
                  <a:pt x="359" y="330"/>
                </a:cubicBezTo>
                <a:cubicBezTo>
                  <a:pt x="361" y="330"/>
                  <a:pt x="363" y="329"/>
                  <a:pt x="365" y="328"/>
                </a:cubicBezTo>
                <a:cubicBezTo>
                  <a:pt x="366" y="326"/>
                  <a:pt x="367" y="324"/>
                  <a:pt x="367" y="322"/>
                </a:cubicBezTo>
                <a:cubicBezTo>
                  <a:pt x="367" y="292"/>
                  <a:pt x="367" y="292"/>
                  <a:pt x="367" y="292"/>
                </a:cubicBezTo>
                <a:cubicBezTo>
                  <a:pt x="367" y="290"/>
                  <a:pt x="366" y="288"/>
                  <a:pt x="365" y="286"/>
                </a:cubicBezTo>
                <a:cubicBezTo>
                  <a:pt x="363" y="285"/>
                  <a:pt x="361" y="284"/>
                  <a:pt x="359" y="284"/>
                </a:cubicBezTo>
                <a:close/>
                <a:moveTo>
                  <a:pt x="90" y="204"/>
                </a:moveTo>
                <a:cubicBezTo>
                  <a:pt x="88" y="205"/>
                  <a:pt x="86" y="206"/>
                  <a:pt x="86" y="208"/>
                </a:cubicBezTo>
                <a:cubicBezTo>
                  <a:pt x="76" y="234"/>
                  <a:pt x="76" y="234"/>
                  <a:pt x="76" y="234"/>
                </a:cubicBezTo>
                <a:cubicBezTo>
                  <a:pt x="57" y="242"/>
                  <a:pt x="57" y="242"/>
                  <a:pt x="57" y="242"/>
                </a:cubicBezTo>
                <a:cubicBezTo>
                  <a:pt x="19" y="161"/>
                  <a:pt x="19" y="161"/>
                  <a:pt x="19" y="161"/>
                </a:cubicBezTo>
                <a:cubicBezTo>
                  <a:pt x="39" y="152"/>
                  <a:pt x="39" y="152"/>
                  <a:pt x="39" y="152"/>
                </a:cubicBezTo>
                <a:cubicBezTo>
                  <a:pt x="64" y="161"/>
                  <a:pt x="64" y="161"/>
                  <a:pt x="64" y="161"/>
                </a:cubicBezTo>
                <a:cubicBezTo>
                  <a:pt x="66" y="162"/>
                  <a:pt x="68" y="162"/>
                  <a:pt x="70" y="161"/>
                </a:cubicBezTo>
                <a:cubicBezTo>
                  <a:pt x="84" y="155"/>
                  <a:pt x="84" y="155"/>
                  <a:pt x="84" y="155"/>
                </a:cubicBezTo>
                <a:cubicBezTo>
                  <a:pt x="104" y="197"/>
                  <a:pt x="104" y="197"/>
                  <a:pt x="104" y="197"/>
                </a:cubicBezTo>
                <a:lnTo>
                  <a:pt x="90" y="204"/>
                </a:lnTo>
                <a:close/>
                <a:moveTo>
                  <a:pt x="200" y="242"/>
                </a:moveTo>
                <a:cubicBezTo>
                  <a:pt x="200" y="212"/>
                  <a:pt x="200" y="212"/>
                  <a:pt x="200" y="212"/>
                </a:cubicBezTo>
                <a:cubicBezTo>
                  <a:pt x="260" y="184"/>
                  <a:pt x="260" y="184"/>
                  <a:pt x="260" y="184"/>
                </a:cubicBezTo>
                <a:cubicBezTo>
                  <a:pt x="260" y="242"/>
                  <a:pt x="260" y="242"/>
                  <a:pt x="260" y="242"/>
                </a:cubicBezTo>
                <a:lnTo>
                  <a:pt x="200" y="242"/>
                </a:lnTo>
                <a:close/>
                <a:moveTo>
                  <a:pt x="351" y="314"/>
                </a:moveTo>
                <a:cubicBezTo>
                  <a:pt x="237" y="314"/>
                  <a:pt x="237" y="314"/>
                  <a:pt x="237" y="314"/>
                </a:cubicBezTo>
                <a:cubicBezTo>
                  <a:pt x="229" y="314"/>
                  <a:pt x="222" y="307"/>
                  <a:pt x="222" y="299"/>
                </a:cubicBezTo>
                <a:cubicBezTo>
                  <a:pt x="222" y="258"/>
                  <a:pt x="222" y="258"/>
                  <a:pt x="222" y="258"/>
                </a:cubicBezTo>
                <a:cubicBezTo>
                  <a:pt x="239" y="258"/>
                  <a:pt x="239" y="258"/>
                  <a:pt x="239" y="258"/>
                </a:cubicBezTo>
                <a:cubicBezTo>
                  <a:pt x="239" y="276"/>
                  <a:pt x="239" y="276"/>
                  <a:pt x="239" y="276"/>
                </a:cubicBezTo>
                <a:cubicBezTo>
                  <a:pt x="239" y="283"/>
                  <a:pt x="240" y="290"/>
                  <a:pt x="246" y="295"/>
                </a:cubicBezTo>
                <a:cubicBezTo>
                  <a:pt x="251" y="299"/>
                  <a:pt x="257" y="300"/>
                  <a:pt x="264" y="300"/>
                </a:cubicBezTo>
                <a:cubicBezTo>
                  <a:pt x="351" y="300"/>
                  <a:pt x="351" y="300"/>
                  <a:pt x="351" y="300"/>
                </a:cubicBezTo>
                <a:lnTo>
                  <a:pt x="351" y="314"/>
                </a:lnTo>
                <a:close/>
              </a:path>
            </a:pathLst>
          </a:custGeom>
          <a:solidFill>
            <a:schemeClr val="bg1">
              <a:lumMod val="50000"/>
            </a:schemeClr>
          </a:solidFill>
          <a:ln>
            <a:noFill/>
          </a:ln>
          <a:extLst/>
        </p:spPr>
        <p:txBody>
          <a:bodyPr/>
          <a:lstStyle/>
          <a:p>
            <a:endParaRPr lang="sv-SE" dirty="0"/>
          </a:p>
        </p:txBody>
      </p:sp>
      <p:sp>
        <p:nvSpPr>
          <p:cNvPr id="27" name="Freeform 3">
            <a:extLst>
              <a:ext uri="{FF2B5EF4-FFF2-40B4-BE49-F238E27FC236}">
                <a16:creationId xmlns:a16="http://schemas.microsoft.com/office/drawing/2014/main" id="{81890A91-D518-4805-AA87-D3381A4E0DFF}"/>
              </a:ext>
            </a:extLst>
          </p:cNvPr>
          <p:cNvSpPr/>
          <p:nvPr/>
        </p:nvSpPr>
        <p:spPr>
          <a:xfrm>
            <a:off x="6671650" y="3560150"/>
            <a:ext cx="459705" cy="269071"/>
          </a:xfrm>
          <a:custGeom>
            <a:avLst/>
            <a:gdLst>
              <a:gd name="f0" fmla="val 10800000"/>
              <a:gd name="f1" fmla="val 5400000"/>
              <a:gd name="f2" fmla="val 180"/>
              <a:gd name="f3" fmla="val w"/>
              <a:gd name="f4" fmla="val h"/>
              <a:gd name="f5" fmla="val 0"/>
              <a:gd name="f6" fmla="val 448"/>
              <a:gd name="f7" fmla="val 208"/>
              <a:gd name="f8" fmla="val 447"/>
              <a:gd name="f9" fmla="val 114"/>
              <a:gd name="f10" fmla="val 446"/>
              <a:gd name="f11" fmla="val 110"/>
              <a:gd name="f12" fmla="val 442"/>
              <a:gd name="f13" fmla="val 107"/>
              <a:gd name="f14" fmla="val 438"/>
              <a:gd name="f15" fmla="val 108"/>
              <a:gd name="f16" fmla="val 433"/>
              <a:gd name="f17" fmla="val 109"/>
              <a:gd name="f18" fmla="val 431"/>
              <a:gd name="f19" fmla="val 432"/>
              <a:gd name="f20" fmla="val 118"/>
              <a:gd name="f21" fmla="val 120"/>
              <a:gd name="f22" fmla="val 122"/>
              <a:gd name="f23" fmla="val 125"/>
              <a:gd name="f24" fmla="val 142"/>
              <a:gd name="f25" fmla="val 428"/>
              <a:gd name="f26" fmla="val 154"/>
              <a:gd name="f27" fmla="val 423"/>
              <a:gd name="f28" fmla="val 161"/>
              <a:gd name="f29" fmla="val 420"/>
              <a:gd name="f30" fmla="val 164"/>
              <a:gd name="f31" fmla="val 418"/>
              <a:gd name="f32" fmla="val 167"/>
              <a:gd name="f33" fmla="val 417"/>
              <a:gd name="f34" fmla="val 169"/>
              <a:gd name="f35" fmla="val 416"/>
              <a:gd name="f36" fmla="val 408"/>
              <a:gd name="f37" fmla="val 165"/>
              <a:gd name="f38" fmla="val 163"/>
              <a:gd name="f39" fmla="val 139"/>
              <a:gd name="f40" fmla="val 388"/>
              <a:gd name="f41" fmla="val 119"/>
              <a:gd name="f42" fmla="val 363"/>
              <a:gd name="f43" fmla="val 339"/>
              <a:gd name="f44" fmla="val 319"/>
              <a:gd name="f45" fmla="val 141"/>
              <a:gd name="f46" fmla="val 121"/>
              <a:gd name="f47" fmla="val 96"/>
              <a:gd name="f48" fmla="val 72"/>
              <a:gd name="f49" fmla="val 52"/>
              <a:gd name="f50" fmla="val 29"/>
              <a:gd name="f51" fmla="val 23"/>
              <a:gd name="f52" fmla="val 22"/>
              <a:gd name="f53" fmla="val 19"/>
              <a:gd name="f54" fmla="val 17"/>
              <a:gd name="f55" fmla="val 159"/>
              <a:gd name="f56" fmla="val 16"/>
              <a:gd name="f57" fmla="val 152"/>
              <a:gd name="f58" fmla="val 147"/>
              <a:gd name="f59" fmla="val 136"/>
              <a:gd name="f60" fmla="val 21"/>
              <a:gd name="f61" fmla="val 126"/>
              <a:gd name="f62" fmla="val 31"/>
              <a:gd name="f63" fmla="val 44"/>
              <a:gd name="f64" fmla="val 105"/>
              <a:gd name="f65" fmla="val 67"/>
              <a:gd name="f66" fmla="val 86"/>
              <a:gd name="f67" fmla="val 90"/>
              <a:gd name="f68" fmla="val 95"/>
              <a:gd name="f69" fmla="val 87"/>
              <a:gd name="f70" fmla="val 103"/>
              <a:gd name="f71" fmla="val 85"/>
              <a:gd name="f72" fmla="val 84"/>
              <a:gd name="f73" fmla="val 83"/>
              <a:gd name="f74" fmla="val 117"/>
              <a:gd name="f75" fmla="val 82"/>
              <a:gd name="f76" fmla="val 384"/>
              <a:gd name="f77" fmla="val 385"/>
              <a:gd name="f78" fmla="val 386"/>
              <a:gd name="f79" fmla="val 387"/>
              <a:gd name="f80" fmla="val 392"/>
              <a:gd name="f81" fmla="val 406"/>
              <a:gd name="f82" fmla="val 89"/>
              <a:gd name="f83" fmla="val 97"/>
              <a:gd name="f84" fmla="val 100"/>
              <a:gd name="f85" fmla="val 425"/>
              <a:gd name="f86" fmla="val 99"/>
              <a:gd name="f87" fmla="val 92"/>
              <a:gd name="f88" fmla="val 430"/>
              <a:gd name="f89" fmla="val 426"/>
              <a:gd name="f90" fmla="val 412"/>
              <a:gd name="f91" fmla="val 74"/>
              <a:gd name="f92" fmla="val 397"/>
              <a:gd name="f93" fmla="val 69"/>
              <a:gd name="f94" fmla="val 390"/>
              <a:gd name="f95" fmla="val 381"/>
              <a:gd name="f96" fmla="val 55"/>
              <a:gd name="f97" fmla="val 333"/>
              <a:gd name="f98" fmla="val 248"/>
              <a:gd name="f99" fmla="val 123"/>
              <a:gd name="f100" fmla="val 53"/>
              <a:gd name="f101" fmla="val 113"/>
              <a:gd name="f102" fmla="val 68"/>
              <a:gd name="f103" fmla="val 73"/>
              <a:gd name="f104" fmla="val 60"/>
              <a:gd name="f105" fmla="val 46"/>
              <a:gd name="f106" fmla="val 88"/>
              <a:gd name="f107" fmla="val 20"/>
              <a:gd name="f108" fmla="val 106"/>
              <a:gd name="f109" fmla="val 8"/>
              <a:gd name="f110" fmla="val 116"/>
              <a:gd name="f111" fmla="val 130"/>
              <a:gd name="f112" fmla="val 153"/>
              <a:gd name="f113" fmla="val 1"/>
              <a:gd name="f114" fmla="val 162"/>
              <a:gd name="f115" fmla="val 5"/>
              <a:gd name="f116" fmla="val 170"/>
              <a:gd name="f117" fmla="val 178"/>
              <a:gd name="f118" fmla="val 185"/>
              <a:gd name="f119" fmla="val 57"/>
              <a:gd name="f120" fmla="val 65"/>
              <a:gd name="f121" fmla="val 199"/>
              <a:gd name="f122" fmla="val 80"/>
              <a:gd name="f123" fmla="val 128"/>
              <a:gd name="f124" fmla="val 135"/>
              <a:gd name="f125" fmla="val 324"/>
              <a:gd name="f126" fmla="val 332"/>
              <a:gd name="f127" fmla="val 347"/>
              <a:gd name="f128" fmla="val 380"/>
              <a:gd name="f129" fmla="val 395"/>
              <a:gd name="f130" fmla="val 402"/>
              <a:gd name="f131" fmla="val 419"/>
              <a:gd name="f132" fmla="val 422"/>
              <a:gd name="f133" fmla="val 184"/>
              <a:gd name="f134" fmla="val 424"/>
              <a:gd name="f135" fmla="val 183"/>
              <a:gd name="f136" fmla="val 166"/>
              <a:gd name="f137" fmla="val 256"/>
              <a:gd name="f138" fmla="val 296"/>
              <a:gd name="f139" fmla="val 18"/>
              <a:gd name="f140" fmla="val 326"/>
              <a:gd name="f141" fmla="val 32"/>
              <a:gd name="f142" fmla="val 346"/>
              <a:gd name="f143" fmla="val 47"/>
              <a:gd name="f144" fmla="val 356"/>
              <a:gd name="f145" fmla="val 54"/>
              <a:gd name="f146" fmla="val 368"/>
              <a:gd name="f147" fmla="val 66"/>
              <a:gd name="f148" fmla="val 240"/>
              <a:gd name="f149" fmla="val 134"/>
              <a:gd name="f150" fmla="val 149"/>
              <a:gd name="f151" fmla="val 49"/>
              <a:gd name="f152" fmla="val 192"/>
              <a:gd name="f153" fmla="val 179"/>
              <a:gd name="f154" fmla="val 148"/>
              <a:gd name="f155" fmla="val 112"/>
              <a:gd name="f156" fmla="val 348"/>
              <a:gd name="f157" fmla="val 335"/>
              <a:gd name="f158" fmla="val 379"/>
              <a:gd name="f159" fmla="+- 0 0 -90"/>
              <a:gd name="f160" fmla="*/ f3 1 448"/>
              <a:gd name="f161" fmla="*/ f4 1 208"/>
              <a:gd name="f162" fmla="+- f7 0 f5"/>
              <a:gd name="f163" fmla="+- f6 0 f5"/>
              <a:gd name="f164" fmla="*/ f159 f0 1"/>
              <a:gd name="f165" fmla="*/ f163 1 448"/>
              <a:gd name="f166" fmla="*/ f162 1 208"/>
              <a:gd name="f167" fmla="*/ 2147483647 f163 1"/>
              <a:gd name="f168" fmla="*/ 2147483647 f162 1"/>
              <a:gd name="f169" fmla="*/ f164 1 f2"/>
              <a:gd name="f170" fmla="*/ f167 1 448"/>
              <a:gd name="f171" fmla="*/ f168 1 208"/>
              <a:gd name="f172" fmla="*/ 0 1 f165"/>
              <a:gd name="f173" fmla="*/ f6 1 f165"/>
              <a:gd name="f174" fmla="*/ 0 1 f166"/>
              <a:gd name="f175" fmla="*/ f7 1 f166"/>
              <a:gd name="f176" fmla="+- f169 0 f1"/>
              <a:gd name="f177" fmla="*/ f170 1 f165"/>
              <a:gd name="f178" fmla="*/ f171 1 f166"/>
              <a:gd name="f179" fmla="*/ f172 f160 1"/>
              <a:gd name="f180" fmla="*/ f173 f160 1"/>
              <a:gd name="f181" fmla="*/ f175 f161 1"/>
              <a:gd name="f182" fmla="*/ f174 f161 1"/>
              <a:gd name="f183" fmla="*/ f177 f160 1"/>
              <a:gd name="f184" fmla="*/ f178 f161 1"/>
            </a:gdLst>
            <a:ahLst/>
            <a:cxnLst>
              <a:cxn ang="3cd4">
                <a:pos x="hc" y="t"/>
              </a:cxn>
              <a:cxn ang="0">
                <a:pos x="r" y="vc"/>
              </a:cxn>
              <a:cxn ang="cd4">
                <a:pos x="hc" y="b"/>
              </a:cxn>
              <a:cxn ang="cd2">
                <a:pos x="l" y="vc"/>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 ang="f176">
                <a:pos x="f183" y="f184"/>
              </a:cxn>
            </a:cxnLst>
            <a:rect l="f179" t="f182" r="f180" b="f181"/>
            <a:pathLst>
              <a:path w="448" h="208">
                <a:moveTo>
                  <a:pt x="f8" y="f9"/>
                </a:moveTo>
                <a:cubicBezTo>
                  <a:pt x="f10" y="f11"/>
                  <a:pt x="f12" y="f13"/>
                  <a:pt x="f14" y="f15"/>
                </a:cubicBezTo>
                <a:cubicBezTo>
                  <a:pt x="f16" y="f17"/>
                  <a:pt x="f18" y="f9"/>
                  <a:pt x="f19" y="f20"/>
                </a:cubicBezTo>
                <a:cubicBezTo>
                  <a:pt x="f19" y="f21"/>
                  <a:pt x="f19" y="f22"/>
                  <a:pt x="f19" y="f23"/>
                </a:cubicBezTo>
                <a:cubicBezTo>
                  <a:pt x="f19" y="f24"/>
                  <a:pt x="f25" y="f26"/>
                  <a:pt x="f27" y="f28"/>
                </a:cubicBezTo>
                <a:cubicBezTo>
                  <a:pt x="f29" y="f30"/>
                  <a:pt x="f31" y="f32"/>
                  <a:pt x="f33" y="f34"/>
                </a:cubicBezTo>
                <a:cubicBezTo>
                  <a:pt x="f35" y="f34"/>
                  <a:pt x="f35" y="f34"/>
                  <a:pt x="f35" y="f34"/>
                </a:cubicBezTo>
                <a:cubicBezTo>
                  <a:pt x="f36" y="f34"/>
                  <a:pt x="f36" y="f34"/>
                  <a:pt x="f36" y="f34"/>
                </a:cubicBezTo>
                <a:cubicBezTo>
                  <a:pt x="f36" y="f32"/>
                  <a:pt x="f36" y="f37"/>
                  <a:pt x="f36" y="f38"/>
                </a:cubicBezTo>
                <a:cubicBezTo>
                  <a:pt x="f36" y="f39"/>
                  <a:pt x="f40" y="f41"/>
                  <a:pt x="f42" y="f41"/>
                </a:cubicBezTo>
                <a:cubicBezTo>
                  <a:pt x="f43" y="f41"/>
                  <a:pt x="f44" y="f39"/>
                  <a:pt x="f44" y="f38"/>
                </a:cubicBezTo>
                <a:cubicBezTo>
                  <a:pt x="f44" y="f37"/>
                  <a:pt x="f44" y="f32"/>
                  <a:pt x="f44" y="f34"/>
                </a:cubicBezTo>
                <a:cubicBezTo>
                  <a:pt x="f45" y="f34"/>
                  <a:pt x="f45" y="f34"/>
                  <a:pt x="f45" y="f34"/>
                </a:cubicBezTo>
                <a:cubicBezTo>
                  <a:pt x="f45" y="f32"/>
                  <a:pt x="f45" y="f37"/>
                  <a:pt x="f45" y="f38"/>
                </a:cubicBezTo>
                <a:cubicBezTo>
                  <a:pt x="f45" y="f39"/>
                  <a:pt x="f46" y="f41"/>
                  <a:pt x="f47" y="f41"/>
                </a:cubicBezTo>
                <a:cubicBezTo>
                  <a:pt x="f48" y="f41"/>
                  <a:pt x="f49" y="f39"/>
                  <a:pt x="f49" y="f38"/>
                </a:cubicBezTo>
                <a:cubicBezTo>
                  <a:pt x="f49" y="f37"/>
                  <a:pt x="f49" y="f32"/>
                  <a:pt x="f49" y="f34"/>
                </a:cubicBezTo>
                <a:cubicBezTo>
                  <a:pt x="f50" y="f34"/>
                  <a:pt x="f50" y="f34"/>
                  <a:pt x="f50" y="f34"/>
                </a:cubicBezTo>
                <a:cubicBezTo>
                  <a:pt x="f51" y="f34"/>
                  <a:pt x="f52" y="f32"/>
                  <a:pt x="f53" y="f38"/>
                </a:cubicBezTo>
                <a:cubicBezTo>
                  <a:pt x="f54" y="f55"/>
                  <a:pt x="f56" y="f57"/>
                  <a:pt x="f56" y="f58"/>
                </a:cubicBezTo>
                <a:cubicBezTo>
                  <a:pt x="f56" y="f59"/>
                  <a:pt x="f60" y="f61"/>
                  <a:pt x="f62" y="f20"/>
                </a:cubicBezTo>
                <a:cubicBezTo>
                  <a:pt x="f63" y="f64"/>
                  <a:pt x="f65" y="f47"/>
                  <a:pt x="f66" y="f67"/>
                </a:cubicBezTo>
                <a:cubicBezTo>
                  <a:pt x="f68" y="f69"/>
                  <a:pt x="f70" y="f71"/>
                  <a:pt x="f11" y="f72"/>
                </a:cubicBezTo>
                <a:cubicBezTo>
                  <a:pt x="f9" y="f73"/>
                  <a:pt x="f74" y="f75"/>
                  <a:pt x="f41" y="f75"/>
                </a:cubicBezTo>
                <a:cubicBezTo>
                  <a:pt x="f76" y="f75"/>
                  <a:pt x="f76" y="f75"/>
                  <a:pt x="f76" y="f75"/>
                </a:cubicBezTo>
                <a:cubicBezTo>
                  <a:pt x="f77" y="f75"/>
                  <a:pt x="f78" y="f75"/>
                  <a:pt x="f79" y="f73"/>
                </a:cubicBezTo>
                <a:cubicBezTo>
                  <a:pt x="f80" y="f72"/>
                  <a:pt x="f81" y="f82"/>
                  <a:pt x="f33" y="f83"/>
                </a:cubicBezTo>
                <a:cubicBezTo>
                  <a:pt x="f29" y="f84"/>
                  <a:pt x="f85" y="f86"/>
                  <a:pt x="f25" y="f68"/>
                </a:cubicBezTo>
                <a:cubicBezTo>
                  <a:pt x="f18" y="f87"/>
                  <a:pt x="f88" y="f69"/>
                  <a:pt x="f89" y="f72"/>
                </a:cubicBezTo>
                <a:cubicBezTo>
                  <a:pt x="f90" y="f91"/>
                  <a:pt x="f92" y="f93"/>
                  <a:pt x="f94" y="f65"/>
                </a:cubicBezTo>
                <a:cubicBezTo>
                  <a:pt x="f95" y="f96"/>
                  <a:pt x="f97" y="f5"/>
                  <a:pt x="f98" y="f5"/>
                </a:cubicBezTo>
                <a:cubicBezTo>
                  <a:pt x="f37" y="f5"/>
                  <a:pt x="f99" y="f100"/>
                  <a:pt x="f101" y="f65"/>
                </a:cubicBezTo>
                <a:cubicBezTo>
                  <a:pt x="f64" y="f102"/>
                  <a:pt x="f73" y="f103"/>
                  <a:pt x="f104" y="f75"/>
                </a:cubicBezTo>
                <a:cubicBezTo>
                  <a:pt x="f105" y="f106"/>
                  <a:pt x="f62" y="f47"/>
                  <a:pt x="f107" y="f108"/>
                </a:cubicBezTo>
                <a:cubicBezTo>
                  <a:pt x="f109" y="f110"/>
                  <a:pt x="f5" y="f111"/>
                  <a:pt x="f5" y="f58"/>
                </a:cubicBezTo>
                <a:cubicBezTo>
                  <a:pt x="f5" y="f112"/>
                  <a:pt x="f113" y="f114"/>
                  <a:pt x="f115" y="f116"/>
                </a:cubicBezTo>
                <a:cubicBezTo>
                  <a:pt x="f109" y="f117"/>
                  <a:pt x="f54" y="f118"/>
                  <a:pt x="f50" y="f118"/>
                </a:cubicBezTo>
                <a:cubicBezTo>
                  <a:pt x="f119" y="f118"/>
                  <a:pt x="f119" y="f118"/>
                  <a:pt x="f119" y="f118"/>
                </a:cubicBezTo>
                <a:cubicBezTo>
                  <a:pt x="f120" y="f121"/>
                  <a:pt x="f122" y="f7"/>
                  <a:pt x="f47" y="f7"/>
                </a:cubicBezTo>
                <a:cubicBezTo>
                  <a:pt x="f101" y="f7"/>
                  <a:pt x="f123" y="f121"/>
                  <a:pt x="f124" y="f118"/>
                </a:cubicBezTo>
                <a:cubicBezTo>
                  <a:pt x="f125" y="f118"/>
                  <a:pt x="f125" y="f118"/>
                  <a:pt x="f125" y="f118"/>
                </a:cubicBezTo>
                <a:cubicBezTo>
                  <a:pt x="f126" y="f121"/>
                  <a:pt x="f127" y="f7"/>
                  <a:pt x="f42" y="f7"/>
                </a:cubicBezTo>
                <a:cubicBezTo>
                  <a:pt x="f128" y="f7"/>
                  <a:pt x="f129" y="f121"/>
                  <a:pt x="f130" y="f118"/>
                </a:cubicBezTo>
                <a:cubicBezTo>
                  <a:pt x="f130" y="f118"/>
                  <a:pt x="f130" y="f118"/>
                  <a:pt x="f130" y="f118"/>
                </a:cubicBezTo>
                <a:cubicBezTo>
                  <a:pt x="f131" y="f118"/>
                  <a:pt x="f131" y="f118"/>
                  <a:pt x="f131" y="f118"/>
                </a:cubicBezTo>
                <a:cubicBezTo>
                  <a:pt x="f29" y="f118"/>
                  <a:pt x="f132" y="f118"/>
                  <a:pt x="f27" y="f133"/>
                </a:cubicBezTo>
                <a:cubicBezTo>
                  <a:pt x="f134" y="f135"/>
                  <a:pt x="f6" y="f136"/>
                  <a:pt x="f6" y="f23"/>
                </a:cubicBezTo>
                <a:cubicBezTo>
                  <a:pt x="f6" y="f46"/>
                  <a:pt x="f6" y="f74"/>
                  <a:pt x="f8" y="f9"/>
                </a:cubicBezTo>
                <a:close/>
                <a:moveTo>
                  <a:pt x="f137" y="f56"/>
                </a:moveTo>
                <a:cubicBezTo>
                  <a:pt x="f138" y="f139"/>
                  <a:pt x="f140" y="f141"/>
                  <a:pt x="f142" y="f143"/>
                </a:cubicBezTo>
                <a:cubicBezTo>
                  <a:pt x="f144" y="f145"/>
                  <a:pt x="f42" y="f104"/>
                  <a:pt x="f146" y="f147"/>
                </a:cubicBezTo>
                <a:cubicBezTo>
                  <a:pt x="f137" y="f147"/>
                  <a:pt x="f137" y="f147"/>
                  <a:pt x="f137" y="f147"/>
                </a:cubicBezTo>
                <a:lnTo>
                  <a:pt x="f137" y="f56"/>
                </a:lnTo>
                <a:close/>
                <a:moveTo>
                  <a:pt x="f148" y="f56"/>
                </a:moveTo>
                <a:cubicBezTo>
                  <a:pt x="f148" y="f147"/>
                  <a:pt x="f148" y="f147"/>
                  <a:pt x="f148" y="f147"/>
                </a:cubicBezTo>
                <a:cubicBezTo>
                  <a:pt x="f149" y="f147"/>
                  <a:pt x="f149" y="f147"/>
                  <a:pt x="f149" y="f147"/>
                </a:cubicBezTo>
                <a:cubicBezTo>
                  <a:pt x="f150" y="f151"/>
                  <a:pt x="f135" y="f139"/>
                  <a:pt x="f148" y="f56"/>
                </a:cubicBezTo>
                <a:close/>
                <a:moveTo>
                  <a:pt x="f47" y="f152"/>
                </a:moveTo>
                <a:cubicBezTo>
                  <a:pt x="f122" y="f152"/>
                  <a:pt x="f102" y="f153"/>
                  <a:pt x="f102" y="f38"/>
                </a:cubicBezTo>
                <a:cubicBezTo>
                  <a:pt x="f102" y="f154"/>
                  <a:pt x="f122" y="f124"/>
                  <a:pt x="f47" y="f124"/>
                </a:cubicBezTo>
                <a:cubicBezTo>
                  <a:pt x="f155" y="f124"/>
                  <a:pt x="f23" y="f154"/>
                  <a:pt x="f23" y="f38"/>
                </a:cubicBezTo>
                <a:cubicBezTo>
                  <a:pt x="f23" y="f153"/>
                  <a:pt x="f155" y="f152"/>
                  <a:pt x="f47" y="f152"/>
                </a:cubicBezTo>
                <a:close/>
                <a:moveTo>
                  <a:pt x="f42" y="f152"/>
                </a:moveTo>
                <a:cubicBezTo>
                  <a:pt x="f156" y="f152"/>
                  <a:pt x="f157" y="f153"/>
                  <a:pt x="f157" y="f38"/>
                </a:cubicBezTo>
                <a:cubicBezTo>
                  <a:pt x="f157" y="f154"/>
                  <a:pt x="f156" y="f124"/>
                  <a:pt x="f42" y="f124"/>
                </a:cubicBezTo>
                <a:cubicBezTo>
                  <a:pt x="f158" y="f124"/>
                  <a:pt x="f80" y="f154"/>
                  <a:pt x="f80" y="f38"/>
                </a:cubicBezTo>
                <a:cubicBezTo>
                  <a:pt x="f80" y="f153"/>
                  <a:pt x="f158" y="f152"/>
                  <a:pt x="f42" y="f152"/>
                </a:cubicBezTo>
                <a:close/>
              </a:path>
            </a:pathLst>
          </a:custGeom>
          <a:solidFill>
            <a:schemeClr val="bg1">
              <a:lumMod val="50000"/>
            </a:schemeClr>
          </a:solidFill>
          <a:ln>
            <a:noFill/>
          </a:ln>
        </p:spPr>
        <p:txBody>
          <a:bodyPr/>
          <a:lstStyle/>
          <a:p>
            <a:endParaRPr lang="en-US"/>
          </a:p>
        </p:txBody>
      </p:sp>
      <p:sp>
        <p:nvSpPr>
          <p:cNvPr id="28" name="Freeform 3">
            <a:extLst>
              <a:ext uri="{FF2B5EF4-FFF2-40B4-BE49-F238E27FC236}">
                <a16:creationId xmlns:a16="http://schemas.microsoft.com/office/drawing/2014/main" id="{93E2F82C-8821-45D1-8FDB-DCC56510B5EE}"/>
              </a:ext>
            </a:extLst>
          </p:cNvPr>
          <p:cNvSpPr/>
          <p:nvPr/>
        </p:nvSpPr>
        <p:spPr>
          <a:xfrm>
            <a:off x="4798951" y="2371646"/>
            <a:ext cx="310923" cy="324996"/>
          </a:xfrm>
          <a:custGeom>
            <a:avLst/>
            <a:gdLst>
              <a:gd name="f0" fmla="val 10800000"/>
              <a:gd name="f1" fmla="val 5400000"/>
              <a:gd name="f2" fmla="val 360"/>
              <a:gd name="f3" fmla="val 180"/>
              <a:gd name="f4" fmla="val w"/>
              <a:gd name="f5" fmla="val h"/>
              <a:gd name="f6" fmla="val 0"/>
              <a:gd name="f7" fmla="val 378"/>
              <a:gd name="f8" fmla="val 395"/>
              <a:gd name="f9" fmla="val 370"/>
              <a:gd name="f10" fmla="val 90"/>
              <a:gd name="f11" fmla="val 368"/>
              <a:gd name="f12" fmla="val 86"/>
              <a:gd name="f13" fmla="val 363"/>
              <a:gd name="f14" fmla="val 84"/>
              <a:gd name="f15" fmla="val 359"/>
              <a:gd name="f16" fmla="val 355"/>
              <a:gd name="f17" fmla="val 88"/>
              <a:gd name="f18" fmla="val 354"/>
              <a:gd name="f19" fmla="val 93"/>
              <a:gd name="f20" fmla="val 356"/>
              <a:gd name="f21" fmla="val 97"/>
              <a:gd name="f22" fmla="val 105"/>
              <a:gd name="f23" fmla="val 361"/>
              <a:gd name="f24" fmla="val 114"/>
              <a:gd name="f25" fmla="val 123"/>
              <a:gd name="f26" fmla="val 145"/>
              <a:gd name="f27" fmla="val 332"/>
              <a:gd name="f28" fmla="val 159"/>
              <a:gd name="f29" fmla="val 310"/>
              <a:gd name="f30" fmla="val 154"/>
              <a:gd name="f31" fmla="val 299"/>
              <a:gd name="f32" fmla="val 152"/>
              <a:gd name="f33" fmla="val 289"/>
              <a:gd name="f34" fmla="val 146"/>
              <a:gd name="f35" fmla="val 283"/>
              <a:gd name="f36" fmla="val 137"/>
              <a:gd name="f37" fmla="val 277"/>
              <a:gd name="f38" fmla="val 128"/>
              <a:gd name="f39" fmla="val 275"/>
              <a:gd name="f40" fmla="val 117"/>
              <a:gd name="f41" fmla="val 278"/>
              <a:gd name="f42" fmla="val 107"/>
              <a:gd name="f43" fmla="val 282"/>
              <a:gd name="f44" fmla="val 85"/>
              <a:gd name="f45" fmla="val 304"/>
              <a:gd name="f46" fmla="val 71"/>
              <a:gd name="f47" fmla="val 327"/>
              <a:gd name="f48" fmla="val 76"/>
              <a:gd name="f49" fmla="val 330"/>
              <a:gd name="f50" fmla="val 333"/>
              <a:gd name="f51" fmla="val 77"/>
              <a:gd name="f52" fmla="val 336"/>
              <a:gd name="f53" fmla="val 79"/>
              <a:gd name="f54" fmla="val 340"/>
              <a:gd name="f55" fmla="val 80"/>
              <a:gd name="f56" fmla="val 345"/>
              <a:gd name="f57" fmla="val 347"/>
              <a:gd name="f58" fmla="val 75"/>
              <a:gd name="f59" fmla="val 349"/>
              <a:gd name="f60" fmla="val 66"/>
              <a:gd name="f61" fmla="val 343"/>
              <a:gd name="f62" fmla="val 64"/>
              <a:gd name="f63" fmla="val 339"/>
              <a:gd name="f64" fmla="val 62"/>
              <a:gd name="f65" fmla="val 335"/>
              <a:gd name="f66" fmla="val 61"/>
              <a:gd name="f67" fmla="val 60"/>
              <a:gd name="f68" fmla="val 314"/>
              <a:gd name="f69" fmla="val 57"/>
              <a:gd name="f70" fmla="val 286"/>
              <a:gd name="f71" fmla="val 68"/>
              <a:gd name="f72" fmla="val 201"/>
              <a:gd name="f73" fmla="val 42"/>
              <a:gd name="f74" fmla="val 199"/>
              <a:gd name="f75" fmla="val 35"/>
              <a:gd name="f76" fmla="val 195"/>
              <a:gd name="f77" fmla="val 28"/>
              <a:gd name="f78" fmla="val 190"/>
              <a:gd name="f79" fmla="val 22"/>
              <a:gd name="f80" fmla="val 181"/>
              <a:gd name="f81" fmla="val 10"/>
              <a:gd name="f82" fmla="val 167"/>
              <a:gd name="f83" fmla="val 3"/>
              <a:gd name="f84" fmla="val 151"/>
              <a:gd name="f85" fmla="val 2"/>
              <a:gd name="f86" fmla="val 136"/>
              <a:gd name="f87" fmla="val 122"/>
              <a:gd name="f88" fmla="val 5"/>
              <a:gd name="f89" fmla="val 111"/>
              <a:gd name="f90" fmla="val 13"/>
              <a:gd name="f91" fmla="val 103"/>
              <a:gd name="f92" fmla="val 9"/>
              <a:gd name="f93" fmla="val 91"/>
              <a:gd name="f94" fmla="val 70"/>
              <a:gd name="f95" fmla="val 4"/>
              <a:gd name="f96" fmla="val 21"/>
              <a:gd name="f97" fmla="val 40"/>
              <a:gd name="f98" fmla="val 45"/>
              <a:gd name="f99" fmla="val 1"/>
              <a:gd name="f100" fmla="val 48"/>
              <a:gd name="f101" fmla="val 51"/>
              <a:gd name="f102" fmla="val 16"/>
              <a:gd name="f103" fmla="val 19"/>
              <a:gd name="f104" fmla="val 67"/>
              <a:gd name="f105" fmla="val 24"/>
              <a:gd name="f106" fmla="val 27"/>
              <a:gd name="f107" fmla="val 47"/>
              <a:gd name="f108" fmla="val 69"/>
              <a:gd name="f109" fmla="val 49"/>
              <a:gd name="f110" fmla="val 53"/>
              <a:gd name="f111" fmla="val 89"/>
              <a:gd name="f112" fmla="val 63"/>
              <a:gd name="f113" fmla="val 74"/>
              <a:gd name="f114" fmla="val 96"/>
              <a:gd name="f115" fmla="val 83"/>
              <a:gd name="f116" fmla="val 92"/>
              <a:gd name="f117" fmla="val 98"/>
              <a:gd name="f118" fmla="val 99"/>
              <a:gd name="f119" fmla="val 46"/>
              <a:gd name="f120" fmla="val 33"/>
              <a:gd name="f121" fmla="val 95"/>
              <a:gd name="f122" fmla="val 29"/>
              <a:gd name="f123" fmla="val 25"/>
              <a:gd name="f124" fmla="val 23"/>
              <a:gd name="f125" fmla="val 116"/>
              <a:gd name="f126" fmla="val 15"/>
              <a:gd name="f127" fmla="val 119"/>
              <a:gd name="f128" fmla="val 18"/>
              <a:gd name="f129" fmla="val 125"/>
              <a:gd name="f130" fmla="val 126"/>
              <a:gd name="f131" fmla="val 36"/>
              <a:gd name="f132" fmla="val 142"/>
              <a:gd name="f133" fmla="val 65"/>
              <a:gd name="f134" fmla="val 140"/>
              <a:gd name="f135" fmla="val 127"/>
              <a:gd name="f136" fmla="val 118"/>
              <a:gd name="f137" fmla="val 132"/>
              <a:gd name="f138" fmla="val 135"/>
              <a:gd name="f139" fmla="val 138"/>
              <a:gd name="f140" fmla="val 112"/>
              <a:gd name="f141" fmla="val 141"/>
              <a:gd name="f142" fmla="val 143"/>
              <a:gd name="f143" fmla="val 144"/>
              <a:gd name="f144" fmla="val 113"/>
              <a:gd name="f145" fmla="val 157"/>
              <a:gd name="f146" fmla="val 110"/>
              <a:gd name="f147" fmla="val 176"/>
              <a:gd name="f148" fmla="val 104"/>
              <a:gd name="f149" fmla="val 264"/>
              <a:gd name="f150" fmla="val 134"/>
              <a:gd name="f151" fmla="val 265"/>
              <a:gd name="f152" fmla="val 213"/>
              <a:gd name="f153" fmla="val 207"/>
              <a:gd name="f154" fmla="val 182"/>
              <a:gd name="f155" fmla="val 208"/>
              <a:gd name="f156" fmla="val 233"/>
              <a:gd name="f157" fmla="val 263"/>
              <a:gd name="f158" fmla="val 270"/>
              <a:gd name="f159" fmla="val 158"/>
              <a:gd name="f160" fmla="val 276"/>
              <a:gd name="f161" fmla="val 161"/>
              <a:gd name="f162" fmla="val 364"/>
              <a:gd name="f163" fmla="val 379"/>
              <a:gd name="f164" fmla="val 386"/>
              <a:gd name="f165" fmla="val 94"/>
              <a:gd name="f166" fmla="val 391"/>
              <a:gd name="f167" fmla="val 100"/>
              <a:gd name="f168" fmla="val 106"/>
              <a:gd name="f169" fmla="val 324"/>
              <a:gd name="f170" fmla="val 338"/>
              <a:gd name="f171" fmla="val 341"/>
              <a:gd name="f172" fmla="val 269"/>
              <a:gd name="f173" fmla="val 271"/>
              <a:gd name="f174" fmla="val 273"/>
              <a:gd name="f175" fmla="val 257"/>
              <a:gd name="f176" fmla="val 272"/>
              <a:gd name="f177" fmla="val 251"/>
              <a:gd name="f178" fmla="val 246"/>
              <a:gd name="f179" fmla="val 171"/>
              <a:gd name="f180" fmla="val 348"/>
              <a:gd name="f181" fmla="val 169"/>
              <a:gd name="f182" fmla="val 369"/>
              <a:gd name="f183" fmla="val 375"/>
              <a:gd name="f184" fmla="val 376"/>
              <a:gd name="f185" fmla="val 101"/>
              <a:gd name="f186" fmla="val 37"/>
              <a:gd name="f187" fmla="val 87"/>
              <a:gd name="f188" fmla="val 31"/>
              <a:gd name="f189" fmla="val 41"/>
              <a:gd name="f190" fmla="val 44"/>
              <a:gd name="f191" fmla="val 20"/>
              <a:gd name="f192" fmla="val 32"/>
              <a:gd name="f193" fmla="val 121"/>
              <a:gd name="f194" fmla="val 81"/>
              <a:gd name="f195" fmla="val 124"/>
              <a:gd name="f196" fmla="val 73"/>
              <a:gd name="f197" fmla="val 50"/>
              <a:gd name="f198" fmla="val 39"/>
              <a:gd name="f199" fmla="val 120"/>
              <a:gd name="f200" fmla="val 115"/>
              <a:gd name="f201" fmla="val 78"/>
              <a:gd name="f202" fmla="val 102"/>
              <a:gd name="f203" fmla="val 109"/>
              <a:gd name="f204" fmla="val 187"/>
              <a:gd name="f205" fmla="val 185"/>
              <a:gd name="f206" fmla="val 82"/>
              <a:gd name="f207" fmla="val 165"/>
              <a:gd name="f208" fmla="val 131"/>
              <a:gd name="f209" fmla="val 108"/>
              <a:gd name="f210" fmla="val 147"/>
              <a:gd name="f211" fmla="val 149"/>
              <a:gd name="f212" fmla="val 150"/>
              <a:gd name="f213" fmla="val 178"/>
              <a:gd name="f214" fmla="val 188"/>
              <a:gd name="f215" fmla="val 262"/>
              <a:gd name="f216" fmla="val 261"/>
              <a:gd name="f217" fmla="val 197"/>
              <a:gd name="f218" fmla="val 202"/>
              <a:gd name="f219" fmla="val 203"/>
              <a:gd name="f220" fmla="val 59"/>
              <a:gd name="f221" fmla="val 268"/>
              <a:gd name="f222" fmla="val 215"/>
              <a:gd name="f223" fmla="val 223"/>
              <a:gd name="f224" fmla="val 238"/>
              <a:gd name="f225" fmla="val 241"/>
              <a:gd name="f226" fmla="val 192"/>
              <a:gd name="f227" fmla="val 173"/>
              <a:gd name="f228" fmla="val 323"/>
              <a:gd name="f229" fmla="val 374"/>
              <a:gd name="f230" fmla="val 297"/>
              <a:gd name="f231" fmla="val 179"/>
              <a:gd name="f232" fmla="val 311"/>
              <a:gd name="f233" fmla="val 196"/>
              <a:gd name="f234" fmla="val 320"/>
              <a:gd name="f235" fmla="val 234"/>
              <a:gd name="f236" fmla="val 250"/>
              <a:gd name="f237" fmla="val 230"/>
              <a:gd name="f238" fmla="val 254"/>
              <a:gd name="f239" fmla="val 220"/>
              <a:gd name="f240" fmla="val 244"/>
              <a:gd name="f241" fmla="val 232"/>
              <a:gd name="f242" fmla="val 210"/>
              <a:gd name="f243" fmla="val 274"/>
              <a:gd name="f244" fmla="val 160"/>
              <a:gd name="f245" fmla="val 293"/>
              <a:gd name="f246" fmla="val 305"/>
              <a:gd name="f247" fmla="val 170"/>
              <a:gd name="f248" fmla="+- 0 0 -90"/>
              <a:gd name="f249" fmla="*/ f4 1 378"/>
              <a:gd name="f250" fmla="*/ f5 1 395"/>
              <a:gd name="f251" fmla="+- f8 0 f6"/>
              <a:gd name="f252" fmla="+- f7 0 f6"/>
              <a:gd name="f253" fmla="*/ f248 f0 1"/>
              <a:gd name="f254" fmla="*/ f252 1 378"/>
              <a:gd name="f255" fmla="*/ f251 1 395"/>
              <a:gd name="f256" fmla="*/ 2147483647 f252 1"/>
              <a:gd name="f257" fmla="*/ 2147483647 f251 1"/>
              <a:gd name="f258" fmla="*/ f253 1 f3"/>
              <a:gd name="f259" fmla="*/ f256 1 378"/>
              <a:gd name="f260" fmla="*/ f257 1 395"/>
              <a:gd name="f261" fmla="*/ 0 1 f254"/>
              <a:gd name="f262" fmla="*/ f7 1 f254"/>
              <a:gd name="f263" fmla="*/ 0 1 f255"/>
              <a:gd name="f264" fmla="*/ f8 1 f255"/>
              <a:gd name="f265" fmla="+- f258 0 f1"/>
              <a:gd name="f266" fmla="*/ f259 1 f254"/>
              <a:gd name="f267" fmla="*/ f260 1 f255"/>
              <a:gd name="f268" fmla="*/ f261 f249 1"/>
              <a:gd name="f269" fmla="*/ f262 f249 1"/>
              <a:gd name="f270" fmla="*/ f264 f250 1"/>
              <a:gd name="f271" fmla="*/ f263 f250 1"/>
              <a:gd name="f272" fmla="*/ f266 f249 1"/>
              <a:gd name="f273" fmla="*/ f267 f250 1"/>
            </a:gdLst>
            <a:ahLst/>
            <a:cxnLst>
              <a:cxn ang="3cd4">
                <a:pos x="hc" y="t"/>
              </a:cxn>
              <a:cxn ang="0">
                <a:pos x="r" y="vc"/>
              </a:cxn>
              <a:cxn ang="cd4">
                <a:pos x="hc" y="b"/>
              </a:cxn>
              <a:cxn ang="cd2">
                <a:pos x="l" y="vc"/>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 ang="f265">
                <a:pos x="f272" y="f273"/>
              </a:cxn>
            </a:cxnLst>
            <a:rect l="f268" t="f271" r="f269" b="f270"/>
            <a:pathLst>
              <a:path w="378" h="395">
                <a:moveTo>
                  <a:pt x="f9" y="f10"/>
                </a:moveTo>
                <a:cubicBezTo>
                  <a:pt x="f11" y="f12"/>
                  <a:pt x="f13" y="f14"/>
                  <a:pt x="f15" y="f12"/>
                </a:cubicBezTo>
                <a:cubicBezTo>
                  <a:pt x="f16" y="f17"/>
                  <a:pt x="f18" y="f19"/>
                  <a:pt x="f20" y="f21"/>
                </a:cubicBezTo>
                <a:cubicBezTo>
                  <a:pt x="f2" y="f22"/>
                  <a:pt x="f23" y="f24"/>
                  <a:pt x="f15" y="f25"/>
                </a:cubicBezTo>
                <a:cubicBezTo>
                  <a:pt x="f18" y="f26"/>
                  <a:pt x="f27" y="f28"/>
                  <a:pt x="f29" y="f30"/>
                </a:cubicBezTo>
                <a:cubicBezTo>
                  <a:pt x="f31" y="f32"/>
                  <a:pt x="f33" y="f34"/>
                  <a:pt x="f35" y="f36"/>
                </a:cubicBezTo>
                <a:cubicBezTo>
                  <a:pt x="f37" y="f38"/>
                  <a:pt x="f39" y="f40"/>
                  <a:pt x="f41" y="f42"/>
                </a:cubicBezTo>
                <a:cubicBezTo>
                  <a:pt x="f43" y="f44"/>
                  <a:pt x="f45" y="f46"/>
                  <a:pt x="f47" y="f48"/>
                </a:cubicBezTo>
                <a:cubicBezTo>
                  <a:pt x="f49" y="f48"/>
                  <a:pt x="f50" y="f51"/>
                  <a:pt x="f52" y="f53"/>
                </a:cubicBezTo>
                <a:cubicBezTo>
                  <a:pt x="f54" y="f55"/>
                  <a:pt x="f56" y="f53"/>
                  <a:pt x="f57" y="f58"/>
                </a:cubicBezTo>
                <a:cubicBezTo>
                  <a:pt x="f59" y="f46"/>
                  <a:pt x="f57" y="f60"/>
                  <a:pt x="f61" y="f62"/>
                </a:cubicBezTo>
                <a:cubicBezTo>
                  <a:pt x="f63" y="f64"/>
                  <a:pt x="f65" y="f66"/>
                  <a:pt x="f49" y="f67"/>
                </a:cubicBezTo>
                <a:cubicBezTo>
                  <a:pt x="f68" y="f69"/>
                  <a:pt x="f31" y="f67"/>
                  <a:pt x="f70" y="f71"/>
                </a:cubicBezTo>
                <a:cubicBezTo>
                  <a:pt x="f72" y="f73"/>
                  <a:pt x="f72" y="f73"/>
                  <a:pt x="f72" y="f73"/>
                </a:cubicBezTo>
                <a:cubicBezTo>
                  <a:pt x="f74" y="f75"/>
                  <a:pt x="f76" y="f77"/>
                  <a:pt x="f78" y="f79"/>
                </a:cubicBezTo>
                <a:cubicBezTo>
                  <a:pt x="f80" y="f81"/>
                  <a:pt x="f82" y="f83"/>
                  <a:pt x="f84" y="f85"/>
                </a:cubicBezTo>
                <a:cubicBezTo>
                  <a:pt x="f86" y="f6"/>
                  <a:pt x="f87" y="f88"/>
                  <a:pt x="f89" y="f90"/>
                </a:cubicBezTo>
                <a:cubicBezTo>
                  <a:pt x="f91" y="f92"/>
                  <a:pt x="f93" y="f88"/>
                  <a:pt x="f94" y="f95"/>
                </a:cubicBezTo>
                <a:cubicBezTo>
                  <a:pt x="f96" y="f83"/>
                  <a:pt x="f83" y="f97"/>
                  <a:pt x="f85" y="f73"/>
                </a:cubicBezTo>
                <a:cubicBezTo>
                  <a:pt x="f6" y="f98"/>
                  <a:pt x="f99" y="f100"/>
                  <a:pt x="f83" y="f101"/>
                </a:cubicBezTo>
                <a:cubicBezTo>
                  <a:pt x="f102" y="f62"/>
                  <a:pt x="f102" y="f62"/>
                  <a:pt x="f102" y="f62"/>
                </a:cubicBezTo>
                <a:cubicBezTo>
                  <a:pt x="f103" y="f104"/>
                  <a:pt x="f105" y="f104"/>
                  <a:pt x="f106" y="f62"/>
                </a:cubicBezTo>
                <a:cubicBezTo>
                  <a:pt x="f106" y="f62"/>
                  <a:pt x="f107" y="f107"/>
                  <a:pt x="f108" y="f107"/>
                </a:cubicBezTo>
                <a:cubicBezTo>
                  <a:pt x="f94" y="f107"/>
                  <a:pt x="f94" y="f107"/>
                  <a:pt x="f94" y="f107"/>
                </a:cubicBezTo>
                <a:cubicBezTo>
                  <a:pt x="f51" y="f107"/>
                  <a:pt x="f14" y="f109"/>
                  <a:pt x="f10" y="f110"/>
                </a:cubicBezTo>
                <a:cubicBezTo>
                  <a:pt x="f111" y="f112"/>
                  <a:pt x="f93" y="f113"/>
                  <a:pt x="f114" y="f115"/>
                </a:cubicBezTo>
                <a:cubicBezTo>
                  <a:pt x="f116" y="f17"/>
                  <a:pt x="f12" y="f19"/>
                  <a:pt x="f53" y="f114"/>
                </a:cubicBezTo>
                <a:cubicBezTo>
                  <a:pt x="f113" y="f117"/>
                  <a:pt x="f104" y="f118"/>
                  <a:pt x="f67" y="f118"/>
                </a:cubicBezTo>
                <a:cubicBezTo>
                  <a:pt x="f119" y="f118"/>
                  <a:pt x="f120" y="f121"/>
                  <a:pt x="f120" y="f121"/>
                </a:cubicBezTo>
                <a:cubicBezTo>
                  <a:pt x="f122" y="f19"/>
                  <a:pt x="f123" y="f121"/>
                  <a:pt x="f124" y="f118"/>
                </a:cubicBezTo>
                <a:cubicBezTo>
                  <a:pt x="f102" y="f125"/>
                  <a:pt x="f102" y="f125"/>
                  <a:pt x="f102" y="f125"/>
                </a:cubicBezTo>
                <a:cubicBezTo>
                  <a:pt x="f126" y="f127"/>
                  <a:pt x="f126" y="f25"/>
                  <a:pt x="f128" y="f129"/>
                </a:cubicBezTo>
                <a:cubicBezTo>
                  <a:pt x="f103" y="f130"/>
                  <a:pt x="f131" y="f132"/>
                  <a:pt x="f133" y="f132"/>
                </a:cubicBezTo>
                <a:cubicBezTo>
                  <a:pt x="f58" y="f132"/>
                  <a:pt x="f44" y="f134"/>
                  <a:pt x="f121" y="f86"/>
                </a:cubicBezTo>
                <a:cubicBezTo>
                  <a:pt x="f125" y="f135"/>
                  <a:pt x="f135" y="f136"/>
                  <a:pt x="f137" y="f89"/>
                </a:cubicBezTo>
                <a:cubicBezTo>
                  <a:pt x="f138" y="f89"/>
                  <a:pt x="f139" y="f140"/>
                  <a:pt x="f141" y="f140"/>
                </a:cubicBezTo>
                <a:cubicBezTo>
                  <a:pt x="f142" y="f140"/>
                  <a:pt x="f143" y="f144"/>
                  <a:pt x="f34" y="f144"/>
                </a:cubicBezTo>
                <a:cubicBezTo>
                  <a:pt x="f34" y="f144"/>
                  <a:pt x="f34" y="f144"/>
                  <a:pt x="f34" y="f144"/>
                </a:cubicBezTo>
                <a:cubicBezTo>
                  <a:pt x="f145" y="f144"/>
                  <a:pt x="f82" y="f146"/>
                  <a:pt x="f147" y="f148"/>
                </a:cubicBezTo>
                <a:cubicBezTo>
                  <a:pt x="f149" y="f137"/>
                  <a:pt x="f149" y="f137"/>
                  <a:pt x="f149" y="f137"/>
                </a:cubicBezTo>
                <a:cubicBezTo>
                  <a:pt x="f149" y="f150"/>
                  <a:pt x="f149" y="f138"/>
                  <a:pt x="f151" y="f86"/>
                </a:cubicBezTo>
                <a:cubicBezTo>
                  <a:pt x="f152" y="f153"/>
                  <a:pt x="f152" y="f153"/>
                  <a:pt x="f152" y="f153"/>
                </a:cubicBezTo>
                <a:cubicBezTo>
                  <a:pt x="f154" y="f155"/>
                  <a:pt x="f145" y="f156"/>
                  <a:pt x="f145" y="f157"/>
                </a:cubicBezTo>
                <a:cubicBezTo>
                  <a:pt x="f145" y="f158"/>
                  <a:pt x="f159" y="f160"/>
                  <a:pt x="f161" y="f43"/>
                </a:cubicBezTo>
                <a:cubicBezTo>
                  <a:pt x="f121" y="f162"/>
                  <a:pt x="f121" y="f162"/>
                  <a:pt x="f121" y="f162"/>
                </a:cubicBezTo>
                <a:cubicBezTo>
                  <a:pt x="f10" y="f9"/>
                  <a:pt x="f111" y="f163"/>
                  <a:pt x="f116" y="f164"/>
                </a:cubicBezTo>
                <a:cubicBezTo>
                  <a:pt x="f165" y="f166"/>
                  <a:pt x="f167" y="f8"/>
                  <a:pt x="f168" y="f8"/>
                </a:cubicBezTo>
                <a:cubicBezTo>
                  <a:pt x="f169" y="f8"/>
                  <a:pt x="f169" y="f8"/>
                  <a:pt x="f169" y="f8"/>
                </a:cubicBezTo>
                <a:cubicBezTo>
                  <a:pt x="f49" y="f8"/>
                  <a:pt x="f65" y="f166"/>
                  <a:pt x="f170" y="f164"/>
                </a:cubicBezTo>
                <a:cubicBezTo>
                  <a:pt x="f171" y="f163"/>
                  <a:pt x="f54" y="f9"/>
                  <a:pt x="f65" y="f162"/>
                </a:cubicBezTo>
                <a:cubicBezTo>
                  <a:pt x="f172" y="f43"/>
                  <a:pt x="f172" y="f43"/>
                  <a:pt x="f172" y="f43"/>
                </a:cubicBezTo>
                <a:cubicBezTo>
                  <a:pt x="f173" y="f160"/>
                  <a:pt x="f174" y="f158"/>
                  <a:pt x="f174" y="f157"/>
                </a:cubicBezTo>
                <a:cubicBezTo>
                  <a:pt x="f174" y="f175"/>
                  <a:pt x="f176" y="f177"/>
                  <a:pt x="f158" y="f178"/>
                </a:cubicBezTo>
                <a:cubicBezTo>
                  <a:pt x="f169" y="f179"/>
                  <a:pt x="f169" y="f179"/>
                  <a:pt x="f169" y="f179"/>
                </a:cubicBezTo>
                <a:cubicBezTo>
                  <a:pt x="f180" y="f181"/>
                  <a:pt x="f182" y="f84"/>
                  <a:pt x="f183" y="f135"/>
                </a:cubicBezTo>
                <a:cubicBezTo>
                  <a:pt x="f7" y="f24"/>
                  <a:pt x="f184" y="f185"/>
                  <a:pt x="f9" y="f10"/>
                </a:cubicBezTo>
                <a:close/>
                <a:moveTo>
                  <a:pt x="f19" y="f186"/>
                </a:moveTo>
                <a:cubicBezTo>
                  <a:pt x="f187" y="f120"/>
                  <a:pt x="f53" y="f188"/>
                  <a:pt x="f94" y="f188"/>
                </a:cubicBezTo>
                <a:cubicBezTo>
                  <a:pt x="f108" y="f188"/>
                  <a:pt x="f108" y="f188"/>
                  <a:pt x="f108" y="f188"/>
                </a:cubicBezTo>
                <a:cubicBezTo>
                  <a:pt x="f109" y="f188"/>
                  <a:pt x="f188" y="f189"/>
                  <a:pt x="f124" y="f107"/>
                </a:cubicBezTo>
                <a:cubicBezTo>
                  <a:pt x="f103" y="f190"/>
                  <a:pt x="f103" y="f190"/>
                  <a:pt x="f103" y="f190"/>
                </a:cubicBezTo>
                <a:cubicBezTo>
                  <a:pt x="f123" y="f131"/>
                  <a:pt x="f97" y="f191"/>
                  <a:pt x="f94" y="f191"/>
                </a:cubicBezTo>
                <a:cubicBezTo>
                  <a:pt x="f14" y="f96"/>
                  <a:pt x="f19" y="f124"/>
                  <a:pt x="f167" y="f123"/>
                </a:cubicBezTo>
                <a:cubicBezTo>
                  <a:pt x="f21" y="f122"/>
                  <a:pt x="f121" y="f192"/>
                  <a:pt x="f19" y="f186"/>
                </a:cubicBezTo>
                <a:close/>
                <a:moveTo>
                  <a:pt x="f111" y="f193"/>
                </a:moveTo>
                <a:cubicBezTo>
                  <a:pt x="f194" y="f195"/>
                  <a:pt x="f196" y="f130"/>
                  <a:pt x="f133" y="f130"/>
                </a:cubicBezTo>
                <a:cubicBezTo>
                  <a:pt x="f197" y="f130"/>
                  <a:pt x="f198" y="f199"/>
                  <a:pt x="f120" y="f125"/>
                </a:cubicBezTo>
                <a:cubicBezTo>
                  <a:pt x="f75" y="f140"/>
                  <a:pt x="f75" y="f140"/>
                  <a:pt x="f75" y="f140"/>
                </a:cubicBezTo>
                <a:cubicBezTo>
                  <a:pt x="f189" y="f24"/>
                  <a:pt x="f197" y="f200"/>
                  <a:pt x="f67" y="f200"/>
                </a:cubicBezTo>
                <a:cubicBezTo>
                  <a:pt x="f108" y="f200"/>
                  <a:pt x="f201" y="f24"/>
                  <a:pt x="f44" y="f89"/>
                </a:cubicBezTo>
                <a:cubicBezTo>
                  <a:pt x="f165" y="f42"/>
                  <a:pt x="f185" y="f202"/>
                  <a:pt x="f168" y="f114"/>
                </a:cubicBezTo>
                <a:cubicBezTo>
                  <a:pt x="f203" y="f118"/>
                  <a:pt x="f144" y="f202"/>
                  <a:pt x="f40" y="f148"/>
                </a:cubicBezTo>
                <a:cubicBezTo>
                  <a:pt x="f140" y="f203"/>
                  <a:pt x="f148" y="f200"/>
                  <a:pt x="f111" y="f193"/>
                </a:cubicBezTo>
                <a:close/>
                <a:moveTo>
                  <a:pt x="f204" y="f66"/>
                </a:moveTo>
                <a:cubicBezTo>
                  <a:pt x="f205" y="f206"/>
                  <a:pt x="f207" y="f117"/>
                  <a:pt x="f132" y="f114"/>
                </a:cubicBezTo>
                <a:cubicBezTo>
                  <a:pt x="f208" y="f121"/>
                  <a:pt x="f193" y="f10"/>
                  <a:pt x="f24" y="f206"/>
                </a:cubicBezTo>
                <a:cubicBezTo>
                  <a:pt x="f209" y="f113"/>
                  <a:pt x="f22" y="f62"/>
                  <a:pt x="f168" y="f110"/>
                </a:cubicBezTo>
                <a:cubicBezTo>
                  <a:pt x="f42" y="f120"/>
                  <a:pt x="f129" y="f128"/>
                  <a:pt x="f34" y="f128"/>
                </a:cubicBezTo>
                <a:cubicBezTo>
                  <a:pt x="f210" y="f128"/>
                  <a:pt x="f211" y="f128"/>
                  <a:pt x="f212" y="f128"/>
                </a:cubicBezTo>
                <a:cubicBezTo>
                  <a:pt x="f161" y="f103"/>
                  <a:pt x="f179" y="f105"/>
                  <a:pt x="f213" y="f192"/>
                </a:cubicBezTo>
                <a:cubicBezTo>
                  <a:pt x="f205" y="f97"/>
                  <a:pt x="f214" y="f197"/>
                  <a:pt x="f204" y="f66"/>
                </a:cubicBezTo>
                <a:close/>
                <a:moveTo>
                  <a:pt x="f215" y="f91"/>
                </a:moveTo>
                <a:cubicBezTo>
                  <a:pt x="f216" y="f42"/>
                  <a:pt x="f216" y="f89"/>
                  <a:pt x="f216" y="f200"/>
                </a:cubicBezTo>
                <a:cubicBezTo>
                  <a:pt x="f78" y="f116"/>
                  <a:pt x="f78" y="f116"/>
                  <a:pt x="f78" y="f116"/>
                </a:cubicBezTo>
                <a:cubicBezTo>
                  <a:pt x="f217" y="f14"/>
                  <a:pt x="f218" y="f113"/>
                  <a:pt x="f219" y="f64"/>
                </a:cubicBezTo>
                <a:cubicBezTo>
                  <a:pt x="f219" y="f66"/>
                  <a:pt x="f219" y="f67"/>
                  <a:pt x="f219" y="f220"/>
                </a:cubicBezTo>
                <a:cubicBezTo>
                  <a:pt x="f174" y="f194"/>
                  <a:pt x="f174" y="f194"/>
                  <a:pt x="f174" y="f194"/>
                </a:cubicBezTo>
                <a:cubicBezTo>
                  <a:pt x="f221" y="f187"/>
                  <a:pt x="f149" y="f121"/>
                  <a:pt x="f215" y="f91"/>
                </a:cubicBezTo>
                <a:close/>
                <a:moveTo>
                  <a:pt x="f222" y="f223"/>
                </a:moveTo>
                <a:cubicBezTo>
                  <a:pt x="f224" y="f223"/>
                  <a:pt x="f175" y="f225"/>
                  <a:pt x="f175" y="f157"/>
                </a:cubicBezTo>
                <a:cubicBezTo>
                  <a:pt x="f175" y="f70"/>
                  <a:pt x="f224" y="f45"/>
                  <a:pt x="f222" y="f45"/>
                </a:cubicBezTo>
                <a:cubicBezTo>
                  <a:pt x="f226" y="f45"/>
                  <a:pt x="f227" y="f70"/>
                  <a:pt x="f227" y="f157"/>
                </a:cubicBezTo>
                <a:cubicBezTo>
                  <a:pt x="f227" y="f225"/>
                  <a:pt x="f226" y="f223"/>
                  <a:pt x="f222" y="f223"/>
                </a:cubicBezTo>
                <a:close/>
                <a:moveTo>
                  <a:pt x="f228" y="f229"/>
                </a:moveTo>
                <a:cubicBezTo>
                  <a:pt x="f169" y="f184"/>
                  <a:pt x="f169" y="f7"/>
                  <a:pt x="f169" y="f163"/>
                </a:cubicBezTo>
                <a:cubicBezTo>
                  <a:pt x="f168" y="f163"/>
                  <a:pt x="f168" y="f163"/>
                  <a:pt x="f168" y="f163"/>
                </a:cubicBezTo>
                <a:cubicBezTo>
                  <a:pt x="f168" y="f7"/>
                  <a:pt x="f168" y="f184"/>
                  <a:pt x="f42" y="f229"/>
                </a:cubicBezTo>
                <a:cubicBezTo>
                  <a:pt x="f181" y="f230"/>
                  <a:pt x="f181" y="f230"/>
                  <a:pt x="f181" y="f230"/>
                </a:cubicBezTo>
                <a:cubicBezTo>
                  <a:pt x="f231" y="f232"/>
                  <a:pt x="f233" y="f234"/>
                  <a:pt x="f222" y="f234"/>
                </a:cubicBezTo>
                <a:cubicBezTo>
                  <a:pt x="f235" y="f234"/>
                  <a:pt x="f236" y="f232"/>
                  <a:pt x="f216" y="f230"/>
                </a:cubicBezTo>
                <a:lnTo>
                  <a:pt x="f228" y="f229"/>
                </a:lnTo>
                <a:close/>
                <a:moveTo>
                  <a:pt x="f216" y="f237"/>
                </a:moveTo>
                <a:cubicBezTo>
                  <a:pt x="f238" y="f239"/>
                  <a:pt x="f240" y="f152"/>
                  <a:pt x="f241" y="f242"/>
                </a:cubicBezTo>
                <a:cubicBezTo>
                  <a:pt x="f243" y="f84"/>
                  <a:pt x="f243" y="f84"/>
                  <a:pt x="f243" y="f84"/>
                </a:cubicBezTo>
                <a:cubicBezTo>
                  <a:pt x="f43" y="f244"/>
                  <a:pt x="f245" y="f82"/>
                  <a:pt x="f246" y="f247"/>
                </a:cubicBezTo>
                <a:lnTo>
                  <a:pt x="f216" y="f237"/>
                </a:lnTo>
                <a:close/>
              </a:path>
            </a:pathLst>
          </a:custGeom>
          <a:solidFill>
            <a:srgbClr val="B1B3B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1" i="0" u="none" strike="noStrike" kern="1200" cap="none" spc="0" baseline="0">
              <a:uFillTx/>
              <a:latin typeface="Arial"/>
            </a:endParaRPr>
          </a:p>
        </p:txBody>
      </p:sp>
      <p:sp>
        <p:nvSpPr>
          <p:cNvPr id="29" name="Freeform 3">
            <a:extLst>
              <a:ext uri="{FF2B5EF4-FFF2-40B4-BE49-F238E27FC236}">
                <a16:creationId xmlns:a16="http://schemas.microsoft.com/office/drawing/2014/main" id="{0C94A794-C2D6-44BF-84CA-4A893BCDCD0F}"/>
              </a:ext>
            </a:extLst>
          </p:cNvPr>
          <p:cNvSpPr/>
          <p:nvPr/>
        </p:nvSpPr>
        <p:spPr>
          <a:xfrm>
            <a:off x="5366623" y="2452846"/>
            <a:ext cx="473906" cy="252264"/>
          </a:xfrm>
          <a:custGeom>
            <a:avLst/>
            <a:gdLst>
              <a:gd name="f0" fmla="val 10800000"/>
              <a:gd name="f1" fmla="val 5400000"/>
              <a:gd name="f2" fmla="val 360"/>
              <a:gd name="f3" fmla="val 180"/>
              <a:gd name="f4" fmla="val w"/>
              <a:gd name="f5" fmla="val h"/>
              <a:gd name="f6" fmla="val 0"/>
              <a:gd name="f7" fmla="val 524"/>
              <a:gd name="f8" fmla="val 279"/>
              <a:gd name="f9" fmla="val 516"/>
              <a:gd name="f10" fmla="val 69"/>
              <a:gd name="f11" fmla="val 512"/>
              <a:gd name="f12" fmla="val 508"/>
              <a:gd name="f13" fmla="val 72"/>
              <a:gd name="f14" fmla="val 77"/>
              <a:gd name="f15" fmla="val 227"/>
              <a:gd name="f16" fmla="val 235"/>
              <a:gd name="f17" fmla="val 502"/>
              <a:gd name="f18" fmla="val 241"/>
              <a:gd name="f19" fmla="val 494"/>
              <a:gd name="f20" fmla="val 474"/>
              <a:gd name="f21" fmla="val 239"/>
              <a:gd name="f22" fmla="val 475"/>
              <a:gd name="f23" fmla="val 237"/>
              <a:gd name="f24" fmla="val 210"/>
              <a:gd name="f25" fmla="val 455"/>
              <a:gd name="f26" fmla="val 190"/>
              <a:gd name="f27" fmla="val 430"/>
              <a:gd name="f28" fmla="val 406"/>
              <a:gd name="f29" fmla="val 386"/>
              <a:gd name="f30" fmla="val 209"/>
              <a:gd name="f31" fmla="val 385"/>
              <a:gd name="f32" fmla="val 233"/>
              <a:gd name="f33" fmla="val 140"/>
              <a:gd name="f34" fmla="val 139"/>
              <a:gd name="f35" fmla="val 119"/>
              <a:gd name="f36" fmla="val 95"/>
              <a:gd name="f37" fmla="val 71"/>
              <a:gd name="f38" fmla="val 51"/>
              <a:gd name="f39" fmla="val 31"/>
              <a:gd name="f40" fmla="val 23"/>
              <a:gd name="f41" fmla="val 16"/>
              <a:gd name="f42" fmla="val 46"/>
              <a:gd name="f43" fmla="val 50"/>
              <a:gd name="f44" fmla="val 54"/>
              <a:gd name="f45" fmla="val 521"/>
              <a:gd name="f46" fmla="val 14"/>
              <a:gd name="f47" fmla="val 510"/>
              <a:gd name="f48" fmla="val 244"/>
              <a:gd name="f49" fmla="val 257"/>
              <a:gd name="f50" fmla="val 33"/>
              <a:gd name="f51" fmla="val 38"/>
              <a:gd name="f52" fmla="val 42"/>
              <a:gd name="f53" fmla="val 49"/>
              <a:gd name="f54" fmla="val 57"/>
              <a:gd name="f55" fmla="val 65"/>
              <a:gd name="f56" fmla="val 270"/>
              <a:gd name="f57" fmla="val 79"/>
              <a:gd name="f58" fmla="val 115"/>
              <a:gd name="f59" fmla="val 132"/>
              <a:gd name="f60" fmla="val 266"/>
              <a:gd name="f61" fmla="val 138"/>
              <a:gd name="f62" fmla="val 249"/>
              <a:gd name="f63" fmla="val 388"/>
              <a:gd name="f64" fmla="val 394"/>
              <a:gd name="f65" fmla="val 410"/>
              <a:gd name="f66" fmla="val 446"/>
              <a:gd name="f67" fmla="val 460"/>
              <a:gd name="f68" fmla="val 468"/>
              <a:gd name="f69" fmla="val 263"/>
              <a:gd name="f70" fmla="val 67"/>
              <a:gd name="f71" fmla="val 250"/>
              <a:gd name="f72" fmla="val 219"/>
              <a:gd name="f73" fmla="val 206"/>
              <a:gd name="f74" fmla="val 111"/>
              <a:gd name="f75" fmla="val 124"/>
              <a:gd name="f76" fmla="val 414"/>
              <a:gd name="f77" fmla="val 401"/>
              <a:gd name="f78" fmla="val 459"/>
              <a:gd name="f79" fmla="val 358"/>
              <a:gd name="f80" fmla="val 35"/>
              <a:gd name="f81" fmla="val 351"/>
              <a:gd name="f82" fmla="val 344"/>
              <a:gd name="f83" fmla="val 41"/>
              <a:gd name="f84" fmla="val 123"/>
              <a:gd name="f85" fmla="val 129"/>
              <a:gd name="f86" fmla="val 393"/>
              <a:gd name="f87" fmla="val 408"/>
              <a:gd name="f88" fmla="val 392"/>
              <a:gd name="f89" fmla="val 113"/>
              <a:gd name="f90" fmla="val 195"/>
              <a:gd name="f91" fmla="val 187"/>
              <a:gd name="f92" fmla="val 200"/>
              <a:gd name="f93" fmla="val 208"/>
              <a:gd name="f94" fmla="val 214"/>
              <a:gd name="f95" fmla="val 230"/>
              <a:gd name="f96" fmla="val 228"/>
              <a:gd name="f97" fmla="val 198"/>
              <a:gd name="f98" fmla="val 196"/>
              <a:gd name="f99" fmla="val 97"/>
              <a:gd name="f100" fmla="val 148"/>
              <a:gd name="f101" fmla="val 156"/>
              <a:gd name="f102" fmla="val 162"/>
              <a:gd name="f103" fmla="val 146"/>
              <a:gd name="f104" fmla="val 440"/>
              <a:gd name="f105" fmla="val 432"/>
              <a:gd name="f106" fmla="val 426"/>
              <a:gd name="f107" fmla="val 483"/>
              <a:gd name="f108" fmla="val 490"/>
              <a:gd name="f109" fmla="val 442"/>
              <a:gd name="f110" fmla="val 276"/>
              <a:gd name="f111" fmla="val 269"/>
              <a:gd name="f112" fmla="val 262"/>
              <a:gd name="f113" fmla="val 311"/>
              <a:gd name="f114" fmla="val 319"/>
              <a:gd name="f115" fmla="val 326"/>
              <a:gd name="f116" fmla="val 310"/>
              <a:gd name="f117" fmla="val 114"/>
              <a:gd name="f118" fmla="+- 0 0 -90"/>
              <a:gd name="f119" fmla="*/ f4 1 524"/>
              <a:gd name="f120" fmla="*/ f5 1 279"/>
              <a:gd name="f121" fmla="+- f8 0 f6"/>
              <a:gd name="f122" fmla="+- f7 0 f6"/>
              <a:gd name="f123" fmla="*/ f118 f0 1"/>
              <a:gd name="f124" fmla="*/ f122 1 524"/>
              <a:gd name="f125" fmla="*/ f121 1 279"/>
              <a:gd name="f126" fmla="*/ 2147483646 f122 1"/>
              <a:gd name="f127" fmla="*/ 2147483646 f121 1"/>
              <a:gd name="f128" fmla="*/ 0 f121 1"/>
              <a:gd name="f129" fmla="*/ 0 f122 1"/>
              <a:gd name="f130" fmla="*/ f123 1 f3"/>
              <a:gd name="f131" fmla="*/ f126 1 524"/>
              <a:gd name="f132" fmla="*/ f127 1 279"/>
              <a:gd name="f133" fmla="*/ f128 1 279"/>
              <a:gd name="f134" fmla="*/ f129 1 524"/>
              <a:gd name="f135" fmla="*/ 0 1 f124"/>
              <a:gd name="f136" fmla="*/ f7 1 f124"/>
              <a:gd name="f137" fmla="*/ 0 1 f125"/>
              <a:gd name="f138" fmla="*/ f8 1 f125"/>
              <a:gd name="f139" fmla="+- f130 0 f1"/>
              <a:gd name="f140" fmla="*/ f131 1 f124"/>
              <a:gd name="f141" fmla="*/ f132 1 f125"/>
              <a:gd name="f142" fmla="*/ f133 1 f125"/>
              <a:gd name="f143" fmla="*/ f134 1 f124"/>
              <a:gd name="f144" fmla="*/ f135 f119 1"/>
              <a:gd name="f145" fmla="*/ f136 f119 1"/>
              <a:gd name="f146" fmla="*/ f138 f120 1"/>
              <a:gd name="f147" fmla="*/ f137 f120 1"/>
              <a:gd name="f148" fmla="*/ f140 f119 1"/>
              <a:gd name="f149" fmla="*/ f141 f120 1"/>
              <a:gd name="f150" fmla="*/ f142 f120 1"/>
              <a:gd name="f151" fmla="*/ f143 f119 1"/>
            </a:gdLst>
            <a:ahLst/>
            <a:cxnLst>
              <a:cxn ang="3cd4">
                <a:pos x="hc" y="t"/>
              </a:cxn>
              <a:cxn ang="0">
                <a:pos x="r" y="vc"/>
              </a:cxn>
              <a:cxn ang="cd4">
                <a:pos x="hc" y="b"/>
              </a:cxn>
              <a:cxn ang="cd2">
                <a:pos x="l" y="vc"/>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50"/>
              </a:cxn>
              <a:cxn ang="f139">
                <a:pos x="f151"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 ang="f139">
                <a:pos x="f148" y="f149"/>
              </a:cxn>
            </a:cxnLst>
            <a:rect l="f144" t="f147" r="f145" b="f146"/>
            <a:pathLst>
              <a:path w="524" h="279">
                <a:moveTo>
                  <a:pt x="f9" y="f10"/>
                </a:moveTo>
                <a:cubicBezTo>
                  <a:pt x="f11" y="f10"/>
                  <a:pt x="f12" y="f13"/>
                  <a:pt x="f12" y="f14"/>
                </a:cubicBezTo>
                <a:cubicBezTo>
                  <a:pt x="f12" y="f15"/>
                  <a:pt x="f12" y="f15"/>
                  <a:pt x="f12" y="f15"/>
                </a:cubicBezTo>
                <a:cubicBezTo>
                  <a:pt x="f12" y="f16"/>
                  <a:pt x="f17" y="f18"/>
                  <a:pt x="f19" y="f18"/>
                </a:cubicBezTo>
                <a:cubicBezTo>
                  <a:pt x="f20" y="f18"/>
                  <a:pt x="f20" y="f18"/>
                  <a:pt x="f20" y="f18"/>
                </a:cubicBezTo>
                <a:cubicBezTo>
                  <a:pt x="f20" y="f21"/>
                  <a:pt x="f22" y="f23"/>
                  <a:pt x="f22" y="f16"/>
                </a:cubicBezTo>
                <a:cubicBezTo>
                  <a:pt x="f22" y="f24"/>
                  <a:pt x="f25" y="f26"/>
                  <a:pt x="f27" y="f26"/>
                </a:cubicBezTo>
                <a:cubicBezTo>
                  <a:pt x="f28" y="f26"/>
                  <a:pt x="f29" y="f30"/>
                  <a:pt x="f31" y="f32"/>
                </a:cubicBezTo>
                <a:cubicBezTo>
                  <a:pt x="f33" y="f32"/>
                  <a:pt x="f33" y="f32"/>
                  <a:pt x="f33" y="f32"/>
                </a:cubicBezTo>
                <a:cubicBezTo>
                  <a:pt x="f34" y="f30"/>
                  <a:pt x="f35" y="f26"/>
                  <a:pt x="f36" y="f26"/>
                </a:cubicBezTo>
                <a:cubicBezTo>
                  <a:pt x="f37" y="f26"/>
                  <a:pt x="f38" y="f24"/>
                  <a:pt x="f38" y="f16"/>
                </a:cubicBezTo>
                <a:cubicBezTo>
                  <a:pt x="f38" y="f23"/>
                  <a:pt x="f38" y="f21"/>
                  <a:pt x="f38" y="f18"/>
                </a:cubicBezTo>
                <a:cubicBezTo>
                  <a:pt x="f39" y="f18"/>
                  <a:pt x="f39" y="f18"/>
                  <a:pt x="f39" y="f18"/>
                </a:cubicBezTo>
                <a:cubicBezTo>
                  <a:pt x="f40" y="f18"/>
                  <a:pt x="f41" y="f16"/>
                  <a:pt x="f41" y="f15"/>
                </a:cubicBezTo>
                <a:cubicBezTo>
                  <a:pt x="f41" y="f39"/>
                  <a:pt x="f41" y="f39"/>
                  <a:pt x="f41" y="f39"/>
                </a:cubicBezTo>
                <a:cubicBezTo>
                  <a:pt x="f41" y="f40"/>
                  <a:pt x="f40" y="f41"/>
                  <a:pt x="f39" y="f41"/>
                </a:cubicBezTo>
                <a:cubicBezTo>
                  <a:pt x="f19" y="f41"/>
                  <a:pt x="f19" y="f41"/>
                  <a:pt x="f19" y="f41"/>
                </a:cubicBezTo>
                <a:cubicBezTo>
                  <a:pt x="f17" y="f41"/>
                  <a:pt x="f12" y="f40"/>
                  <a:pt x="f12" y="f39"/>
                </a:cubicBezTo>
                <a:cubicBezTo>
                  <a:pt x="f12" y="f42"/>
                  <a:pt x="f12" y="f42"/>
                  <a:pt x="f12" y="f42"/>
                </a:cubicBezTo>
                <a:cubicBezTo>
                  <a:pt x="f12" y="f43"/>
                  <a:pt x="f11" y="f44"/>
                  <a:pt x="f9" y="f44"/>
                </a:cubicBezTo>
                <a:cubicBezTo>
                  <a:pt x="f45" y="f44"/>
                  <a:pt x="f7" y="f43"/>
                  <a:pt x="f7" y="f42"/>
                </a:cubicBezTo>
                <a:cubicBezTo>
                  <a:pt x="f7" y="f39"/>
                  <a:pt x="f7" y="f39"/>
                  <a:pt x="f7" y="f39"/>
                </a:cubicBezTo>
                <a:cubicBezTo>
                  <a:pt x="f7" y="f46"/>
                  <a:pt x="f47" y="f6"/>
                  <a:pt x="f19" y="f6"/>
                </a:cubicBezTo>
                <a:cubicBezTo>
                  <a:pt x="f39" y="f6"/>
                  <a:pt x="f39" y="f6"/>
                  <a:pt x="f39" y="f6"/>
                </a:cubicBezTo>
                <a:cubicBezTo>
                  <a:pt x="f46" y="f6"/>
                  <a:pt x="f6" y="f46"/>
                  <a:pt x="f6" y="f39"/>
                </a:cubicBezTo>
                <a:cubicBezTo>
                  <a:pt x="f6" y="f15"/>
                  <a:pt x="f6" y="f15"/>
                  <a:pt x="f6" y="f15"/>
                </a:cubicBezTo>
                <a:cubicBezTo>
                  <a:pt x="f6" y="f48"/>
                  <a:pt x="f46" y="f49"/>
                  <a:pt x="f39" y="f49"/>
                </a:cubicBezTo>
                <a:cubicBezTo>
                  <a:pt x="f39" y="f49"/>
                  <a:pt x="f50" y="f49"/>
                  <a:pt x="f51" y="f49"/>
                </a:cubicBezTo>
                <a:cubicBezTo>
                  <a:pt x="f52" y="f49"/>
                  <a:pt x="f53" y="f49"/>
                  <a:pt x="f54" y="f49"/>
                </a:cubicBezTo>
                <a:cubicBezTo>
                  <a:pt x="f55" y="f56"/>
                  <a:pt x="f57" y="f8"/>
                  <a:pt x="f36" y="f8"/>
                </a:cubicBezTo>
                <a:cubicBezTo>
                  <a:pt x="f58" y="f8"/>
                  <a:pt x="f59" y="f60"/>
                  <a:pt x="f61" y="f62"/>
                </a:cubicBezTo>
                <a:cubicBezTo>
                  <a:pt x="f63" y="f62"/>
                  <a:pt x="f63" y="f62"/>
                  <a:pt x="f63" y="f62"/>
                </a:cubicBezTo>
                <a:cubicBezTo>
                  <a:pt x="f64" y="f60"/>
                  <a:pt x="f65" y="f8"/>
                  <a:pt x="f27" y="f8"/>
                </a:cubicBezTo>
                <a:cubicBezTo>
                  <a:pt x="f66" y="f8"/>
                  <a:pt x="f67" y="f56"/>
                  <a:pt x="f68" y="f49"/>
                </a:cubicBezTo>
                <a:cubicBezTo>
                  <a:pt x="f19" y="f49"/>
                  <a:pt x="f19" y="f49"/>
                  <a:pt x="f19" y="f49"/>
                </a:cubicBezTo>
                <a:cubicBezTo>
                  <a:pt x="f47" y="f49"/>
                  <a:pt x="f7" y="f48"/>
                  <a:pt x="f7" y="f15"/>
                </a:cubicBezTo>
                <a:cubicBezTo>
                  <a:pt x="f7" y="f14"/>
                  <a:pt x="f7" y="f14"/>
                  <a:pt x="f7" y="f14"/>
                </a:cubicBezTo>
                <a:cubicBezTo>
                  <a:pt x="f7" y="f13"/>
                  <a:pt x="f45" y="f10"/>
                  <a:pt x="f9" y="f10"/>
                </a:cubicBezTo>
                <a:close/>
                <a:moveTo>
                  <a:pt x="f36" y="f69"/>
                </a:moveTo>
                <a:cubicBezTo>
                  <a:pt x="f57" y="f69"/>
                  <a:pt x="f70" y="f71"/>
                  <a:pt x="f70" y="f16"/>
                </a:cubicBezTo>
                <a:cubicBezTo>
                  <a:pt x="f70" y="f72"/>
                  <a:pt x="f57" y="f73"/>
                  <a:pt x="f36" y="f73"/>
                </a:cubicBezTo>
                <a:cubicBezTo>
                  <a:pt x="f74" y="f73"/>
                  <a:pt x="f75" y="f72"/>
                  <a:pt x="f75" y="f16"/>
                </a:cubicBezTo>
                <a:cubicBezTo>
                  <a:pt x="f75" y="f71"/>
                  <a:pt x="f74" y="f69"/>
                  <a:pt x="f36" y="f69"/>
                </a:cubicBezTo>
                <a:close/>
                <a:moveTo>
                  <a:pt x="f27" y="f69"/>
                </a:moveTo>
                <a:cubicBezTo>
                  <a:pt x="f76" y="f69"/>
                  <a:pt x="f77" y="f71"/>
                  <a:pt x="f77" y="f16"/>
                </a:cubicBezTo>
                <a:cubicBezTo>
                  <a:pt x="f77" y="f72"/>
                  <a:pt x="f76" y="f73"/>
                  <a:pt x="f27" y="f73"/>
                </a:cubicBezTo>
                <a:cubicBezTo>
                  <a:pt x="f66" y="f73"/>
                  <a:pt x="f78" y="f72"/>
                  <a:pt x="f78" y="f16"/>
                </a:cubicBezTo>
                <a:cubicBezTo>
                  <a:pt x="f78" y="f71"/>
                  <a:pt x="f66" y="f69"/>
                  <a:pt x="f27" y="f69"/>
                </a:cubicBezTo>
                <a:close/>
                <a:moveTo>
                  <a:pt x="f79" y="f80"/>
                </a:moveTo>
                <a:cubicBezTo>
                  <a:pt x="f81" y="f80"/>
                  <a:pt x="f82" y="f83"/>
                  <a:pt x="f82" y="f53"/>
                </a:cubicBezTo>
                <a:cubicBezTo>
                  <a:pt x="f82" y="f58"/>
                  <a:pt x="f82" y="f58"/>
                  <a:pt x="f82" y="f58"/>
                </a:cubicBezTo>
                <a:cubicBezTo>
                  <a:pt x="f82" y="f84"/>
                  <a:pt x="f81" y="f85"/>
                  <a:pt x="f79" y="f85"/>
                </a:cubicBezTo>
                <a:cubicBezTo>
                  <a:pt x="f86" y="f85"/>
                  <a:pt x="f86" y="f85"/>
                  <a:pt x="f86" y="f85"/>
                </a:cubicBezTo>
                <a:cubicBezTo>
                  <a:pt x="f77" y="f85"/>
                  <a:pt x="f87" y="f84"/>
                  <a:pt x="f87" y="f58"/>
                </a:cubicBezTo>
                <a:cubicBezTo>
                  <a:pt x="f87" y="f53"/>
                  <a:pt x="f87" y="f53"/>
                  <a:pt x="f87" y="f53"/>
                </a:cubicBezTo>
                <a:cubicBezTo>
                  <a:pt x="f87" y="f83"/>
                  <a:pt x="f77" y="f80"/>
                  <a:pt x="f86" y="f80"/>
                </a:cubicBezTo>
                <a:lnTo>
                  <a:pt x="f79" y="f80"/>
                </a:lnTo>
                <a:close/>
                <a:moveTo>
                  <a:pt x="f88" y="f89"/>
                </a:moveTo>
                <a:cubicBezTo>
                  <a:pt x="f2" y="f89"/>
                  <a:pt x="f2" y="f89"/>
                  <a:pt x="f2" y="f89"/>
                </a:cubicBezTo>
                <a:cubicBezTo>
                  <a:pt x="f2" y="f38"/>
                  <a:pt x="f2" y="f38"/>
                  <a:pt x="f2" y="f38"/>
                </a:cubicBezTo>
                <a:cubicBezTo>
                  <a:pt x="f88" y="f38"/>
                  <a:pt x="f88" y="f38"/>
                  <a:pt x="f88" y="f38"/>
                </a:cubicBezTo>
                <a:lnTo>
                  <a:pt x="f88" y="f89"/>
                </a:lnTo>
                <a:close/>
                <a:moveTo>
                  <a:pt x="f90" y="f80"/>
                </a:moveTo>
                <a:cubicBezTo>
                  <a:pt x="f91" y="f80"/>
                  <a:pt x="f3" y="f83"/>
                  <a:pt x="f3" y="f53"/>
                </a:cubicBezTo>
                <a:cubicBezTo>
                  <a:pt x="f3" y="f92"/>
                  <a:pt x="f3" y="f92"/>
                  <a:pt x="f3" y="f92"/>
                </a:cubicBezTo>
                <a:cubicBezTo>
                  <a:pt x="f3" y="f93"/>
                  <a:pt x="f91" y="f94"/>
                  <a:pt x="f90" y="f94"/>
                </a:cubicBezTo>
                <a:cubicBezTo>
                  <a:pt x="f95" y="f94"/>
                  <a:pt x="f95" y="f94"/>
                  <a:pt x="f95" y="f94"/>
                </a:cubicBezTo>
                <a:cubicBezTo>
                  <a:pt x="f23" y="f94"/>
                  <a:pt x="f48" y="f93"/>
                  <a:pt x="f48" y="f92"/>
                </a:cubicBezTo>
                <a:cubicBezTo>
                  <a:pt x="f48" y="f53"/>
                  <a:pt x="f48" y="f53"/>
                  <a:pt x="f48" y="f53"/>
                </a:cubicBezTo>
                <a:cubicBezTo>
                  <a:pt x="f48" y="f83"/>
                  <a:pt x="f23" y="f80"/>
                  <a:pt x="f95" y="f80"/>
                </a:cubicBezTo>
                <a:lnTo>
                  <a:pt x="f90" y="f80"/>
                </a:lnTo>
                <a:close/>
                <a:moveTo>
                  <a:pt x="f96" y="f97"/>
                </a:moveTo>
                <a:cubicBezTo>
                  <a:pt x="f98" y="f97"/>
                  <a:pt x="f98" y="f97"/>
                  <a:pt x="f98" y="f97"/>
                </a:cubicBezTo>
                <a:cubicBezTo>
                  <a:pt x="f98" y="f89"/>
                  <a:pt x="f98" y="f89"/>
                  <a:pt x="f98" y="f89"/>
                </a:cubicBezTo>
                <a:cubicBezTo>
                  <a:pt x="f96" y="f89"/>
                  <a:pt x="f96" y="f89"/>
                  <a:pt x="f96" y="f89"/>
                </a:cubicBezTo>
                <a:lnTo>
                  <a:pt x="f96" y="f97"/>
                </a:lnTo>
                <a:close/>
                <a:moveTo>
                  <a:pt x="f96" y="f99"/>
                </a:moveTo>
                <a:cubicBezTo>
                  <a:pt x="f98" y="f99"/>
                  <a:pt x="f98" y="f99"/>
                  <a:pt x="f98" y="f99"/>
                </a:cubicBezTo>
                <a:cubicBezTo>
                  <a:pt x="f98" y="f38"/>
                  <a:pt x="f98" y="f38"/>
                  <a:pt x="f98" y="f38"/>
                </a:cubicBezTo>
                <a:cubicBezTo>
                  <a:pt x="f96" y="f38"/>
                  <a:pt x="f96" y="f38"/>
                  <a:pt x="f96" y="f38"/>
                </a:cubicBezTo>
                <a:lnTo>
                  <a:pt x="f96" y="f99"/>
                </a:lnTo>
                <a:close/>
                <a:moveTo>
                  <a:pt x="f53" y="f80"/>
                </a:moveTo>
                <a:cubicBezTo>
                  <a:pt x="f83" y="f80"/>
                  <a:pt x="f80" y="f83"/>
                  <a:pt x="f80" y="f53"/>
                </a:cubicBezTo>
                <a:cubicBezTo>
                  <a:pt x="f80" y="f58"/>
                  <a:pt x="f80" y="f58"/>
                  <a:pt x="f80" y="f58"/>
                </a:cubicBezTo>
                <a:cubicBezTo>
                  <a:pt x="f80" y="f84"/>
                  <a:pt x="f83" y="f85"/>
                  <a:pt x="f53" y="f85"/>
                </a:cubicBezTo>
                <a:cubicBezTo>
                  <a:pt x="f100" y="f85"/>
                  <a:pt x="f100" y="f85"/>
                  <a:pt x="f100" y="f85"/>
                </a:cubicBezTo>
                <a:cubicBezTo>
                  <a:pt x="f101" y="f85"/>
                  <a:pt x="f102" y="f84"/>
                  <a:pt x="f102" y="f58"/>
                </a:cubicBezTo>
                <a:cubicBezTo>
                  <a:pt x="f102" y="f53"/>
                  <a:pt x="f102" y="f53"/>
                  <a:pt x="f102" y="f53"/>
                </a:cubicBezTo>
                <a:cubicBezTo>
                  <a:pt x="f102" y="f83"/>
                  <a:pt x="f101" y="f80"/>
                  <a:pt x="f100" y="f80"/>
                </a:cubicBezTo>
                <a:lnTo>
                  <a:pt x="f53" y="f80"/>
                </a:lnTo>
                <a:close/>
                <a:moveTo>
                  <a:pt x="f103" y="f89"/>
                </a:moveTo>
                <a:cubicBezTo>
                  <a:pt x="f38" y="f89"/>
                  <a:pt x="f38" y="f89"/>
                  <a:pt x="f38" y="f89"/>
                </a:cubicBezTo>
                <a:cubicBezTo>
                  <a:pt x="f38" y="f38"/>
                  <a:pt x="f38" y="f38"/>
                  <a:pt x="f38" y="f38"/>
                </a:cubicBezTo>
                <a:cubicBezTo>
                  <a:pt x="f103" y="f38"/>
                  <a:pt x="f103" y="f38"/>
                  <a:pt x="f103" y="f38"/>
                </a:cubicBezTo>
                <a:lnTo>
                  <a:pt x="f103" y="f89"/>
                </a:lnTo>
                <a:close/>
                <a:moveTo>
                  <a:pt x="f104" y="f80"/>
                </a:moveTo>
                <a:cubicBezTo>
                  <a:pt x="f105" y="f80"/>
                  <a:pt x="f106" y="f83"/>
                  <a:pt x="f106" y="f53"/>
                </a:cubicBezTo>
                <a:cubicBezTo>
                  <a:pt x="f106" y="f58"/>
                  <a:pt x="f106" y="f58"/>
                  <a:pt x="f106" y="f58"/>
                </a:cubicBezTo>
                <a:cubicBezTo>
                  <a:pt x="f106" y="f84"/>
                  <a:pt x="f105" y="f85"/>
                  <a:pt x="f104" y="f85"/>
                </a:cubicBezTo>
                <a:cubicBezTo>
                  <a:pt x="f22" y="f85"/>
                  <a:pt x="f22" y="f85"/>
                  <a:pt x="f22" y="f85"/>
                </a:cubicBezTo>
                <a:cubicBezTo>
                  <a:pt x="f107" y="f85"/>
                  <a:pt x="f108" y="f84"/>
                  <a:pt x="f108" y="f58"/>
                </a:cubicBezTo>
                <a:cubicBezTo>
                  <a:pt x="f108" y="f53"/>
                  <a:pt x="f108" y="f53"/>
                  <a:pt x="f108" y="f53"/>
                </a:cubicBezTo>
                <a:cubicBezTo>
                  <a:pt x="f108" y="f83"/>
                  <a:pt x="f107" y="f80"/>
                  <a:pt x="f22" y="f80"/>
                </a:cubicBezTo>
                <a:lnTo>
                  <a:pt x="f104" y="f80"/>
                </a:lnTo>
                <a:close/>
                <a:moveTo>
                  <a:pt x="f20" y="f89"/>
                </a:moveTo>
                <a:cubicBezTo>
                  <a:pt x="f109" y="f89"/>
                  <a:pt x="f109" y="f89"/>
                  <a:pt x="f109" y="f89"/>
                </a:cubicBezTo>
                <a:cubicBezTo>
                  <a:pt x="f109" y="f38"/>
                  <a:pt x="f109" y="f38"/>
                  <a:pt x="f109" y="f38"/>
                </a:cubicBezTo>
                <a:cubicBezTo>
                  <a:pt x="f20" y="f38"/>
                  <a:pt x="f20" y="f38"/>
                  <a:pt x="f20" y="f38"/>
                </a:cubicBezTo>
                <a:lnTo>
                  <a:pt x="f20" y="f89"/>
                </a:lnTo>
                <a:close/>
                <a:moveTo>
                  <a:pt x="f110" y="f80"/>
                </a:moveTo>
                <a:cubicBezTo>
                  <a:pt x="f111" y="f80"/>
                  <a:pt x="f112" y="f83"/>
                  <a:pt x="f112" y="f53"/>
                </a:cubicBezTo>
                <a:cubicBezTo>
                  <a:pt x="f112" y="f58"/>
                  <a:pt x="f112" y="f58"/>
                  <a:pt x="f112" y="f58"/>
                </a:cubicBezTo>
                <a:cubicBezTo>
                  <a:pt x="f112" y="f84"/>
                  <a:pt x="f111" y="f85"/>
                  <a:pt x="f110" y="f85"/>
                </a:cubicBezTo>
                <a:cubicBezTo>
                  <a:pt x="f113" y="f85"/>
                  <a:pt x="f113" y="f85"/>
                  <a:pt x="f113" y="f85"/>
                </a:cubicBezTo>
                <a:cubicBezTo>
                  <a:pt x="f114" y="f85"/>
                  <a:pt x="f115" y="f84"/>
                  <a:pt x="f115" y="f58"/>
                </a:cubicBezTo>
                <a:cubicBezTo>
                  <a:pt x="f115" y="f53"/>
                  <a:pt x="f115" y="f53"/>
                  <a:pt x="f115" y="f53"/>
                </a:cubicBezTo>
                <a:cubicBezTo>
                  <a:pt x="f115" y="f83"/>
                  <a:pt x="f114" y="f80"/>
                  <a:pt x="f113" y="f80"/>
                </a:cubicBezTo>
                <a:lnTo>
                  <a:pt x="f110" y="f80"/>
                </a:lnTo>
                <a:close/>
                <a:moveTo>
                  <a:pt x="f116" y="f117"/>
                </a:moveTo>
                <a:cubicBezTo>
                  <a:pt x="f8" y="f117"/>
                  <a:pt x="f8" y="f117"/>
                  <a:pt x="f8" y="f117"/>
                </a:cubicBezTo>
                <a:cubicBezTo>
                  <a:pt x="f8" y="f38"/>
                  <a:pt x="f8" y="f38"/>
                  <a:pt x="f8" y="f38"/>
                </a:cubicBezTo>
                <a:cubicBezTo>
                  <a:pt x="f116" y="f38"/>
                  <a:pt x="f116" y="f38"/>
                  <a:pt x="f116" y="f38"/>
                </a:cubicBezTo>
                <a:lnTo>
                  <a:pt x="f116" y="f117"/>
                </a:lnTo>
                <a:close/>
              </a:path>
            </a:pathLst>
          </a:custGeom>
          <a:solidFill>
            <a:srgbClr val="B1B3B4"/>
          </a:solidFill>
          <a:ln cap="flat">
            <a:noFill/>
            <a:prstDash val="solid"/>
          </a:ln>
        </p:spPr>
        <p:txBody>
          <a:bodyPr vert="horz" wrap="square" lIns="91440" tIns="45720" rIns="91440" bIns="45720"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uFillTx/>
              <a:latin typeface="Arial"/>
            </a:endParaRPr>
          </a:p>
        </p:txBody>
      </p:sp>
      <p:sp>
        <p:nvSpPr>
          <p:cNvPr id="30" name="Freeform 3">
            <a:extLst>
              <a:ext uri="{FF2B5EF4-FFF2-40B4-BE49-F238E27FC236}">
                <a16:creationId xmlns:a16="http://schemas.microsoft.com/office/drawing/2014/main" id="{DDF62AB4-AAB2-4DB3-A8C8-A2B6CEAF2B08}"/>
              </a:ext>
            </a:extLst>
          </p:cNvPr>
          <p:cNvSpPr/>
          <p:nvPr/>
        </p:nvSpPr>
        <p:spPr>
          <a:xfrm>
            <a:off x="5531508" y="2302007"/>
            <a:ext cx="144146" cy="110496"/>
          </a:xfrm>
          <a:custGeom>
            <a:avLst/>
            <a:gdLst>
              <a:gd name="f0" fmla="val 10800000"/>
              <a:gd name="f1" fmla="val 5400000"/>
              <a:gd name="f2" fmla="val 180"/>
              <a:gd name="f3" fmla="val w"/>
              <a:gd name="f4" fmla="val h"/>
              <a:gd name="f5" fmla="val 0"/>
              <a:gd name="f6" fmla="val 339"/>
              <a:gd name="f7" fmla="val 293"/>
              <a:gd name="f8" fmla="val 335"/>
              <a:gd name="f9" fmla="val 69"/>
              <a:gd name="f10" fmla="val 290"/>
              <a:gd name="f11" fmla="val 23"/>
              <a:gd name="f12" fmla="val 229"/>
              <a:gd name="f13" fmla="val 169"/>
              <a:gd name="f14" fmla="val 109"/>
              <a:gd name="f15" fmla="val 49"/>
              <a:gd name="f16" fmla="val 3"/>
              <a:gd name="f17" fmla="val 72"/>
              <a:gd name="f18" fmla="val 77"/>
              <a:gd name="f19" fmla="val 80"/>
              <a:gd name="f20" fmla="val 4"/>
              <a:gd name="f21" fmla="val 82"/>
              <a:gd name="f22" fmla="val 6"/>
              <a:gd name="f23" fmla="val 8"/>
              <a:gd name="f24" fmla="val 10"/>
              <a:gd name="f25" fmla="val 13"/>
              <a:gd name="f26" fmla="val 14"/>
              <a:gd name="f27" fmla="val 57"/>
              <a:gd name="f28" fmla="val 37"/>
              <a:gd name="f29" fmla="val 113"/>
              <a:gd name="f30" fmla="val 16"/>
              <a:gd name="f31" fmla="val 225"/>
              <a:gd name="f32" fmla="val 281"/>
              <a:gd name="f33" fmla="val 324"/>
              <a:gd name="f34" fmla="val 327"/>
              <a:gd name="f35" fmla="val 83"/>
              <a:gd name="f36" fmla="val 332"/>
              <a:gd name="f37" fmla="val 68"/>
              <a:gd name="f38" fmla="val 126"/>
              <a:gd name="f39" fmla="val 84"/>
              <a:gd name="f40" fmla="val 51"/>
              <a:gd name="f41" fmla="val 117"/>
              <a:gd name="f42" fmla="val 48"/>
              <a:gd name="f43" fmla="val 120"/>
              <a:gd name="f44" fmla="val 125"/>
              <a:gd name="f45" fmla="val 128"/>
              <a:gd name="f46" fmla="val 52"/>
              <a:gd name="f47" fmla="val 130"/>
              <a:gd name="f48" fmla="val 55"/>
              <a:gd name="f49" fmla="val 59"/>
              <a:gd name="f50" fmla="val 61"/>
              <a:gd name="f51" fmla="val 62"/>
              <a:gd name="f52" fmla="val 92"/>
              <a:gd name="f53" fmla="val 99"/>
              <a:gd name="f54" fmla="val 208"/>
              <a:gd name="f55" fmla="val 246"/>
              <a:gd name="f56" fmla="val 276"/>
              <a:gd name="f57" fmla="val 279"/>
              <a:gd name="f58" fmla="val 131"/>
              <a:gd name="f59" fmla="val 284"/>
              <a:gd name="f60" fmla="val 287"/>
              <a:gd name="f61" fmla="val 255"/>
              <a:gd name="f62" fmla="val 212"/>
              <a:gd name="f63" fmla="val 136"/>
              <a:gd name="f64" fmla="val 144"/>
              <a:gd name="f65" fmla="val 118"/>
              <a:gd name="f66" fmla="val 146"/>
              <a:gd name="f67" fmla="val 165"/>
              <a:gd name="f68" fmla="val 96"/>
              <a:gd name="f69" fmla="val 168"/>
              <a:gd name="f70" fmla="val 173"/>
              <a:gd name="f71" fmla="val 176"/>
              <a:gd name="f72" fmla="val 102"/>
              <a:gd name="f73" fmla="val 179"/>
              <a:gd name="f74" fmla="val 107"/>
              <a:gd name="f75" fmla="val 110"/>
              <a:gd name="f76" fmla="val 127"/>
              <a:gd name="f77" fmla="val 160"/>
              <a:gd name="f78" fmla="val 148"/>
              <a:gd name="f79" fmla="val 152"/>
              <a:gd name="f80" fmla="val 190"/>
              <a:gd name="f81" fmla="val 228"/>
              <a:gd name="f82" fmla="val 178"/>
              <a:gd name="f83" fmla="val 231"/>
              <a:gd name="f84" fmla="val 234"/>
              <a:gd name="f85" fmla="val 236"/>
              <a:gd name="f86" fmla="val 238"/>
              <a:gd name="f87" fmla="val 239"/>
              <a:gd name="f88" fmla="val 242"/>
              <a:gd name="f89" fmla="val 220"/>
              <a:gd name="f90" fmla="val 194"/>
              <a:gd name="f91" fmla="val 139"/>
              <a:gd name="f92" fmla="val 217"/>
              <a:gd name="f93" fmla="val 123"/>
              <a:gd name="f94" fmla="val 260"/>
              <a:gd name="f95" fmla="val 277"/>
              <a:gd name="f96" fmla="val 156"/>
              <a:gd name="f97" fmla="val 183"/>
              <a:gd name="f98" fmla="val 199"/>
              <a:gd name="f99" fmla="val 216"/>
              <a:gd name="f100" fmla="val 200"/>
              <a:gd name="f101" fmla="+- 0 0 -90"/>
              <a:gd name="f102" fmla="*/ f3 1 339"/>
              <a:gd name="f103" fmla="*/ f4 1 293"/>
              <a:gd name="f104" fmla="+- f7 0 f5"/>
              <a:gd name="f105" fmla="+- f6 0 f5"/>
              <a:gd name="f106" fmla="*/ f101 f0 1"/>
              <a:gd name="f107" fmla="*/ f105 1 339"/>
              <a:gd name="f108" fmla="*/ f104 1 293"/>
              <a:gd name="f109" fmla="*/ 2147483647 f105 1"/>
              <a:gd name="f110" fmla="*/ 2147483647 f104 1"/>
              <a:gd name="f111" fmla="*/ 0 f104 1"/>
              <a:gd name="f112" fmla="*/ 0 f105 1"/>
              <a:gd name="f113" fmla="*/ 339 f105 1"/>
              <a:gd name="f114" fmla="*/ 293 f104 1"/>
              <a:gd name="f115" fmla="*/ f106 1 f2"/>
              <a:gd name="f116" fmla="*/ f109 1 339"/>
              <a:gd name="f117" fmla="*/ f110 1 293"/>
              <a:gd name="f118" fmla="*/ f111 1 293"/>
              <a:gd name="f119" fmla="*/ f112 1 339"/>
              <a:gd name="f120" fmla="*/ f113 1 339"/>
              <a:gd name="f121" fmla="*/ f114 1 293"/>
              <a:gd name="f122" fmla="+- f115 0 f1"/>
              <a:gd name="f123" fmla="*/ f116 1 f107"/>
              <a:gd name="f124" fmla="*/ f117 1 f108"/>
              <a:gd name="f125" fmla="*/ f118 1 f108"/>
              <a:gd name="f126" fmla="*/ f119 1 f107"/>
              <a:gd name="f127" fmla="*/ f120 1 f107"/>
              <a:gd name="f128" fmla="*/ f121 1 f108"/>
              <a:gd name="f129" fmla="*/ f126 f102 1"/>
              <a:gd name="f130" fmla="*/ f127 f102 1"/>
              <a:gd name="f131" fmla="*/ f128 f103 1"/>
              <a:gd name="f132" fmla="*/ f125 f103 1"/>
              <a:gd name="f133" fmla="*/ f123 f102 1"/>
              <a:gd name="f134" fmla="*/ f124 f103 1"/>
            </a:gdLst>
            <a:ahLst/>
            <a:cxnLst>
              <a:cxn ang="3cd4">
                <a:pos x="hc" y="t"/>
              </a:cxn>
              <a:cxn ang="0">
                <a:pos x="r" y="vc"/>
              </a:cxn>
              <a:cxn ang="cd4">
                <a:pos x="hc" y="b"/>
              </a:cxn>
              <a:cxn ang="cd2">
                <a:pos x="l" y="vc"/>
              </a:cxn>
              <a:cxn ang="f122">
                <a:pos x="f133" y="f134"/>
              </a:cxn>
              <a:cxn ang="f122">
                <a:pos x="f133" y="f132"/>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 ang="f122">
                <a:pos x="f133" y="f134"/>
              </a:cxn>
            </a:cxnLst>
            <a:rect l="f129" t="f132" r="f130" b="f131"/>
            <a:pathLst>
              <a:path w="339" h="293">
                <a:moveTo>
                  <a:pt x="f8" y="f9"/>
                </a:moveTo>
                <a:cubicBezTo>
                  <a:pt x="f10" y="f11"/>
                  <a:pt x="f12" y="f5"/>
                  <a:pt x="f13" y="f5"/>
                </a:cubicBezTo>
                <a:cubicBezTo>
                  <a:pt x="f14" y="f5"/>
                  <a:pt x="f15" y="f11"/>
                  <a:pt x="f16" y="f9"/>
                </a:cubicBezTo>
                <a:cubicBezTo>
                  <a:pt x="f5" y="f17"/>
                  <a:pt x="f5" y="f18"/>
                  <a:pt x="f16" y="f19"/>
                </a:cubicBezTo>
                <a:cubicBezTo>
                  <a:pt x="f20" y="f21"/>
                  <a:pt x="f22" y="f21"/>
                  <a:pt x="f23" y="f21"/>
                </a:cubicBezTo>
                <a:cubicBezTo>
                  <a:pt x="f24" y="f21"/>
                  <a:pt x="f25" y="f21"/>
                  <a:pt x="f26" y="f19"/>
                </a:cubicBezTo>
                <a:cubicBezTo>
                  <a:pt x="f27" y="f28"/>
                  <a:pt x="f29" y="f30"/>
                  <a:pt x="f13" y="f30"/>
                </a:cubicBezTo>
                <a:cubicBezTo>
                  <a:pt x="f31" y="f30"/>
                  <a:pt x="f32" y="f28"/>
                  <a:pt x="f33" y="f19"/>
                </a:cubicBezTo>
                <a:cubicBezTo>
                  <a:pt x="f34" y="f35"/>
                  <a:pt x="f36" y="f35"/>
                  <a:pt x="f8" y="f19"/>
                </a:cubicBezTo>
                <a:cubicBezTo>
                  <a:pt x="f6" y="f18"/>
                  <a:pt x="f6" y="f17"/>
                  <a:pt x="f8" y="f9"/>
                </a:cubicBezTo>
                <a:close/>
                <a:moveTo>
                  <a:pt x="f13" y="f37"/>
                </a:moveTo>
                <a:cubicBezTo>
                  <a:pt x="f38" y="f37"/>
                  <a:pt x="f39" y="f39"/>
                  <a:pt x="f40" y="f41"/>
                </a:cubicBezTo>
                <a:cubicBezTo>
                  <a:pt x="f42" y="f43"/>
                  <a:pt x="f42" y="f44"/>
                  <a:pt x="f40" y="f45"/>
                </a:cubicBezTo>
                <a:cubicBezTo>
                  <a:pt x="f46" y="f47"/>
                  <a:pt x="f48" y="f47"/>
                  <a:pt x="f27" y="f47"/>
                </a:cubicBezTo>
                <a:cubicBezTo>
                  <a:pt x="f49" y="f47"/>
                  <a:pt x="f50" y="f47"/>
                  <a:pt x="f51" y="f45"/>
                </a:cubicBezTo>
                <a:cubicBezTo>
                  <a:pt x="f51" y="f45"/>
                  <a:pt x="f51" y="f45"/>
                  <a:pt x="f51" y="f45"/>
                </a:cubicBezTo>
                <a:cubicBezTo>
                  <a:pt x="f52" y="f53"/>
                  <a:pt x="f47" y="f39"/>
                  <a:pt x="f13" y="f39"/>
                </a:cubicBezTo>
                <a:cubicBezTo>
                  <a:pt x="f54" y="f39"/>
                  <a:pt x="f55" y="f53"/>
                  <a:pt x="f56" y="f45"/>
                </a:cubicBezTo>
                <a:cubicBezTo>
                  <a:pt x="f57" y="f58"/>
                  <a:pt x="f59" y="f58"/>
                  <a:pt x="f60" y="f45"/>
                </a:cubicBezTo>
                <a:cubicBezTo>
                  <a:pt x="f10" y="f44"/>
                  <a:pt x="f10" y="f43"/>
                  <a:pt x="f60" y="f41"/>
                </a:cubicBezTo>
                <a:cubicBezTo>
                  <a:pt x="f61" y="f39"/>
                  <a:pt x="f62" y="f37"/>
                  <a:pt x="f13" y="f37"/>
                </a:cubicBezTo>
                <a:close/>
                <a:moveTo>
                  <a:pt x="f13" y="f63"/>
                </a:moveTo>
                <a:cubicBezTo>
                  <a:pt x="f64" y="f63"/>
                  <a:pt x="f65" y="f66"/>
                  <a:pt x="f53" y="f67"/>
                </a:cubicBezTo>
                <a:cubicBezTo>
                  <a:pt x="f68" y="f69"/>
                  <a:pt x="f68" y="f70"/>
                  <a:pt x="f53" y="f71"/>
                </a:cubicBezTo>
                <a:cubicBezTo>
                  <a:pt x="f72" y="f73"/>
                  <a:pt x="f74" y="f73"/>
                  <a:pt x="f75" y="f71"/>
                </a:cubicBezTo>
                <a:cubicBezTo>
                  <a:pt x="f75" y="f71"/>
                  <a:pt x="f75" y="f71"/>
                  <a:pt x="f75" y="f71"/>
                </a:cubicBezTo>
                <a:cubicBezTo>
                  <a:pt x="f76" y="f77"/>
                  <a:pt x="f78" y="f79"/>
                  <a:pt x="f13" y="f79"/>
                </a:cubicBezTo>
                <a:cubicBezTo>
                  <a:pt x="f80" y="f79"/>
                  <a:pt x="f62" y="f77"/>
                  <a:pt x="f81" y="f71"/>
                </a:cubicBezTo>
                <a:cubicBezTo>
                  <a:pt x="f12" y="f82"/>
                  <a:pt x="f83" y="f73"/>
                  <a:pt x="f84" y="f73"/>
                </a:cubicBezTo>
                <a:cubicBezTo>
                  <a:pt x="f85" y="f73"/>
                  <a:pt x="f86" y="f82"/>
                  <a:pt x="f87" y="f71"/>
                </a:cubicBezTo>
                <a:cubicBezTo>
                  <a:pt x="f88" y="f70"/>
                  <a:pt x="f88" y="f69"/>
                  <a:pt x="f87" y="f67"/>
                </a:cubicBezTo>
                <a:cubicBezTo>
                  <a:pt x="f89" y="f66"/>
                  <a:pt x="f90" y="f63"/>
                  <a:pt x="f13" y="f63"/>
                </a:cubicBezTo>
                <a:close/>
                <a:moveTo>
                  <a:pt x="f91" y="f92"/>
                </a:moveTo>
                <a:cubicBezTo>
                  <a:pt x="f93" y="f84"/>
                  <a:pt x="f93" y="f94"/>
                  <a:pt x="f91" y="f95"/>
                </a:cubicBezTo>
                <a:cubicBezTo>
                  <a:pt x="f96" y="f7"/>
                  <a:pt x="f97" y="f7"/>
                  <a:pt x="f98" y="f95"/>
                </a:cubicBezTo>
                <a:cubicBezTo>
                  <a:pt x="f99" y="f94"/>
                  <a:pt x="f99" y="f84"/>
                  <a:pt x="f98" y="f92"/>
                </a:cubicBezTo>
                <a:cubicBezTo>
                  <a:pt x="f97" y="f100"/>
                  <a:pt x="f96" y="f100"/>
                  <a:pt x="f91" y="f92"/>
                </a:cubicBezTo>
                <a:close/>
              </a:path>
            </a:pathLst>
          </a:custGeom>
          <a:solidFill>
            <a:srgbClr val="B1B3B4"/>
          </a:solidFill>
          <a:ln cap="flat">
            <a:noFill/>
            <a:prstDash val="solid"/>
          </a:ln>
        </p:spPr>
        <p:txBody>
          <a:bodyPr vert="horz" wrap="square" lIns="91440" tIns="45720" rIns="91440" bIns="45720" anchor="t" anchorCtr="1" compatLnSpc="1">
            <a:noAutofit/>
          </a:bodyPr>
          <a:lstStyle/>
          <a:p>
            <a:pPr marL="0" marR="0" lvl="0" indent="0" algn="ctr"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1" i="0" u="none" strike="noStrike" kern="1200" cap="none" spc="0" baseline="0">
              <a:uFillTx/>
              <a:latin typeface="Arial"/>
            </a:endParaRPr>
          </a:p>
        </p:txBody>
      </p:sp>
      <p:sp>
        <p:nvSpPr>
          <p:cNvPr id="31" name="Freeform 3">
            <a:extLst>
              <a:ext uri="{FF2B5EF4-FFF2-40B4-BE49-F238E27FC236}">
                <a16:creationId xmlns:a16="http://schemas.microsoft.com/office/drawing/2014/main" id="{D85CB555-B6A6-451F-927E-1B08415B00D3}"/>
              </a:ext>
            </a:extLst>
          </p:cNvPr>
          <p:cNvSpPr/>
          <p:nvPr/>
        </p:nvSpPr>
        <p:spPr>
          <a:xfrm>
            <a:off x="1824028" y="4651137"/>
            <a:ext cx="321628" cy="423321"/>
          </a:xfrm>
          <a:custGeom>
            <a:avLst/>
            <a:gdLst>
              <a:gd name="f0" fmla="val 10800000"/>
              <a:gd name="f1" fmla="val 5400000"/>
              <a:gd name="f2" fmla="val 180"/>
              <a:gd name="f3" fmla="val w"/>
              <a:gd name="f4" fmla="val h"/>
              <a:gd name="f5" fmla="val 0"/>
              <a:gd name="f6" fmla="val 302"/>
              <a:gd name="f7" fmla="val 412"/>
              <a:gd name="f8" fmla="val 221"/>
              <a:gd name="f9" fmla="val 241"/>
              <a:gd name="f10" fmla="val 237"/>
              <a:gd name="f11" fmla="val 217"/>
              <a:gd name="f12" fmla="val 234"/>
              <a:gd name="f13" fmla="val 213"/>
              <a:gd name="f14" fmla="val 193"/>
              <a:gd name="f15" fmla="val 189"/>
              <a:gd name="f16" fmla="val 186"/>
              <a:gd name="f17" fmla="val 261"/>
              <a:gd name="f18" fmla="val 265"/>
              <a:gd name="f19" fmla="val 268"/>
              <a:gd name="f20" fmla="val 140"/>
              <a:gd name="f21" fmla="val 136"/>
              <a:gd name="f22" fmla="val 133"/>
              <a:gd name="f23" fmla="val 160"/>
              <a:gd name="f24" fmla="val 164"/>
              <a:gd name="f25" fmla="val 167"/>
              <a:gd name="f26" fmla="val 284"/>
              <a:gd name="f27" fmla="val 288"/>
              <a:gd name="f28" fmla="val 292"/>
              <a:gd name="f29" fmla="val 311"/>
              <a:gd name="f30" fmla="val 316"/>
              <a:gd name="f31" fmla="val 319"/>
              <a:gd name="f32" fmla="val 170"/>
              <a:gd name="f33" fmla="val 166"/>
              <a:gd name="f34" fmla="val 162"/>
              <a:gd name="f35" fmla="val 142"/>
              <a:gd name="f36" fmla="val 138"/>
              <a:gd name="f37" fmla="val 135"/>
              <a:gd name="f38" fmla="val 191"/>
              <a:gd name="f39" fmla="val 187"/>
              <a:gd name="f40" fmla="val 183"/>
              <a:gd name="f41" fmla="val 210"/>
              <a:gd name="f42" fmla="val 215"/>
              <a:gd name="f43" fmla="val 218"/>
              <a:gd name="f44" fmla="val 272"/>
              <a:gd name="f45" fmla="val 264"/>
              <a:gd name="f46" fmla="val 244"/>
              <a:gd name="f47" fmla="val 240"/>
              <a:gd name="f48" fmla="val 294"/>
              <a:gd name="f49" fmla="val 154"/>
              <a:gd name="f50" fmla="val 290"/>
              <a:gd name="f51" fmla="val 286"/>
              <a:gd name="f52" fmla="val 157"/>
              <a:gd name="f53" fmla="val 396"/>
              <a:gd name="f54" fmla="val 343"/>
              <a:gd name="f55" fmla="val 339"/>
              <a:gd name="f56" fmla="val 182"/>
              <a:gd name="f57" fmla="val 335"/>
              <a:gd name="f58" fmla="val 178"/>
              <a:gd name="f59" fmla="val 128"/>
              <a:gd name="f60" fmla="val 123"/>
              <a:gd name="f61" fmla="val 120"/>
              <a:gd name="f62" fmla="val 16"/>
              <a:gd name="f63" fmla="val 109"/>
              <a:gd name="f64" fmla="val 111"/>
              <a:gd name="f65" fmla="val 113"/>
              <a:gd name="f66" fmla="val 188"/>
              <a:gd name="f67" fmla="val 115"/>
              <a:gd name="f68" fmla="val 190"/>
              <a:gd name="f69" fmla="val 116"/>
              <a:gd name="f70" fmla="val 192"/>
              <a:gd name="f71" fmla="val 117"/>
              <a:gd name="f72" fmla="val 194"/>
              <a:gd name="f73" fmla="val 130"/>
              <a:gd name="f74" fmla="val 134"/>
              <a:gd name="f75" fmla="val 298"/>
              <a:gd name="f76" fmla="val 108"/>
              <a:gd name="f77" fmla="val 295"/>
              <a:gd name="f78" fmla="val 101"/>
              <a:gd name="f79" fmla="val 202"/>
              <a:gd name="f80" fmla="val 7"/>
              <a:gd name="f81" fmla="val 195"/>
              <a:gd name="f82" fmla="val 8"/>
              <a:gd name="f83" fmla="val 404"/>
              <a:gd name="f84" fmla="val 67"/>
              <a:gd name="f85" fmla="val 64"/>
              <a:gd name="f86" fmla="val 60"/>
              <a:gd name="f87" fmla="val 40"/>
              <a:gd name="f88" fmla="val 36"/>
              <a:gd name="f89" fmla="val 32"/>
              <a:gd name="f90" fmla="val 39"/>
              <a:gd name="f91" fmla="val 35"/>
              <a:gd name="f92" fmla="val 59"/>
              <a:gd name="f93" fmla="val 63"/>
              <a:gd name="f94" fmla="val 66"/>
              <a:gd name="f95" fmla="val 90"/>
              <a:gd name="f96" fmla="val 86"/>
              <a:gd name="f97" fmla="val 82"/>
              <a:gd name="f98" fmla="val 114"/>
              <a:gd name="f99" fmla="val 118"/>
              <a:gd name="f100" fmla="val 91"/>
              <a:gd name="f101" fmla="val 87"/>
              <a:gd name="f102" fmla="val 84"/>
              <a:gd name="f103" fmla="+- 0 0 -90"/>
              <a:gd name="f104" fmla="*/ f3 1 302"/>
              <a:gd name="f105" fmla="*/ f4 1 412"/>
              <a:gd name="f106" fmla="+- f7 0 f5"/>
              <a:gd name="f107" fmla="+- f6 0 f5"/>
              <a:gd name="f108" fmla="*/ f103 f0 1"/>
              <a:gd name="f109" fmla="*/ f107 1 302"/>
              <a:gd name="f110" fmla="*/ f106 1 412"/>
              <a:gd name="f111" fmla="*/ 2147483647 f107 1"/>
              <a:gd name="f112" fmla="*/ 2147483647 f106 1"/>
              <a:gd name="f113" fmla="*/ 0 f107 1"/>
              <a:gd name="f114" fmla="*/ f108 1 f2"/>
              <a:gd name="f115" fmla="*/ f111 1 302"/>
              <a:gd name="f116" fmla="*/ f112 1 412"/>
              <a:gd name="f117" fmla="*/ f113 1 302"/>
              <a:gd name="f118" fmla="*/ 0 1 f109"/>
              <a:gd name="f119" fmla="*/ f6 1 f109"/>
              <a:gd name="f120" fmla="*/ 0 1 f110"/>
              <a:gd name="f121" fmla="*/ f7 1 f110"/>
              <a:gd name="f122" fmla="+- f114 0 f1"/>
              <a:gd name="f123" fmla="*/ f115 1 f109"/>
              <a:gd name="f124" fmla="*/ f116 1 f110"/>
              <a:gd name="f125" fmla="*/ f117 1 f109"/>
              <a:gd name="f126" fmla="*/ f118 f104 1"/>
              <a:gd name="f127" fmla="*/ f119 f104 1"/>
              <a:gd name="f128" fmla="*/ f121 f105 1"/>
              <a:gd name="f129" fmla="*/ f120 f105 1"/>
              <a:gd name="f130" fmla="*/ f123 f104 1"/>
              <a:gd name="f131" fmla="*/ f124 f105 1"/>
              <a:gd name="f132" fmla="*/ f125 f104 1"/>
            </a:gdLst>
            <a:ahLst/>
            <a:cxnLst>
              <a:cxn ang="3cd4">
                <a:pos x="hc" y="t"/>
              </a:cxn>
              <a:cxn ang="0">
                <a:pos x="r" y="vc"/>
              </a:cxn>
              <a:cxn ang="cd4">
                <a:pos x="hc" y="b"/>
              </a:cxn>
              <a:cxn ang="cd2">
                <a:pos x="l" y="vc"/>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2"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 ang="f122">
                <a:pos x="f130" y="f131"/>
              </a:cxn>
            </a:cxnLst>
            <a:rect l="f126" t="f129" r="f127" b="f128"/>
            <a:pathLst>
              <a:path w="302" h="412">
                <a:moveTo>
                  <a:pt x="f8" y="f9"/>
                </a:moveTo>
                <a:cubicBezTo>
                  <a:pt x="f8" y="f10"/>
                  <a:pt x="f11" y="f12"/>
                  <a:pt x="f13" y="f12"/>
                </a:cubicBezTo>
                <a:cubicBezTo>
                  <a:pt x="f14" y="f12"/>
                  <a:pt x="f14" y="f12"/>
                  <a:pt x="f14" y="f12"/>
                </a:cubicBezTo>
                <a:cubicBezTo>
                  <a:pt x="f15" y="f12"/>
                  <a:pt x="f16" y="f10"/>
                  <a:pt x="f16" y="f9"/>
                </a:cubicBezTo>
                <a:cubicBezTo>
                  <a:pt x="f16" y="f17"/>
                  <a:pt x="f16" y="f17"/>
                  <a:pt x="f16" y="f17"/>
                </a:cubicBezTo>
                <a:cubicBezTo>
                  <a:pt x="f16" y="f18"/>
                  <a:pt x="f15" y="f19"/>
                  <a:pt x="f14" y="f19"/>
                </a:cubicBezTo>
                <a:cubicBezTo>
                  <a:pt x="f13" y="f19"/>
                  <a:pt x="f13" y="f19"/>
                  <a:pt x="f13" y="f19"/>
                </a:cubicBezTo>
                <a:cubicBezTo>
                  <a:pt x="f11" y="f19"/>
                  <a:pt x="f8" y="f18"/>
                  <a:pt x="f8" y="f17"/>
                </a:cubicBezTo>
                <a:lnTo>
                  <a:pt x="f8" y="f9"/>
                </a:lnTo>
                <a:close/>
                <a:moveTo>
                  <a:pt x="f8" y="f20"/>
                </a:moveTo>
                <a:cubicBezTo>
                  <a:pt x="f8" y="f21"/>
                  <a:pt x="f11" y="f22"/>
                  <a:pt x="f13" y="f22"/>
                </a:cubicBezTo>
                <a:cubicBezTo>
                  <a:pt x="f14" y="f22"/>
                  <a:pt x="f14" y="f22"/>
                  <a:pt x="f14" y="f22"/>
                </a:cubicBezTo>
                <a:cubicBezTo>
                  <a:pt x="f15" y="f22"/>
                  <a:pt x="f16" y="f21"/>
                  <a:pt x="f16" y="f20"/>
                </a:cubicBezTo>
                <a:cubicBezTo>
                  <a:pt x="f16" y="f23"/>
                  <a:pt x="f16" y="f23"/>
                  <a:pt x="f16" y="f23"/>
                </a:cubicBezTo>
                <a:cubicBezTo>
                  <a:pt x="f16" y="f24"/>
                  <a:pt x="f15" y="f25"/>
                  <a:pt x="f14" y="f25"/>
                </a:cubicBezTo>
                <a:cubicBezTo>
                  <a:pt x="f13" y="f25"/>
                  <a:pt x="f13" y="f25"/>
                  <a:pt x="f13" y="f25"/>
                </a:cubicBezTo>
                <a:cubicBezTo>
                  <a:pt x="f11" y="f25"/>
                  <a:pt x="f8" y="f24"/>
                  <a:pt x="f8" y="f23"/>
                </a:cubicBezTo>
                <a:lnTo>
                  <a:pt x="f8" y="f20"/>
                </a:lnTo>
                <a:close/>
                <a:moveTo>
                  <a:pt x="f13" y="f26"/>
                </a:moveTo>
                <a:cubicBezTo>
                  <a:pt x="f14" y="f26"/>
                  <a:pt x="f14" y="f26"/>
                  <a:pt x="f14" y="f26"/>
                </a:cubicBezTo>
                <a:cubicBezTo>
                  <a:pt x="f15" y="f26"/>
                  <a:pt x="f16" y="f27"/>
                  <a:pt x="f16" y="f28"/>
                </a:cubicBezTo>
                <a:cubicBezTo>
                  <a:pt x="f16" y="f29"/>
                  <a:pt x="f16" y="f29"/>
                  <a:pt x="f16" y="f29"/>
                </a:cubicBezTo>
                <a:cubicBezTo>
                  <a:pt x="f16" y="f30"/>
                  <a:pt x="f15" y="f31"/>
                  <a:pt x="f14" y="f31"/>
                </a:cubicBezTo>
                <a:cubicBezTo>
                  <a:pt x="f13" y="f31"/>
                  <a:pt x="f13" y="f31"/>
                  <a:pt x="f13" y="f31"/>
                </a:cubicBezTo>
                <a:cubicBezTo>
                  <a:pt x="f11" y="f31"/>
                  <a:pt x="f8" y="f30"/>
                  <a:pt x="f8" y="f29"/>
                </a:cubicBezTo>
                <a:cubicBezTo>
                  <a:pt x="f8" y="f28"/>
                  <a:pt x="f8" y="f28"/>
                  <a:pt x="f8" y="f28"/>
                </a:cubicBezTo>
                <a:cubicBezTo>
                  <a:pt x="f8" y="f27"/>
                  <a:pt x="f11" y="f26"/>
                  <a:pt x="f13" y="f26"/>
                </a:cubicBezTo>
                <a:close/>
                <a:moveTo>
                  <a:pt x="f32" y="f9"/>
                </a:moveTo>
                <a:cubicBezTo>
                  <a:pt x="f32" y="f10"/>
                  <a:pt x="f33" y="f12"/>
                  <a:pt x="f34" y="f12"/>
                </a:cubicBezTo>
                <a:cubicBezTo>
                  <a:pt x="f35" y="f12"/>
                  <a:pt x="f35" y="f12"/>
                  <a:pt x="f35" y="f12"/>
                </a:cubicBezTo>
                <a:cubicBezTo>
                  <a:pt x="f36" y="f12"/>
                  <a:pt x="f37" y="f10"/>
                  <a:pt x="f37" y="f9"/>
                </a:cubicBezTo>
                <a:cubicBezTo>
                  <a:pt x="f37" y="f17"/>
                  <a:pt x="f37" y="f17"/>
                  <a:pt x="f37" y="f17"/>
                </a:cubicBezTo>
                <a:cubicBezTo>
                  <a:pt x="f37" y="f18"/>
                  <a:pt x="f36" y="f19"/>
                  <a:pt x="f35" y="f19"/>
                </a:cubicBezTo>
                <a:cubicBezTo>
                  <a:pt x="f34" y="f19"/>
                  <a:pt x="f34" y="f19"/>
                  <a:pt x="f34" y="f19"/>
                </a:cubicBezTo>
                <a:cubicBezTo>
                  <a:pt x="f33" y="f19"/>
                  <a:pt x="f32" y="f18"/>
                  <a:pt x="f32" y="f17"/>
                </a:cubicBezTo>
                <a:lnTo>
                  <a:pt x="f32" y="f9"/>
                </a:lnTo>
                <a:close/>
                <a:moveTo>
                  <a:pt x="f32" y="f38"/>
                </a:moveTo>
                <a:cubicBezTo>
                  <a:pt x="f32" y="f39"/>
                  <a:pt x="f33" y="f40"/>
                  <a:pt x="f34" y="f40"/>
                </a:cubicBezTo>
                <a:cubicBezTo>
                  <a:pt x="f35" y="f40"/>
                  <a:pt x="f35" y="f40"/>
                  <a:pt x="f35" y="f40"/>
                </a:cubicBezTo>
                <a:cubicBezTo>
                  <a:pt x="f36" y="f40"/>
                  <a:pt x="f37" y="f39"/>
                  <a:pt x="f37" y="f38"/>
                </a:cubicBezTo>
                <a:cubicBezTo>
                  <a:pt x="f37" y="f41"/>
                  <a:pt x="f37" y="f41"/>
                  <a:pt x="f37" y="f41"/>
                </a:cubicBezTo>
                <a:cubicBezTo>
                  <a:pt x="f37" y="f42"/>
                  <a:pt x="f36" y="f43"/>
                  <a:pt x="f35" y="f43"/>
                </a:cubicBezTo>
                <a:cubicBezTo>
                  <a:pt x="f34" y="f43"/>
                  <a:pt x="f34" y="f43"/>
                  <a:pt x="f34" y="f43"/>
                </a:cubicBezTo>
                <a:cubicBezTo>
                  <a:pt x="f33" y="f43"/>
                  <a:pt x="f32" y="f42"/>
                  <a:pt x="f32" y="f41"/>
                </a:cubicBezTo>
                <a:lnTo>
                  <a:pt x="f32" y="f38"/>
                </a:lnTo>
                <a:close/>
                <a:moveTo>
                  <a:pt x="f34" y="f26"/>
                </a:moveTo>
                <a:cubicBezTo>
                  <a:pt x="f35" y="f26"/>
                  <a:pt x="f35" y="f26"/>
                  <a:pt x="f35" y="f26"/>
                </a:cubicBezTo>
                <a:cubicBezTo>
                  <a:pt x="f36" y="f26"/>
                  <a:pt x="f37" y="f27"/>
                  <a:pt x="f37" y="f28"/>
                </a:cubicBezTo>
                <a:cubicBezTo>
                  <a:pt x="f37" y="f29"/>
                  <a:pt x="f37" y="f29"/>
                  <a:pt x="f37" y="f29"/>
                </a:cubicBezTo>
                <a:cubicBezTo>
                  <a:pt x="f37" y="f30"/>
                  <a:pt x="f36" y="f31"/>
                  <a:pt x="f35" y="f31"/>
                </a:cubicBezTo>
                <a:cubicBezTo>
                  <a:pt x="f34" y="f31"/>
                  <a:pt x="f34" y="f31"/>
                  <a:pt x="f34" y="f31"/>
                </a:cubicBezTo>
                <a:cubicBezTo>
                  <a:pt x="f33" y="f31"/>
                  <a:pt x="f32" y="f30"/>
                  <a:pt x="f32" y="f29"/>
                </a:cubicBezTo>
                <a:cubicBezTo>
                  <a:pt x="f32" y="f28"/>
                  <a:pt x="f32" y="f28"/>
                  <a:pt x="f32" y="f28"/>
                </a:cubicBezTo>
                <a:cubicBezTo>
                  <a:pt x="f32" y="f27"/>
                  <a:pt x="f33" y="f26"/>
                  <a:pt x="f34" y="f26"/>
                </a:cubicBezTo>
                <a:close/>
                <a:moveTo>
                  <a:pt x="f8" y="f38"/>
                </a:moveTo>
                <a:cubicBezTo>
                  <a:pt x="f8" y="f39"/>
                  <a:pt x="f11" y="f40"/>
                  <a:pt x="f13" y="f40"/>
                </a:cubicBezTo>
                <a:cubicBezTo>
                  <a:pt x="f14" y="f40"/>
                  <a:pt x="f14" y="f40"/>
                  <a:pt x="f14" y="f40"/>
                </a:cubicBezTo>
                <a:cubicBezTo>
                  <a:pt x="f15" y="f40"/>
                  <a:pt x="f16" y="f39"/>
                  <a:pt x="f16" y="f38"/>
                </a:cubicBezTo>
                <a:cubicBezTo>
                  <a:pt x="f16" y="f41"/>
                  <a:pt x="f16" y="f41"/>
                  <a:pt x="f16" y="f41"/>
                </a:cubicBezTo>
                <a:cubicBezTo>
                  <a:pt x="f16" y="f42"/>
                  <a:pt x="f15" y="f43"/>
                  <a:pt x="f14" y="f43"/>
                </a:cubicBezTo>
                <a:cubicBezTo>
                  <a:pt x="f13" y="f43"/>
                  <a:pt x="f13" y="f43"/>
                  <a:pt x="f13" y="f43"/>
                </a:cubicBezTo>
                <a:cubicBezTo>
                  <a:pt x="f11" y="f43"/>
                  <a:pt x="f8" y="f42"/>
                  <a:pt x="f8" y="f41"/>
                </a:cubicBezTo>
                <a:lnTo>
                  <a:pt x="f8" y="f38"/>
                </a:lnTo>
                <a:close/>
                <a:moveTo>
                  <a:pt x="f44" y="f20"/>
                </a:moveTo>
                <a:cubicBezTo>
                  <a:pt x="f44" y="f21"/>
                  <a:pt x="f19" y="f22"/>
                  <a:pt x="f45" y="f22"/>
                </a:cubicBezTo>
                <a:cubicBezTo>
                  <a:pt x="f46" y="f22"/>
                  <a:pt x="f46" y="f22"/>
                  <a:pt x="f46" y="f22"/>
                </a:cubicBezTo>
                <a:cubicBezTo>
                  <a:pt x="f47" y="f22"/>
                  <a:pt x="f10" y="f21"/>
                  <a:pt x="f10" y="f20"/>
                </a:cubicBezTo>
                <a:cubicBezTo>
                  <a:pt x="f10" y="f23"/>
                  <a:pt x="f10" y="f23"/>
                  <a:pt x="f10" y="f23"/>
                </a:cubicBezTo>
                <a:cubicBezTo>
                  <a:pt x="f10" y="f24"/>
                  <a:pt x="f47" y="f25"/>
                  <a:pt x="f46" y="f25"/>
                </a:cubicBezTo>
                <a:cubicBezTo>
                  <a:pt x="f45" y="f25"/>
                  <a:pt x="f45" y="f25"/>
                  <a:pt x="f45" y="f25"/>
                </a:cubicBezTo>
                <a:cubicBezTo>
                  <a:pt x="f19" y="f25"/>
                  <a:pt x="f44" y="f24"/>
                  <a:pt x="f44" y="f23"/>
                </a:cubicBezTo>
                <a:lnTo>
                  <a:pt x="f44" y="f20"/>
                </a:lnTo>
                <a:close/>
                <a:moveTo>
                  <a:pt x="f48" y="f49"/>
                </a:moveTo>
                <a:cubicBezTo>
                  <a:pt x="f50" y="f49"/>
                  <a:pt x="f51" y="f52"/>
                  <a:pt x="f51" y="f34"/>
                </a:cubicBezTo>
                <a:cubicBezTo>
                  <a:pt x="f51" y="f53"/>
                  <a:pt x="f51" y="f53"/>
                  <a:pt x="f51" y="f53"/>
                </a:cubicBezTo>
                <a:cubicBezTo>
                  <a:pt x="f16" y="f53"/>
                  <a:pt x="f16" y="f53"/>
                  <a:pt x="f16" y="f53"/>
                </a:cubicBezTo>
                <a:cubicBezTo>
                  <a:pt x="f16" y="f54"/>
                  <a:pt x="f16" y="f54"/>
                  <a:pt x="f16" y="f54"/>
                </a:cubicBezTo>
                <a:cubicBezTo>
                  <a:pt x="f16" y="f55"/>
                  <a:pt x="f56" y="f57"/>
                  <a:pt x="f58" y="f57"/>
                </a:cubicBezTo>
                <a:cubicBezTo>
                  <a:pt x="f59" y="f57"/>
                  <a:pt x="f59" y="f57"/>
                  <a:pt x="f59" y="f57"/>
                </a:cubicBezTo>
                <a:cubicBezTo>
                  <a:pt x="f60" y="f57"/>
                  <a:pt x="f61" y="f55"/>
                  <a:pt x="f61" y="f54"/>
                </a:cubicBezTo>
                <a:cubicBezTo>
                  <a:pt x="f61" y="f53"/>
                  <a:pt x="f61" y="f53"/>
                  <a:pt x="f61" y="f53"/>
                </a:cubicBezTo>
                <a:cubicBezTo>
                  <a:pt x="f62" y="f53"/>
                  <a:pt x="f62" y="f53"/>
                  <a:pt x="f62" y="f53"/>
                </a:cubicBezTo>
                <a:cubicBezTo>
                  <a:pt x="f62" y="f62"/>
                  <a:pt x="f62" y="f62"/>
                  <a:pt x="f62" y="f62"/>
                </a:cubicBezTo>
                <a:cubicBezTo>
                  <a:pt x="f16" y="f62"/>
                  <a:pt x="f16" y="f62"/>
                  <a:pt x="f16" y="f62"/>
                </a:cubicBezTo>
                <a:cubicBezTo>
                  <a:pt x="f16" y="f63"/>
                  <a:pt x="f16" y="f63"/>
                  <a:pt x="f16" y="f63"/>
                </a:cubicBezTo>
                <a:cubicBezTo>
                  <a:pt x="f16" y="f64"/>
                  <a:pt x="f39" y="f65"/>
                  <a:pt x="f66" y="f67"/>
                </a:cubicBezTo>
                <a:cubicBezTo>
                  <a:pt x="f68" y="f69"/>
                  <a:pt x="f70" y="f71"/>
                  <a:pt x="f72" y="f71"/>
                </a:cubicBezTo>
                <a:cubicBezTo>
                  <a:pt x="f51" y="f71"/>
                  <a:pt x="f51" y="f71"/>
                  <a:pt x="f51" y="f71"/>
                </a:cubicBezTo>
                <a:cubicBezTo>
                  <a:pt x="f51" y="f73"/>
                  <a:pt x="f51" y="f73"/>
                  <a:pt x="f51" y="f73"/>
                </a:cubicBezTo>
                <a:cubicBezTo>
                  <a:pt x="f51" y="f74"/>
                  <a:pt x="f50" y="f36"/>
                  <a:pt x="f48" y="f36"/>
                </a:cubicBezTo>
                <a:cubicBezTo>
                  <a:pt x="f75" y="f36"/>
                  <a:pt x="f6" y="f74"/>
                  <a:pt x="f6" y="f73"/>
                </a:cubicBezTo>
                <a:cubicBezTo>
                  <a:pt x="f6" y="f73"/>
                  <a:pt x="f6" y="f73"/>
                  <a:pt x="f6" y="f73"/>
                </a:cubicBezTo>
                <a:cubicBezTo>
                  <a:pt x="f6" y="f71"/>
                  <a:pt x="f6" y="f71"/>
                  <a:pt x="f6" y="f71"/>
                </a:cubicBezTo>
                <a:cubicBezTo>
                  <a:pt x="f6" y="f76"/>
                  <a:pt x="f77" y="f78"/>
                  <a:pt x="f51" y="f78"/>
                </a:cubicBezTo>
                <a:cubicBezTo>
                  <a:pt x="f79" y="f78"/>
                  <a:pt x="f79" y="f78"/>
                  <a:pt x="f79" y="f78"/>
                </a:cubicBezTo>
                <a:cubicBezTo>
                  <a:pt x="f79" y="f62"/>
                  <a:pt x="f79" y="f62"/>
                  <a:pt x="f79" y="f62"/>
                </a:cubicBezTo>
                <a:cubicBezTo>
                  <a:pt x="f79" y="f80"/>
                  <a:pt x="f81" y="f5"/>
                  <a:pt x="f16" y="f5"/>
                </a:cubicBezTo>
                <a:cubicBezTo>
                  <a:pt x="f62" y="f5"/>
                  <a:pt x="f62" y="f5"/>
                  <a:pt x="f62" y="f5"/>
                </a:cubicBezTo>
                <a:cubicBezTo>
                  <a:pt x="f82" y="f5"/>
                  <a:pt x="f5" y="f80"/>
                  <a:pt x="f5" y="f62"/>
                </a:cubicBezTo>
                <a:cubicBezTo>
                  <a:pt x="f5" y="f53"/>
                  <a:pt x="f5" y="f53"/>
                  <a:pt x="f5" y="f53"/>
                </a:cubicBezTo>
                <a:cubicBezTo>
                  <a:pt x="f5" y="f83"/>
                  <a:pt x="f82" y="f7"/>
                  <a:pt x="f62" y="f7"/>
                </a:cubicBezTo>
                <a:cubicBezTo>
                  <a:pt x="f51" y="f7"/>
                  <a:pt x="f51" y="f7"/>
                  <a:pt x="f51" y="f7"/>
                </a:cubicBezTo>
                <a:cubicBezTo>
                  <a:pt x="f77" y="f7"/>
                  <a:pt x="f6" y="f83"/>
                  <a:pt x="f6" y="f53"/>
                </a:cubicBezTo>
                <a:cubicBezTo>
                  <a:pt x="f6" y="f34"/>
                  <a:pt x="f6" y="f34"/>
                  <a:pt x="f6" y="f34"/>
                </a:cubicBezTo>
                <a:cubicBezTo>
                  <a:pt x="f6" y="f52"/>
                  <a:pt x="f75" y="f49"/>
                  <a:pt x="f48" y="f49"/>
                </a:cubicBezTo>
                <a:close/>
                <a:moveTo>
                  <a:pt x="f32" y="f20"/>
                </a:moveTo>
                <a:cubicBezTo>
                  <a:pt x="f32" y="f21"/>
                  <a:pt x="f33" y="f22"/>
                  <a:pt x="f34" y="f22"/>
                </a:cubicBezTo>
                <a:cubicBezTo>
                  <a:pt x="f35" y="f22"/>
                  <a:pt x="f35" y="f22"/>
                  <a:pt x="f35" y="f22"/>
                </a:cubicBezTo>
                <a:cubicBezTo>
                  <a:pt x="f36" y="f22"/>
                  <a:pt x="f37" y="f21"/>
                  <a:pt x="f37" y="f20"/>
                </a:cubicBezTo>
                <a:cubicBezTo>
                  <a:pt x="f37" y="f23"/>
                  <a:pt x="f37" y="f23"/>
                  <a:pt x="f37" y="f23"/>
                </a:cubicBezTo>
                <a:cubicBezTo>
                  <a:pt x="f37" y="f24"/>
                  <a:pt x="f36" y="f25"/>
                  <a:pt x="f35" y="f25"/>
                </a:cubicBezTo>
                <a:cubicBezTo>
                  <a:pt x="f34" y="f25"/>
                  <a:pt x="f34" y="f25"/>
                  <a:pt x="f34" y="f25"/>
                </a:cubicBezTo>
                <a:cubicBezTo>
                  <a:pt x="f33" y="f25"/>
                  <a:pt x="f32" y="f24"/>
                  <a:pt x="f32" y="f23"/>
                </a:cubicBezTo>
                <a:lnTo>
                  <a:pt x="f32" y="f20"/>
                </a:lnTo>
                <a:close/>
                <a:moveTo>
                  <a:pt x="f44" y="f9"/>
                </a:moveTo>
                <a:cubicBezTo>
                  <a:pt x="f44" y="f10"/>
                  <a:pt x="f19" y="f12"/>
                  <a:pt x="f45" y="f12"/>
                </a:cubicBezTo>
                <a:cubicBezTo>
                  <a:pt x="f46" y="f12"/>
                  <a:pt x="f46" y="f12"/>
                  <a:pt x="f46" y="f12"/>
                </a:cubicBezTo>
                <a:cubicBezTo>
                  <a:pt x="f47" y="f12"/>
                  <a:pt x="f10" y="f10"/>
                  <a:pt x="f10" y="f9"/>
                </a:cubicBezTo>
                <a:cubicBezTo>
                  <a:pt x="f10" y="f17"/>
                  <a:pt x="f10" y="f17"/>
                  <a:pt x="f10" y="f17"/>
                </a:cubicBezTo>
                <a:cubicBezTo>
                  <a:pt x="f10" y="f18"/>
                  <a:pt x="f47" y="f19"/>
                  <a:pt x="f46" y="f19"/>
                </a:cubicBezTo>
                <a:cubicBezTo>
                  <a:pt x="f45" y="f19"/>
                  <a:pt x="f45" y="f19"/>
                  <a:pt x="f45" y="f19"/>
                </a:cubicBezTo>
                <a:cubicBezTo>
                  <a:pt x="f19" y="f19"/>
                  <a:pt x="f44" y="f18"/>
                  <a:pt x="f44" y="f17"/>
                </a:cubicBezTo>
                <a:lnTo>
                  <a:pt x="f44" y="f9"/>
                </a:lnTo>
                <a:close/>
                <a:moveTo>
                  <a:pt x="f44" y="f38"/>
                </a:moveTo>
                <a:cubicBezTo>
                  <a:pt x="f44" y="f39"/>
                  <a:pt x="f19" y="f40"/>
                  <a:pt x="f45" y="f40"/>
                </a:cubicBezTo>
                <a:cubicBezTo>
                  <a:pt x="f46" y="f40"/>
                  <a:pt x="f46" y="f40"/>
                  <a:pt x="f46" y="f40"/>
                </a:cubicBezTo>
                <a:cubicBezTo>
                  <a:pt x="f47" y="f40"/>
                  <a:pt x="f10" y="f39"/>
                  <a:pt x="f10" y="f38"/>
                </a:cubicBezTo>
                <a:cubicBezTo>
                  <a:pt x="f10" y="f41"/>
                  <a:pt x="f10" y="f41"/>
                  <a:pt x="f10" y="f41"/>
                </a:cubicBezTo>
                <a:cubicBezTo>
                  <a:pt x="f10" y="f42"/>
                  <a:pt x="f47" y="f43"/>
                  <a:pt x="f46" y="f43"/>
                </a:cubicBezTo>
                <a:cubicBezTo>
                  <a:pt x="f45" y="f43"/>
                  <a:pt x="f45" y="f43"/>
                  <a:pt x="f45" y="f43"/>
                </a:cubicBezTo>
                <a:cubicBezTo>
                  <a:pt x="f19" y="f43"/>
                  <a:pt x="f44" y="f42"/>
                  <a:pt x="f44" y="f41"/>
                </a:cubicBezTo>
                <a:lnTo>
                  <a:pt x="f44" y="f38"/>
                </a:lnTo>
                <a:close/>
                <a:moveTo>
                  <a:pt x="f45" y="f26"/>
                </a:moveTo>
                <a:cubicBezTo>
                  <a:pt x="f46" y="f26"/>
                  <a:pt x="f46" y="f26"/>
                  <a:pt x="f46" y="f26"/>
                </a:cubicBezTo>
                <a:cubicBezTo>
                  <a:pt x="f47" y="f26"/>
                  <a:pt x="f10" y="f27"/>
                  <a:pt x="f10" y="f28"/>
                </a:cubicBezTo>
                <a:cubicBezTo>
                  <a:pt x="f10" y="f29"/>
                  <a:pt x="f10" y="f29"/>
                  <a:pt x="f10" y="f29"/>
                </a:cubicBezTo>
                <a:cubicBezTo>
                  <a:pt x="f10" y="f30"/>
                  <a:pt x="f47" y="f31"/>
                  <a:pt x="f46" y="f31"/>
                </a:cubicBezTo>
                <a:cubicBezTo>
                  <a:pt x="f45" y="f31"/>
                  <a:pt x="f45" y="f31"/>
                  <a:pt x="f45" y="f31"/>
                </a:cubicBezTo>
                <a:cubicBezTo>
                  <a:pt x="f19" y="f31"/>
                  <a:pt x="f44" y="f30"/>
                  <a:pt x="f44" y="f29"/>
                </a:cubicBezTo>
                <a:cubicBezTo>
                  <a:pt x="f44" y="f28"/>
                  <a:pt x="f44" y="f28"/>
                  <a:pt x="f44" y="f28"/>
                </a:cubicBezTo>
                <a:cubicBezTo>
                  <a:pt x="f44" y="f27"/>
                  <a:pt x="f19" y="f26"/>
                  <a:pt x="f45" y="f26"/>
                </a:cubicBezTo>
                <a:close/>
                <a:moveTo>
                  <a:pt x="f84" y="f20"/>
                </a:moveTo>
                <a:cubicBezTo>
                  <a:pt x="f84" y="f21"/>
                  <a:pt x="f85" y="f22"/>
                  <a:pt x="f86" y="f22"/>
                </a:cubicBezTo>
                <a:cubicBezTo>
                  <a:pt x="f87" y="f22"/>
                  <a:pt x="f87" y="f22"/>
                  <a:pt x="f87" y="f22"/>
                </a:cubicBezTo>
                <a:cubicBezTo>
                  <a:pt x="f88" y="f22"/>
                  <a:pt x="f89" y="f21"/>
                  <a:pt x="f89" y="f20"/>
                </a:cubicBezTo>
                <a:cubicBezTo>
                  <a:pt x="f89" y="f23"/>
                  <a:pt x="f89" y="f23"/>
                  <a:pt x="f89" y="f23"/>
                </a:cubicBezTo>
                <a:cubicBezTo>
                  <a:pt x="f89" y="f24"/>
                  <a:pt x="f88" y="f25"/>
                  <a:pt x="f87" y="f25"/>
                </a:cubicBezTo>
                <a:cubicBezTo>
                  <a:pt x="f86" y="f25"/>
                  <a:pt x="f86" y="f25"/>
                  <a:pt x="f86" y="f25"/>
                </a:cubicBezTo>
                <a:cubicBezTo>
                  <a:pt x="f85" y="f25"/>
                  <a:pt x="f84" y="f24"/>
                  <a:pt x="f84" y="f23"/>
                </a:cubicBezTo>
                <a:lnTo>
                  <a:pt x="f84" y="f20"/>
                </a:lnTo>
                <a:close/>
                <a:moveTo>
                  <a:pt x="f86" y="f26"/>
                </a:moveTo>
                <a:cubicBezTo>
                  <a:pt x="f87" y="f26"/>
                  <a:pt x="f87" y="f26"/>
                  <a:pt x="f87" y="f26"/>
                </a:cubicBezTo>
                <a:cubicBezTo>
                  <a:pt x="f88" y="f26"/>
                  <a:pt x="f89" y="f27"/>
                  <a:pt x="f89" y="f28"/>
                </a:cubicBezTo>
                <a:cubicBezTo>
                  <a:pt x="f89" y="f29"/>
                  <a:pt x="f89" y="f29"/>
                  <a:pt x="f89" y="f29"/>
                </a:cubicBezTo>
                <a:cubicBezTo>
                  <a:pt x="f89" y="f30"/>
                  <a:pt x="f88" y="f31"/>
                  <a:pt x="f87" y="f31"/>
                </a:cubicBezTo>
                <a:cubicBezTo>
                  <a:pt x="f86" y="f31"/>
                  <a:pt x="f86" y="f31"/>
                  <a:pt x="f86" y="f31"/>
                </a:cubicBezTo>
                <a:cubicBezTo>
                  <a:pt x="f85" y="f31"/>
                  <a:pt x="f84" y="f30"/>
                  <a:pt x="f84" y="f29"/>
                </a:cubicBezTo>
                <a:cubicBezTo>
                  <a:pt x="f84" y="f28"/>
                  <a:pt x="f84" y="f28"/>
                  <a:pt x="f84" y="f28"/>
                </a:cubicBezTo>
                <a:cubicBezTo>
                  <a:pt x="f84" y="f27"/>
                  <a:pt x="f85" y="f26"/>
                  <a:pt x="f86" y="f26"/>
                </a:cubicBezTo>
                <a:close/>
                <a:moveTo>
                  <a:pt x="f84" y="f38"/>
                </a:moveTo>
                <a:cubicBezTo>
                  <a:pt x="f84" y="f39"/>
                  <a:pt x="f85" y="f40"/>
                  <a:pt x="f86" y="f40"/>
                </a:cubicBezTo>
                <a:cubicBezTo>
                  <a:pt x="f87" y="f40"/>
                  <a:pt x="f87" y="f40"/>
                  <a:pt x="f87" y="f40"/>
                </a:cubicBezTo>
                <a:cubicBezTo>
                  <a:pt x="f88" y="f40"/>
                  <a:pt x="f89" y="f39"/>
                  <a:pt x="f89" y="f38"/>
                </a:cubicBezTo>
                <a:cubicBezTo>
                  <a:pt x="f89" y="f41"/>
                  <a:pt x="f89" y="f41"/>
                  <a:pt x="f89" y="f41"/>
                </a:cubicBezTo>
                <a:cubicBezTo>
                  <a:pt x="f89" y="f42"/>
                  <a:pt x="f88" y="f43"/>
                  <a:pt x="f87" y="f43"/>
                </a:cubicBezTo>
                <a:cubicBezTo>
                  <a:pt x="f86" y="f43"/>
                  <a:pt x="f86" y="f43"/>
                  <a:pt x="f86" y="f43"/>
                </a:cubicBezTo>
                <a:cubicBezTo>
                  <a:pt x="f85" y="f43"/>
                  <a:pt x="f84" y="f42"/>
                  <a:pt x="f84" y="f41"/>
                </a:cubicBezTo>
                <a:lnTo>
                  <a:pt x="f84" y="f38"/>
                </a:lnTo>
                <a:close/>
                <a:moveTo>
                  <a:pt x="f84" y="f9"/>
                </a:moveTo>
                <a:cubicBezTo>
                  <a:pt x="f84" y="f10"/>
                  <a:pt x="f85" y="f12"/>
                  <a:pt x="f86" y="f12"/>
                </a:cubicBezTo>
                <a:cubicBezTo>
                  <a:pt x="f87" y="f12"/>
                  <a:pt x="f87" y="f12"/>
                  <a:pt x="f87" y="f12"/>
                </a:cubicBezTo>
                <a:cubicBezTo>
                  <a:pt x="f88" y="f12"/>
                  <a:pt x="f89" y="f10"/>
                  <a:pt x="f89" y="f9"/>
                </a:cubicBezTo>
                <a:cubicBezTo>
                  <a:pt x="f89" y="f17"/>
                  <a:pt x="f89" y="f17"/>
                  <a:pt x="f89" y="f17"/>
                </a:cubicBezTo>
                <a:cubicBezTo>
                  <a:pt x="f89" y="f18"/>
                  <a:pt x="f88" y="f19"/>
                  <a:pt x="f87" y="f19"/>
                </a:cubicBezTo>
                <a:cubicBezTo>
                  <a:pt x="f86" y="f19"/>
                  <a:pt x="f86" y="f19"/>
                  <a:pt x="f86" y="f19"/>
                </a:cubicBezTo>
                <a:cubicBezTo>
                  <a:pt x="f85" y="f19"/>
                  <a:pt x="f84" y="f18"/>
                  <a:pt x="f84" y="f17"/>
                </a:cubicBezTo>
                <a:lnTo>
                  <a:pt x="f84" y="f9"/>
                </a:lnTo>
                <a:close/>
                <a:moveTo>
                  <a:pt x="f84" y="f90"/>
                </a:moveTo>
                <a:cubicBezTo>
                  <a:pt x="f84" y="f91"/>
                  <a:pt x="f85" y="f89"/>
                  <a:pt x="f86" y="f89"/>
                </a:cubicBezTo>
                <a:cubicBezTo>
                  <a:pt x="f87" y="f89"/>
                  <a:pt x="f87" y="f89"/>
                  <a:pt x="f87" y="f89"/>
                </a:cubicBezTo>
                <a:cubicBezTo>
                  <a:pt x="f88" y="f89"/>
                  <a:pt x="f89" y="f91"/>
                  <a:pt x="f89" y="f90"/>
                </a:cubicBezTo>
                <a:cubicBezTo>
                  <a:pt x="f89" y="f92"/>
                  <a:pt x="f89" y="f92"/>
                  <a:pt x="f89" y="f92"/>
                </a:cubicBezTo>
                <a:cubicBezTo>
                  <a:pt x="f89" y="f93"/>
                  <a:pt x="f88" y="f94"/>
                  <a:pt x="f87" y="f94"/>
                </a:cubicBezTo>
                <a:cubicBezTo>
                  <a:pt x="f86" y="f94"/>
                  <a:pt x="f86" y="f94"/>
                  <a:pt x="f86" y="f94"/>
                </a:cubicBezTo>
                <a:cubicBezTo>
                  <a:pt x="f85" y="f94"/>
                  <a:pt x="f84" y="f93"/>
                  <a:pt x="f84" y="f92"/>
                </a:cubicBezTo>
                <a:lnTo>
                  <a:pt x="f84" y="f90"/>
                </a:lnTo>
                <a:close/>
                <a:moveTo>
                  <a:pt x="f84" y="f95"/>
                </a:moveTo>
                <a:cubicBezTo>
                  <a:pt x="f84" y="f96"/>
                  <a:pt x="f85" y="f97"/>
                  <a:pt x="f86" y="f97"/>
                </a:cubicBezTo>
                <a:cubicBezTo>
                  <a:pt x="f87" y="f97"/>
                  <a:pt x="f87" y="f97"/>
                  <a:pt x="f87" y="f97"/>
                </a:cubicBezTo>
                <a:cubicBezTo>
                  <a:pt x="f88" y="f97"/>
                  <a:pt x="f89" y="f96"/>
                  <a:pt x="f89" y="f95"/>
                </a:cubicBezTo>
                <a:cubicBezTo>
                  <a:pt x="f89" y="f63"/>
                  <a:pt x="f89" y="f63"/>
                  <a:pt x="f89" y="f63"/>
                </a:cubicBezTo>
                <a:cubicBezTo>
                  <a:pt x="f89" y="f98"/>
                  <a:pt x="f88" y="f71"/>
                  <a:pt x="f87" y="f71"/>
                </a:cubicBezTo>
                <a:cubicBezTo>
                  <a:pt x="f86" y="f71"/>
                  <a:pt x="f86" y="f71"/>
                  <a:pt x="f86" y="f71"/>
                </a:cubicBezTo>
                <a:cubicBezTo>
                  <a:pt x="f85" y="f71"/>
                  <a:pt x="f84" y="f98"/>
                  <a:pt x="f84" y="f63"/>
                </a:cubicBezTo>
                <a:lnTo>
                  <a:pt x="f84" y="f95"/>
                </a:lnTo>
                <a:close/>
                <a:moveTo>
                  <a:pt x="f99" y="f90"/>
                </a:moveTo>
                <a:cubicBezTo>
                  <a:pt x="f99" y="f91"/>
                  <a:pt x="f67" y="f89"/>
                  <a:pt x="f64" y="f89"/>
                </a:cubicBezTo>
                <a:cubicBezTo>
                  <a:pt x="f100" y="f89"/>
                  <a:pt x="f100" y="f89"/>
                  <a:pt x="f100" y="f89"/>
                </a:cubicBezTo>
                <a:cubicBezTo>
                  <a:pt x="f101" y="f89"/>
                  <a:pt x="f102" y="f91"/>
                  <a:pt x="f102" y="f90"/>
                </a:cubicBezTo>
                <a:cubicBezTo>
                  <a:pt x="f102" y="f92"/>
                  <a:pt x="f102" y="f92"/>
                  <a:pt x="f102" y="f92"/>
                </a:cubicBezTo>
                <a:cubicBezTo>
                  <a:pt x="f102" y="f93"/>
                  <a:pt x="f101" y="f94"/>
                  <a:pt x="f100" y="f94"/>
                </a:cubicBezTo>
                <a:cubicBezTo>
                  <a:pt x="f64" y="f94"/>
                  <a:pt x="f64" y="f94"/>
                  <a:pt x="f64" y="f94"/>
                </a:cubicBezTo>
                <a:cubicBezTo>
                  <a:pt x="f67" y="f94"/>
                  <a:pt x="f99" y="f93"/>
                  <a:pt x="f99" y="f92"/>
                </a:cubicBezTo>
                <a:lnTo>
                  <a:pt x="f99" y="f90"/>
                </a:lnTo>
                <a:close/>
                <a:moveTo>
                  <a:pt x="f32" y="f90"/>
                </a:moveTo>
                <a:cubicBezTo>
                  <a:pt x="f32" y="f91"/>
                  <a:pt x="f33" y="f89"/>
                  <a:pt x="f34" y="f89"/>
                </a:cubicBezTo>
                <a:cubicBezTo>
                  <a:pt x="f35" y="f89"/>
                  <a:pt x="f35" y="f89"/>
                  <a:pt x="f35" y="f89"/>
                </a:cubicBezTo>
                <a:cubicBezTo>
                  <a:pt x="f36" y="f89"/>
                  <a:pt x="f37" y="f91"/>
                  <a:pt x="f37" y="f90"/>
                </a:cubicBezTo>
                <a:cubicBezTo>
                  <a:pt x="f37" y="f92"/>
                  <a:pt x="f37" y="f92"/>
                  <a:pt x="f37" y="f92"/>
                </a:cubicBezTo>
                <a:cubicBezTo>
                  <a:pt x="f37" y="f93"/>
                  <a:pt x="f36" y="f94"/>
                  <a:pt x="f35" y="f94"/>
                </a:cubicBezTo>
                <a:cubicBezTo>
                  <a:pt x="f34" y="f94"/>
                  <a:pt x="f34" y="f94"/>
                  <a:pt x="f34" y="f94"/>
                </a:cubicBezTo>
                <a:cubicBezTo>
                  <a:pt x="f33" y="f94"/>
                  <a:pt x="f32" y="f93"/>
                  <a:pt x="f32" y="f92"/>
                </a:cubicBezTo>
                <a:lnTo>
                  <a:pt x="f32" y="f90"/>
                </a:lnTo>
                <a:close/>
                <a:moveTo>
                  <a:pt x="f99" y="f95"/>
                </a:moveTo>
                <a:cubicBezTo>
                  <a:pt x="f99" y="f96"/>
                  <a:pt x="f67" y="f97"/>
                  <a:pt x="f64" y="f97"/>
                </a:cubicBezTo>
                <a:cubicBezTo>
                  <a:pt x="f100" y="f97"/>
                  <a:pt x="f100" y="f97"/>
                  <a:pt x="f100" y="f97"/>
                </a:cubicBezTo>
                <a:cubicBezTo>
                  <a:pt x="f101" y="f97"/>
                  <a:pt x="f102" y="f96"/>
                  <a:pt x="f102" y="f95"/>
                </a:cubicBezTo>
                <a:cubicBezTo>
                  <a:pt x="f102" y="f63"/>
                  <a:pt x="f102" y="f63"/>
                  <a:pt x="f102" y="f63"/>
                </a:cubicBezTo>
                <a:cubicBezTo>
                  <a:pt x="f102" y="f98"/>
                  <a:pt x="f101" y="f71"/>
                  <a:pt x="f100" y="f71"/>
                </a:cubicBezTo>
                <a:cubicBezTo>
                  <a:pt x="f64" y="f71"/>
                  <a:pt x="f64" y="f71"/>
                  <a:pt x="f64" y="f71"/>
                </a:cubicBezTo>
                <a:cubicBezTo>
                  <a:pt x="f67" y="f71"/>
                  <a:pt x="f99" y="f98"/>
                  <a:pt x="f99" y="f63"/>
                </a:cubicBezTo>
                <a:lnTo>
                  <a:pt x="f99" y="f95"/>
                </a:lnTo>
                <a:close/>
                <a:moveTo>
                  <a:pt x="f32" y="f95"/>
                </a:moveTo>
                <a:cubicBezTo>
                  <a:pt x="f32" y="f96"/>
                  <a:pt x="f33" y="f97"/>
                  <a:pt x="f34" y="f97"/>
                </a:cubicBezTo>
                <a:cubicBezTo>
                  <a:pt x="f35" y="f97"/>
                  <a:pt x="f35" y="f97"/>
                  <a:pt x="f35" y="f97"/>
                </a:cubicBezTo>
                <a:cubicBezTo>
                  <a:pt x="f36" y="f97"/>
                  <a:pt x="f37" y="f96"/>
                  <a:pt x="f37" y="f95"/>
                </a:cubicBezTo>
                <a:cubicBezTo>
                  <a:pt x="f37" y="f63"/>
                  <a:pt x="f37" y="f63"/>
                  <a:pt x="f37" y="f63"/>
                </a:cubicBezTo>
                <a:cubicBezTo>
                  <a:pt x="f37" y="f98"/>
                  <a:pt x="f36" y="f71"/>
                  <a:pt x="f35" y="f71"/>
                </a:cubicBezTo>
                <a:cubicBezTo>
                  <a:pt x="f34" y="f71"/>
                  <a:pt x="f34" y="f71"/>
                  <a:pt x="f34" y="f71"/>
                </a:cubicBezTo>
                <a:cubicBezTo>
                  <a:pt x="f33" y="f71"/>
                  <a:pt x="f32" y="f98"/>
                  <a:pt x="f32" y="f63"/>
                </a:cubicBezTo>
                <a:lnTo>
                  <a:pt x="f32" y="f95"/>
                </a:lnTo>
                <a:close/>
                <a:moveTo>
                  <a:pt x="f64" y="f26"/>
                </a:moveTo>
                <a:cubicBezTo>
                  <a:pt x="f100" y="f26"/>
                  <a:pt x="f100" y="f26"/>
                  <a:pt x="f100" y="f26"/>
                </a:cubicBezTo>
                <a:cubicBezTo>
                  <a:pt x="f101" y="f26"/>
                  <a:pt x="f102" y="f27"/>
                  <a:pt x="f102" y="f28"/>
                </a:cubicBezTo>
                <a:cubicBezTo>
                  <a:pt x="f102" y="f29"/>
                  <a:pt x="f102" y="f29"/>
                  <a:pt x="f102" y="f29"/>
                </a:cubicBezTo>
                <a:cubicBezTo>
                  <a:pt x="f102" y="f30"/>
                  <a:pt x="f101" y="f31"/>
                  <a:pt x="f100" y="f31"/>
                </a:cubicBezTo>
                <a:cubicBezTo>
                  <a:pt x="f64" y="f31"/>
                  <a:pt x="f64" y="f31"/>
                  <a:pt x="f64" y="f31"/>
                </a:cubicBezTo>
                <a:cubicBezTo>
                  <a:pt x="f67" y="f31"/>
                  <a:pt x="f99" y="f30"/>
                  <a:pt x="f99" y="f29"/>
                </a:cubicBezTo>
                <a:cubicBezTo>
                  <a:pt x="f99" y="f28"/>
                  <a:pt x="f99" y="f28"/>
                  <a:pt x="f99" y="f28"/>
                </a:cubicBezTo>
                <a:cubicBezTo>
                  <a:pt x="f99" y="f27"/>
                  <a:pt x="f67" y="f26"/>
                  <a:pt x="f64" y="f26"/>
                </a:cubicBezTo>
                <a:close/>
                <a:moveTo>
                  <a:pt x="f99" y="f9"/>
                </a:moveTo>
                <a:cubicBezTo>
                  <a:pt x="f99" y="f10"/>
                  <a:pt x="f67" y="f12"/>
                  <a:pt x="f64" y="f12"/>
                </a:cubicBezTo>
                <a:cubicBezTo>
                  <a:pt x="f100" y="f12"/>
                  <a:pt x="f100" y="f12"/>
                  <a:pt x="f100" y="f12"/>
                </a:cubicBezTo>
                <a:cubicBezTo>
                  <a:pt x="f101" y="f12"/>
                  <a:pt x="f102" y="f10"/>
                  <a:pt x="f102" y="f9"/>
                </a:cubicBezTo>
                <a:cubicBezTo>
                  <a:pt x="f102" y="f17"/>
                  <a:pt x="f102" y="f17"/>
                  <a:pt x="f102" y="f17"/>
                </a:cubicBezTo>
                <a:cubicBezTo>
                  <a:pt x="f102" y="f18"/>
                  <a:pt x="f101" y="f19"/>
                  <a:pt x="f100" y="f19"/>
                </a:cubicBezTo>
                <a:cubicBezTo>
                  <a:pt x="f64" y="f19"/>
                  <a:pt x="f64" y="f19"/>
                  <a:pt x="f64" y="f19"/>
                </a:cubicBezTo>
                <a:cubicBezTo>
                  <a:pt x="f67" y="f19"/>
                  <a:pt x="f99" y="f18"/>
                  <a:pt x="f99" y="f17"/>
                </a:cubicBezTo>
                <a:lnTo>
                  <a:pt x="f99" y="f9"/>
                </a:lnTo>
                <a:close/>
                <a:moveTo>
                  <a:pt x="f99" y="f38"/>
                </a:moveTo>
                <a:cubicBezTo>
                  <a:pt x="f99" y="f39"/>
                  <a:pt x="f67" y="f40"/>
                  <a:pt x="f64" y="f40"/>
                </a:cubicBezTo>
                <a:cubicBezTo>
                  <a:pt x="f100" y="f40"/>
                  <a:pt x="f100" y="f40"/>
                  <a:pt x="f100" y="f40"/>
                </a:cubicBezTo>
                <a:cubicBezTo>
                  <a:pt x="f101" y="f40"/>
                  <a:pt x="f102" y="f39"/>
                  <a:pt x="f102" y="f38"/>
                </a:cubicBezTo>
                <a:cubicBezTo>
                  <a:pt x="f102" y="f41"/>
                  <a:pt x="f102" y="f41"/>
                  <a:pt x="f102" y="f41"/>
                </a:cubicBezTo>
                <a:cubicBezTo>
                  <a:pt x="f102" y="f42"/>
                  <a:pt x="f101" y="f43"/>
                  <a:pt x="f100" y="f43"/>
                </a:cubicBezTo>
                <a:cubicBezTo>
                  <a:pt x="f64" y="f43"/>
                  <a:pt x="f64" y="f43"/>
                  <a:pt x="f64" y="f43"/>
                </a:cubicBezTo>
                <a:cubicBezTo>
                  <a:pt x="f67" y="f43"/>
                  <a:pt x="f99" y="f42"/>
                  <a:pt x="f99" y="f41"/>
                </a:cubicBezTo>
                <a:lnTo>
                  <a:pt x="f99" y="f38"/>
                </a:lnTo>
                <a:close/>
                <a:moveTo>
                  <a:pt x="f99" y="f20"/>
                </a:moveTo>
                <a:cubicBezTo>
                  <a:pt x="f99" y="f21"/>
                  <a:pt x="f67" y="f22"/>
                  <a:pt x="f64" y="f22"/>
                </a:cubicBezTo>
                <a:cubicBezTo>
                  <a:pt x="f100" y="f22"/>
                  <a:pt x="f100" y="f22"/>
                  <a:pt x="f100" y="f22"/>
                </a:cubicBezTo>
                <a:cubicBezTo>
                  <a:pt x="f101" y="f22"/>
                  <a:pt x="f102" y="f21"/>
                  <a:pt x="f102" y="f20"/>
                </a:cubicBezTo>
                <a:cubicBezTo>
                  <a:pt x="f102" y="f23"/>
                  <a:pt x="f102" y="f23"/>
                  <a:pt x="f102" y="f23"/>
                </a:cubicBezTo>
                <a:cubicBezTo>
                  <a:pt x="f102" y="f24"/>
                  <a:pt x="f101" y="f25"/>
                  <a:pt x="f100" y="f25"/>
                </a:cubicBezTo>
                <a:cubicBezTo>
                  <a:pt x="f64" y="f25"/>
                  <a:pt x="f64" y="f25"/>
                  <a:pt x="f64" y="f25"/>
                </a:cubicBezTo>
                <a:cubicBezTo>
                  <a:pt x="f67" y="f25"/>
                  <a:pt x="f99" y="f24"/>
                  <a:pt x="f99" y="f23"/>
                </a:cubicBezTo>
                <a:lnTo>
                  <a:pt x="f99" y="f20"/>
                </a:lnTo>
                <a:close/>
              </a:path>
            </a:pathLst>
          </a:custGeom>
          <a:solidFill>
            <a:srgbClr val="B1B3B4"/>
          </a:solidFill>
          <a:ln cap="flat">
            <a:noFill/>
            <a:prstDash val="solid"/>
          </a:ln>
        </p:spPr>
        <p:txBody>
          <a:bodyPr vert="horz" wrap="square" lIns="121916" tIns="60953" rIns="121916" bIns="60953" anchor="t" anchorCtr="0" compatLnSpc="1">
            <a:noAutofit/>
          </a:bodyPr>
          <a:lstStyle/>
          <a:p>
            <a:pPr marL="0" marR="0" lvl="0" indent="0" algn="l" defTabSz="914400" rtl="0" fontAlgn="auto" hangingPunct="1">
              <a:lnSpc>
                <a:spcPct val="100000"/>
              </a:lnSpc>
              <a:spcBef>
                <a:spcPts val="1200"/>
              </a:spcBef>
              <a:spcAft>
                <a:spcPts val="0"/>
              </a:spcAft>
              <a:buNone/>
              <a:tabLst/>
              <a:defRPr sz="1800" b="0" i="0" u="none" strike="noStrike" kern="0" cap="none" spc="0" baseline="0">
                <a:solidFill>
                  <a:srgbClr val="000000"/>
                </a:solidFill>
                <a:uFillTx/>
              </a:defRPr>
            </a:pPr>
            <a:endParaRPr lang="en-US" sz="2000" b="0" i="0" u="none" strike="noStrike" kern="1200" cap="none" spc="0" baseline="0">
              <a:uFillTx/>
              <a:latin typeface="Arial"/>
            </a:endParaRPr>
          </a:p>
        </p:txBody>
      </p:sp>
      <p:sp>
        <p:nvSpPr>
          <p:cNvPr id="32" name="Freeform 3">
            <a:extLst>
              <a:ext uri="{FF2B5EF4-FFF2-40B4-BE49-F238E27FC236}">
                <a16:creationId xmlns:a16="http://schemas.microsoft.com/office/drawing/2014/main" id="{F8786C66-9285-4766-88CF-B7199D5FE9D6}"/>
              </a:ext>
            </a:extLst>
          </p:cNvPr>
          <p:cNvSpPr>
            <a:spLocks noChangeAspect="1" noEditPoints="1"/>
          </p:cNvSpPr>
          <p:nvPr/>
        </p:nvSpPr>
        <p:spPr bwMode="auto">
          <a:xfrm>
            <a:off x="8320346" y="4666841"/>
            <a:ext cx="443876" cy="363996"/>
          </a:xfrm>
          <a:custGeom>
            <a:avLst/>
            <a:gdLst>
              <a:gd name="T0" fmla="*/ 2147483647 w 418"/>
              <a:gd name="T1" fmla="*/ 2147483647 h 336"/>
              <a:gd name="T2" fmla="*/ 2147483647 w 418"/>
              <a:gd name="T3" fmla="*/ 2147483647 h 336"/>
              <a:gd name="T4" fmla="*/ 2147483647 w 418"/>
              <a:gd name="T5" fmla="*/ 2147483647 h 336"/>
              <a:gd name="T6" fmla="*/ 2147483647 w 418"/>
              <a:gd name="T7" fmla="*/ 2147483647 h 336"/>
              <a:gd name="T8" fmla="*/ 2147483647 w 418"/>
              <a:gd name="T9" fmla="*/ 2147483647 h 336"/>
              <a:gd name="T10" fmla="*/ 2147483647 w 418"/>
              <a:gd name="T11" fmla="*/ 2147483647 h 336"/>
              <a:gd name="T12" fmla="*/ 2147483647 w 418"/>
              <a:gd name="T13" fmla="*/ 2147483647 h 336"/>
              <a:gd name="T14" fmla="*/ 2147483647 w 418"/>
              <a:gd name="T15" fmla="*/ 2147483647 h 336"/>
              <a:gd name="T16" fmla="*/ 2147483647 w 418"/>
              <a:gd name="T17" fmla="*/ 2147483647 h 336"/>
              <a:gd name="T18" fmla="*/ 2147483647 w 418"/>
              <a:gd name="T19" fmla="*/ 2147483647 h 336"/>
              <a:gd name="T20" fmla="*/ 2147483647 w 418"/>
              <a:gd name="T21" fmla="*/ 2147483647 h 336"/>
              <a:gd name="T22" fmla="*/ 2147483647 w 418"/>
              <a:gd name="T23" fmla="*/ 2147483647 h 336"/>
              <a:gd name="T24" fmla="*/ 2147483647 w 418"/>
              <a:gd name="T25" fmla="*/ 2147483647 h 336"/>
              <a:gd name="T26" fmla="*/ 2147483647 w 418"/>
              <a:gd name="T27" fmla="*/ 2147483647 h 336"/>
              <a:gd name="T28" fmla="*/ 2147483647 w 418"/>
              <a:gd name="T29" fmla="*/ 2147483647 h 336"/>
              <a:gd name="T30" fmla="*/ 2147483647 w 418"/>
              <a:gd name="T31" fmla="*/ 2147483647 h 336"/>
              <a:gd name="T32" fmla="*/ 2147483647 w 418"/>
              <a:gd name="T33" fmla="*/ 2147483647 h 336"/>
              <a:gd name="T34" fmla="*/ 2147483647 w 418"/>
              <a:gd name="T35" fmla="*/ 2147483647 h 336"/>
              <a:gd name="T36" fmla="*/ 2147483647 w 418"/>
              <a:gd name="T37" fmla="*/ 2147483647 h 336"/>
              <a:gd name="T38" fmla="*/ 2147483647 w 418"/>
              <a:gd name="T39" fmla="*/ 2147483647 h 336"/>
              <a:gd name="T40" fmla="*/ 2147483647 w 418"/>
              <a:gd name="T41" fmla="*/ 2147483647 h 336"/>
              <a:gd name="T42" fmla="*/ 2147483647 w 418"/>
              <a:gd name="T43" fmla="*/ 2147483647 h 336"/>
              <a:gd name="T44" fmla="*/ 2147483647 w 418"/>
              <a:gd name="T45" fmla="*/ 2147483647 h 336"/>
              <a:gd name="T46" fmla="*/ 2147483647 w 418"/>
              <a:gd name="T47" fmla="*/ 2147483647 h 336"/>
              <a:gd name="T48" fmla="*/ 2147483647 w 418"/>
              <a:gd name="T49" fmla="*/ 2147483647 h 336"/>
              <a:gd name="T50" fmla="*/ 2147483647 w 418"/>
              <a:gd name="T51" fmla="*/ 2147483647 h 336"/>
              <a:gd name="T52" fmla="*/ 2147483647 w 418"/>
              <a:gd name="T53" fmla="*/ 2147483647 h 336"/>
              <a:gd name="T54" fmla="*/ 2147483647 w 418"/>
              <a:gd name="T55" fmla="*/ 2147483647 h 336"/>
              <a:gd name="T56" fmla="*/ 2147483647 w 418"/>
              <a:gd name="T57" fmla="*/ 2147483647 h 336"/>
              <a:gd name="T58" fmla="*/ 2147483647 w 418"/>
              <a:gd name="T59" fmla="*/ 2147483647 h 336"/>
              <a:gd name="T60" fmla="*/ 2147483647 w 418"/>
              <a:gd name="T61" fmla="*/ 2147483647 h 336"/>
              <a:gd name="T62" fmla="*/ 2147483647 w 418"/>
              <a:gd name="T63" fmla="*/ 2147483647 h 336"/>
              <a:gd name="T64" fmla="*/ 2147483647 w 418"/>
              <a:gd name="T65" fmla="*/ 2147483647 h 336"/>
              <a:gd name="T66" fmla="*/ 2147483647 w 418"/>
              <a:gd name="T67" fmla="*/ 2147483647 h 336"/>
              <a:gd name="T68" fmla="*/ 2147483647 w 418"/>
              <a:gd name="T69" fmla="*/ 2147483647 h 336"/>
              <a:gd name="T70" fmla="*/ 2147483647 w 418"/>
              <a:gd name="T71" fmla="*/ 2147483647 h 336"/>
              <a:gd name="T72" fmla="*/ 2147483647 w 418"/>
              <a:gd name="T73" fmla="*/ 2147483647 h 336"/>
              <a:gd name="T74" fmla="*/ 2147483647 w 418"/>
              <a:gd name="T75" fmla="*/ 2147483647 h 336"/>
              <a:gd name="T76" fmla="*/ 2147483647 w 418"/>
              <a:gd name="T77" fmla="*/ 2147483647 h 336"/>
              <a:gd name="T78" fmla="*/ 2147483647 w 418"/>
              <a:gd name="T79" fmla="*/ 2147483647 h 336"/>
              <a:gd name="T80" fmla="*/ 2147483647 w 418"/>
              <a:gd name="T81" fmla="*/ 2147483647 h 336"/>
              <a:gd name="T82" fmla="*/ 2147483647 w 418"/>
              <a:gd name="T83" fmla="*/ 2147483647 h 336"/>
              <a:gd name="T84" fmla="*/ 2147483647 w 418"/>
              <a:gd name="T85" fmla="*/ 2147483647 h 336"/>
              <a:gd name="T86" fmla="*/ 2147483647 w 418"/>
              <a:gd name="T87" fmla="*/ 2147483647 h 336"/>
              <a:gd name="T88" fmla="*/ 2147483647 w 418"/>
              <a:gd name="T89" fmla="*/ 0 h 336"/>
              <a:gd name="T90" fmla="*/ 2147483647 w 418"/>
              <a:gd name="T91" fmla="*/ 0 h 336"/>
              <a:gd name="T92" fmla="*/ 2147483647 w 418"/>
              <a:gd name="T93" fmla="*/ 2147483647 h 336"/>
              <a:gd name="T94" fmla="*/ 2147483647 w 418"/>
              <a:gd name="T95" fmla="*/ 2147483647 h 336"/>
              <a:gd name="T96" fmla="*/ 2147483647 w 418"/>
              <a:gd name="T97" fmla="*/ 2147483647 h 336"/>
              <a:gd name="T98" fmla="*/ 0 w 418"/>
              <a:gd name="T99" fmla="*/ 2147483647 h 336"/>
              <a:gd name="T100" fmla="*/ 0 w 418"/>
              <a:gd name="T101" fmla="*/ 2147483647 h 336"/>
              <a:gd name="T102" fmla="*/ 2147483647 w 418"/>
              <a:gd name="T103" fmla="*/ 2147483647 h 336"/>
              <a:gd name="T104" fmla="*/ 2147483647 w 418"/>
              <a:gd name="T105" fmla="*/ 2147483647 h 336"/>
              <a:gd name="T106" fmla="*/ 2147483647 w 418"/>
              <a:gd name="T107" fmla="*/ 2147483647 h 336"/>
              <a:gd name="T108" fmla="*/ 2147483647 w 418"/>
              <a:gd name="T109" fmla="*/ 2147483647 h 336"/>
              <a:gd name="T110" fmla="*/ 2147483647 w 418"/>
              <a:gd name="T111" fmla="*/ 2147483647 h 336"/>
              <a:gd name="T112" fmla="*/ 2147483647 w 418"/>
              <a:gd name="T113" fmla="*/ 2147483647 h 336"/>
              <a:gd name="T114" fmla="*/ 2147483647 w 418"/>
              <a:gd name="T115" fmla="*/ 2147483647 h 336"/>
              <a:gd name="T116" fmla="*/ 2147483647 w 418"/>
              <a:gd name="T117" fmla="*/ 2147483647 h 336"/>
              <a:gd name="T118" fmla="*/ 2147483647 w 418"/>
              <a:gd name="T119" fmla="*/ 2147483647 h 336"/>
              <a:gd name="T120" fmla="*/ 2147483647 w 418"/>
              <a:gd name="T121" fmla="*/ 2147483647 h 336"/>
              <a:gd name="T122" fmla="*/ 2147483647 w 418"/>
              <a:gd name="T123" fmla="*/ 2147483647 h 336"/>
              <a:gd name="T124" fmla="*/ 2147483647 w 418"/>
              <a:gd name="T125" fmla="*/ 2147483647 h 3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18"/>
              <a:gd name="T190" fmla="*/ 0 h 336"/>
              <a:gd name="T191" fmla="*/ 418 w 418"/>
              <a:gd name="T192" fmla="*/ 336 h 3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18" h="336">
                <a:moveTo>
                  <a:pt x="103" y="187"/>
                </a:moveTo>
                <a:cubicBezTo>
                  <a:pt x="103" y="246"/>
                  <a:pt x="150" y="293"/>
                  <a:pt x="209" y="293"/>
                </a:cubicBezTo>
                <a:cubicBezTo>
                  <a:pt x="267" y="293"/>
                  <a:pt x="315" y="246"/>
                  <a:pt x="315" y="187"/>
                </a:cubicBezTo>
                <a:cubicBezTo>
                  <a:pt x="315" y="129"/>
                  <a:pt x="267" y="82"/>
                  <a:pt x="209" y="82"/>
                </a:cubicBezTo>
                <a:cubicBezTo>
                  <a:pt x="150" y="82"/>
                  <a:pt x="103" y="129"/>
                  <a:pt x="103" y="187"/>
                </a:cubicBezTo>
                <a:close/>
                <a:moveTo>
                  <a:pt x="235" y="130"/>
                </a:moveTo>
                <a:cubicBezTo>
                  <a:pt x="235" y="161"/>
                  <a:pt x="235" y="161"/>
                  <a:pt x="235" y="161"/>
                </a:cubicBezTo>
                <a:cubicBezTo>
                  <a:pt x="266" y="161"/>
                  <a:pt x="266" y="161"/>
                  <a:pt x="266" y="161"/>
                </a:cubicBezTo>
                <a:cubicBezTo>
                  <a:pt x="275" y="161"/>
                  <a:pt x="282" y="168"/>
                  <a:pt x="282" y="177"/>
                </a:cubicBezTo>
                <a:cubicBezTo>
                  <a:pt x="282" y="198"/>
                  <a:pt x="282" y="198"/>
                  <a:pt x="282" y="198"/>
                </a:cubicBezTo>
                <a:cubicBezTo>
                  <a:pt x="282" y="207"/>
                  <a:pt x="275" y="214"/>
                  <a:pt x="266" y="214"/>
                </a:cubicBezTo>
                <a:cubicBezTo>
                  <a:pt x="235" y="214"/>
                  <a:pt x="235" y="214"/>
                  <a:pt x="235" y="214"/>
                </a:cubicBezTo>
                <a:cubicBezTo>
                  <a:pt x="235" y="245"/>
                  <a:pt x="235" y="245"/>
                  <a:pt x="235" y="245"/>
                </a:cubicBezTo>
                <a:cubicBezTo>
                  <a:pt x="235" y="254"/>
                  <a:pt x="228" y="261"/>
                  <a:pt x="219" y="261"/>
                </a:cubicBezTo>
                <a:cubicBezTo>
                  <a:pt x="198" y="261"/>
                  <a:pt x="198" y="261"/>
                  <a:pt x="198" y="261"/>
                </a:cubicBezTo>
                <a:cubicBezTo>
                  <a:pt x="189" y="261"/>
                  <a:pt x="182" y="254"/>
                  <a:pt x="182" y="245"/>
                </a:cubicBezTo>
                <a:cubicBezTo>
                  <a:pt x="182" y="214"/>
                  <a:pt x="182" y="214"/>
                  <a:pt x="182" y="214"/>
                </a:cubicBezTo>
                <a:cubicBezTo>
                  <a:pt x="152" y="214"/>
                  <a:pt x="152" y="214"/>
                  <a:pt x="152" y="214"/>
                </a:cubicBezTo>
                <a:cubicBezTo>
                  <a:pt x="143" y="214"/>
                  <a:pt x="136" y="207"/>
                  <a:pt x="136" y="198"/>
                </a:cubicBezTo>
                <a:cubicBezTo>
                  <a:pt x="136" y="177"/>
                  <a:pt x="136" y="177"/>
                  <a:pt x="136" y="177"/>
                </a:cubicBezTo>
                <a:cubicBezTo>
                  <a:pt x="136" y="168"/>
                  <a:pt x="143" y="161"/>
                  <a:pt x="152" y="161"/>
                </a:cubicBezTo>
                <a:cubicBezTo>
                  <a:pt x="182" y="161"/>
                  <a:pt x="182" y="161"/>
                  <a:pt x="182" y="161"/>
                </a:cubicBezTo>
                <a:cubicBezTo>
                  <a:pt x="182" y="130"/>
                  <a:pt x="182" y="130"/>
                  <a:pt x="182" y="130"/>
                </a:cubicBezTo>
                <a:cubicBezTo>
                  <a:pt x="182" y="121"/>
                  <a:pt x="189" y="114"/>
                  <a:pt x="198" y="114"/>
                </a:cubicBezTo>
                <a:cubicBezTo>
                  <a:pt x="219" y="114"/>
                  <a:pt x="219" y="114"/>
                  <a:pt x="219" y="114"/>
                </a:cubicBezTo>
                <a:cubicBezTo>
                  <a:pt x="228" y="114"/>
                  <a:pt x="235" y="121"/>
                  <a:pt x="235" y="130"/>
                </a:cubicBezTo>
                <a:close/>
                <a:moveTo>
                  <a:pt x="410" y="102"/>
                </a:moveTo>
                <a:cubicBezTo>
                  <a:pt x="405" y="102"/>
                  <a:pt x="402" y="106"/>
                  <a:pt x="402" y="110"/>
                </a:cubicBezTo>
                <a:cubicBezTo>
                  <a:pt x="402" y="110"/>
                  <a:pt x="402" y="110"/>
                  <a:pt x="402" y="110"/>
                </a:cubicBezTo>
                <a:cubicBezTo>
                  <a:pt x="402" y="311"/>
                  <a:pt x="402" y="311"/>
                  <a:pt x="402" y="311"/>
                </a:cubicBezTo>
                <a:cubicBezTo>
                  <a:pt x="402" y="316"/>
                  <a:pt x="397" y="320"/>
                  <a:pt x="392" y="320"/>
                </a:cubicBezTo>
                <a:cubicBezTo>
                  <a:pt x="25" y="320"/>
                  <a:pt x="25" y="320"/>
                  <a:pt x="25" y="320"/>
                </a:cubicBezTo>
                <a:cubicBezTo>
                  <a:pt x="20" y="320"/>
                  <a:pt x="16" y="316"/>
                  <a:pt x="16" y="311"/>
                </a:cubicBezTo>
                <a:cubicBezTo>
                  <a:pt x="16" y="64"/>
                  <a:pt x="16" y="64"/>
                  <a:pt x="16" y="64"/>
                </a:cubicBezTo>
                <a:cubicBezTo>
                  <a:pt x="16" y="59"/>
                  <a:pt x="20" y="55"/>
                  <a:pt x="25" y="55"/>
                </a:cubicBezTo>
                <a:cubicBezTo>
                  <a:pt x="392" y="55"/>
                  <a:pt x="392" y="55"/>
                  <a:pt x="392" y="55"/>
                </a:cubicBezTo>
                <a:cubicBezTo>
                  <a:pt x="397" y="55"/>
                  <a:pt x="402" y="59"/>
                  <a:pt x="402" y="64"/>
                </a:cubicBezTo>
                <a:cubicBezTo>
                  <a:pt x="402" y="78"/>
                  <a:pt x="402" y="78"/>
                  <a:pt x="402" y="78"/>
                </a:cubicBezTo>
                <a:cubicBezTo>
                  <a:pt x="402" y="82"/>
                  <a:pt x="405" y="86"/>
                  <a:pt x="410" y="86"/>
                </a:cubicBezTo>
                <a:cubicBezTo>
                  <a:pt x="414" y="86"/>
                  <a:pt x="418" y="82"/>
                  <a:pt x="418" y="78"/>
                </a:cubicBezTo>
                <a:cubicBezTo>
                  <a:pt x="418" y="64"/>
                  <a:pt x="418" y="64"/>
                  <a:pt x="418" y="64"/>
                </a:cubicBezTo>
                <a:cubicBezTo>
                  <a:pt x="418" y="50"/>
                  <a:pt x="406" y="39"/>
                  <a:pt x="392" y="39"/>
                </a:cubicBezTo>
                <a:cubicBezTo>
                  <a:pt x="286" y="39"/>
                  <a:pt x="286" y="39"/>
                  <a:pt x="286" y="39"/>
                </a:cubicBezTo>
                <a:cubicBezTo>
                  <a:pt x="286" y="24"/>
                  <a:pt x="286" y="24"/>
                  <a:pt x="286" y="24"/>
                </a:cubicBezTo>
                <a:cubicBezTo>
                  <a:pt x="286" y="11"/>
                  <a:pt x="275" y="0"/>
                  <a:pt x="262" y="0"/>
                </a:cubicBezTo>
                <a:cubicBezTo>
                  <a:pt x="156" y="0"/>
                  <a:pt x="156" y="0"/>
                  <a:pt x="156" y="0"/>
                </a:cubicBezTo>
                <a:cubicBezTo>
                  <a:pt x="143" y="0"/>
                  <a:pt x="132" y="11"/>
                  <a:pt x="132" y="24"/>
                </a:cubicBezTo>
                <a:cubicBezTo>
                  <a:pt x="132" y="39"/>
                  <a:pt x="132" y="39"/>
                  <a:pt x="132" y="39"/>
                </a:cubicBezTo>
                <a:cubicBezTo>
                  <a:pt x="25" y="39"/>
                  <a:pt x="25" y="39"/>
                  <a:pt x="25" y="39"/>
                </a:cubicBezTo>
                <a:cubicBezTo>
                  <a:pt x="11" y="39"/>
                  <a:pt x="0" y="50"/>
                  <a:pt x="0" y="64"/>
                </a:cubicBezTo>
                <a:cubicBezTo>
                  <a:pt x="0" y="311"/>
                  <a:pt x="0" y="311"/>
                  <a:pt x="0" y="311"/>
                </a:cubicBezTo>
                <a:cubicBezTo>
                  <a:pt x="0" y="325"/>
                  <a:pt x="11" y="336"/>
                  <a:pt x="25" y="336"/>
                </a:cubicBezTo>
                <a:cubicBezTo>
                  <a:pt x="392" y="336"/>
                  <a:pt x="392" y="336"/>
                  <a:pt x="392" y="336"/>
                </a:cubicBezTo>
                <a:cubicBezTo>
                  <a:pt x="406" y="336"/>
                  <a:pt x="418" y="325"/>
                  <a:pt x="418" y="311"/>
                </a:cubicBezTo>
                <a:cubicBezTo>
                  <a:pt x="418" y="110"/>
                  <a:pt x="418" y="110"/>
                  <a:pt x="418" y="110"/>
                </a:cubicBezTo>
                <a:cubicBezTo>
                  <a:pt x="418" y="106"/>
                  <a:pt x="414" y="102"/>
                  <a:pt x="410" y="102"/>
                </a:cubicBezTo>
                <a:close/>
                <a:moveTo>
                  <a:pt x="156" y="16"/>
                </a:moveTo>
                <a:cubicBezTo>
                  <a:pt x="262" y="16"/>
                  <a:pt x="262" y="16"/>
                  <a:pt x="262" y="16"/>
                </a:cubicBezTo>
                <a:cubicBezTo>
                  <a:pt x="266" y="16"/>
                  <a:pt x="270" y="19"/>
                  <a:pt x="270" y="24"/>
                </a:cubicBezTo>
                <a:cubicBezTo>
                  <a:pt x="270" y="39"/>
                  <a:pt x="270" y="39"/>
                  <a:pt x="270" y="39"/>
                </a:cubicBezTo>
                <a:cubicBezTo>
                  <a:pt x="148" y="39"/>
                  <a:pt x="148" y="39"/>
                  <a:pt x="148" y="39"/>
                </a:cubicBezTo>
                <a:cubicBezTo>
                  <a:pt x="148" y="24"/>
                  <a:pt x="148" y="24"/>
                  <a:pt x="148" y="24"/>
                </a:cubicBezTo>
                <a:cubicBezTo>
                  <a:pt x="148" y="19"/>
                  <a:pt x="151" y="16"/>
                  <a:pt x="156" y="16"/>
                </a:cubicBez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9">
            <a:extLst>
              <a:ext uri="{FF2B5EF4-FFF2-40B4-BE49-F238E27FC236}">
                <a16:creationId xmlns:a16="http://schemas.microsoft.com/office/drawing/2014/main" id="{C3C80437-9122-4597-93EA-085A28DFC042}"/>
              </a:ext>
            </a:extLst>
          </p:cNvPr>
          <p:cNvSpPr>
            <a:spLocks noChangeAspect="1" noEditPoints="1"/>
          </p:cNvSpPr>
          <p:nvPr/>
        </p:nvSpPr>
        <p:spPr bwMode="auto">
          <a:xfrm>
            <a:off x="1664652" y="2368135"/>
            <a:ext cx="449714" cy="273324"/>
          </a:xfrm>
          <a:custGeom>
            <a:avLst/>
            <a:gdLst>
              <a:gd name="T0" fmla="*/ 2147483647 w 480"/>
              <a:gd name="T1" fmla="*/ 2147483647 h 286"/>
              <a:gd name="T2" fmla="*/ 2147483647 w 480"/>
              <a:gd name="T3" fmla="*/ 2147483647 h 286"/>
              <a:gd name="T4" fmla="*/ 2147483647 w 480"/>
              <a:gd name="T5" fmla="*/ 2147483647 h 286"/>
              <a:gd name="T6" fmla="*/ 2147483647 w 480"/>
              <a:gd name="T7" fmla="*/ 2147483647 h 286"/>
              <a:gd name="T8" fmla="*/ 2147483647 w 480"/>
              <a:gd name="T9" fmla="*/ 2147483647 h 286"/>
              <a:gd name="T10" fmla="*/ 2147483647 w 480"/>
              <a:gd name="T11" fmla="*/ 2147483647 h 286"/>
              <a:gd name="T12" fmla="*/ 2147483647 w 480"/>
              <a:gd name="T13" fmla="*/ 2147483647 h 286"/>
              <a:gd name="T14" fmla="*/ 2147483647 w 480"/>
              <a:gd name="T15" fmla="*/ 2147483647 h 286"/>
              <a:gd name="T16" fmla="*/ 2147483647 w 480"/>
              <a:gd name="T17" fmla="*/ 2147483647 h 286"/>
              <a:gd name="T18" fmla="*/ 2147483647 w 480"/>
              <a:gd name="T19" fmla="*/ 2147483647 h 286"/>
              <a:gd name="T20" fmla="*/ 2147483647 w 480"/>
              <a:gd name="T21" fmla="*/ 2147483647 h 286"/>
              <a:gd name="T22" fmla="*/ 2147483647 w 480"/>
              <a:gd name="T23" fmla="*/ 2147483647 h 286"/>
              <a:gd name="T24" fmla="*/ 2147483647 w 480"/>
              <a:gd name="T25" fmla="*/ 2147483647 h 286"/>
              <a:gd name="T26" fmla="*/ 2147483647 w 480"/>
              <a:gd name="T27" fmla="*/ 2147483647 h 286"/>
              <a:gd name="T28" fmla="*/ 2147483647 w 480"/>
              <a:gd name="T29" fmla="*/ 2147483647 h 286"/>
              <a:gd name="T30" fmla="*/ 2147483647 w 480"/>
              <a:gd name="T31" fmla="*/ 2147483647 h 286"/>
              <a:gd name="T32" fmla="*/ 2147483647 w 480"/>
              <a:gd name="T33" fmla="*/ 2147483647 h 286"/>
              <a:gd name="T34" fmla="*/ 0 w 480"/>
              <a:gd name="T35" fmla="*/ 2147483647 h 286"/>
              <a:gd name="T36" fmla="*/ 2147483647 w 480"/>
              <a:gd name="T37" fmla="*/ 2147483647 h 286"/>
              <a:gd name="T38" fmla="*/ 2147483647 w 480"/>
              <a:gd name="T39" fmla="*/ 2147483647 h 286"/>
              <a:gd name="T40" fmla="*/ 2147483647 w 480"/>
              <a:gd name="T41" fmla="*/ 2147483647 h 286"/>
              <a:gd name="T42" fmla="*/ 2147483647 w 480"/>
              <a:gd name="T43" fmla="*/ 2147483647 h 286"/>
              <a:gd name="T44" fmla="*/ 2147483647 w 480"/>
              <a:gd name="T45" fmla="*/ 2147483647 h 286"/>
              <a:gd name="T46" fmla="*/ 2147483647 w 480"/>
              <a:gd name="T47" fmla="*/ 2147483647 h 286"/>
              <a:gd name="T48" fmla="*/ 2147483647 w 480"/>
              <a:gd name="T49" fmla="*/ 2147483647 h 286"/>
              <a:gd name="T50" fmla="*/ 2147483647 w 480"/>
              <a:gd name="T51" fmla="*/ 2147483647 h 286"/>
              <a:gd name="T52" fmla="*/ 2147483647 w 480"/>
              <a:gd name="T53" fmla="*/ 2147483647 h 286"/>
              <a:gd name="T54" fmla="*/ 2147483647 w 480"/>
              <a:gd name="T55" fmla="*/ 2147483647 h 286"/>
              <a:gd name="T56" fmla="*/ 2147483647 w 480"/>
              <a:gd name="T57" fmla="*/ 2147483647 h 286"/>
              <a:gd name="T58" fmla="*/ 2147483647 w 480"/>
              <a:gd name="T59" fmla="*/ 2147483647 h 286"/>
              <a:gd name="T60" fmla="*/ 2147483647 w 480"/>
              <a:gd name="T61" fmla="*/ 2147483647 h 286"/>
              <a:gd name="T62" fmla="*/ 2147483647 w 480"/>
              <a:gd name="T63" fmla="*/ 2147483647 h 286"/>
              <a:gd name="T64" fmla="*/ 2147483647 w 480"/>
              <a:gd name="T65" fmla="*/ 2147483647 h 286"/>
              <a:gd name="T66" fmla="*/ 2147483647 w 480"/>
              <a:gd name="T67" fmla="*/ 2147483647 h 286"/>
              <a:gd name="T68" fmla="*/ 2147483647 w 480"/>
              <a:gd name="T69" fmla="*/ 2147483647 h 286"/>
              <a:gd name="T70" fmla="*/ 2147483647 w 480"/>
              <a:gd name="T71" fmla="*/ 2147483647 h 286"/>
              <a:gd name="T72" fmla="*/ 2147483647 w 480"/>
              <a:gd name="T73" fmla="*/ 2147483647 h 286"/>
              <a:gd name="T74" fmla="*/ 2147483647 w 480"/>
              <a:gd name="T75" fmla="*/ 2147483647 h 286"/>
              <a:gd name="T76" fmla="*/ 2147483647 w 480"/>
              <a:gd name="T77" fmla="*/ 2147483647 h 286"/>
              <a:gd name="T78" fmla="*/ 2147483647 w 480"/>
              <a:gd name="T79" fmla="*/ 2147483647 h 286"/>
              <a:gd name="T80" fmla="*/ 2147483647 w 480"/>
              <a:gd name="T81" fmla="*/ 2147483647 h 286"/>
              <a:gd name="T82" fmla="*/ 2147483647 w 480"/>
              <a:gd name="T83" fmla="*/ 2147483647 h 286"/>
              <a:gd name="T84" fmla="*/ 2147483647 w 480"/>
              <a:gd name="T85" fmla="*/ 2147483647 h 286"/>
              <a:gd name="T86" fmla="*/ 2147483647 w 480"/>
              <a:gd name="T87" fmla="*/ 2147483647 h 286"/>
              <a:gd name="T88" fmla="*/ 2147483647 w 480"/>
              <a:gd name="T89" fmla="*/ 2147483647 h 286"/>
              <a:gd name="T90" fmla="*/ 2147483647 w 480"/>
              <a:gd name="T91" fmla="*/ 2147483647 h 286"/>
              <a:gd name="T92" fmla="*/ 2147483647 w 480"/>
              <a:gd name="T93" fmla="*/ 2147483647 h 286"/>
              <a:gd name="T94" fmla="*/ 2147483647 w 480"/>
              <a:gd name="T95" fmla="*/ 2147483647 h 286"/>
              <a:gd name="T96" fmla="*/ 2147483647 w 480"/>
              <a:gd name="T97" fmla="*/ 2147483647 h 286"/>
              <a:gd name="T98" fmla="*/ 2147483647 w 480"/>
              <a:gd name="T99" fmla="*/ 2147483647 h 286"/>
              <a:gd name="T100" fmla="*/ 2147483647 w 480"/>
              <a:gd name="T101" fmla="*/ 2147483647 h 2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80" h="286">
                <a:moveTo>
                  <a:pt x="283" y="179"/>
                </a:moveTo>
                <a:cubicBezTo>
                  <a:pt x="279" y="179"/>
                  <a:pt x="277" y="181"/>
                  <a:pt x="277" y="184"/>
                </a:cubicBezTo>
                <a:cubicBezTo>
                  <a:pt x="277" y="214"/>
                  <a:pt x="277" y="214"/>
                  <a:pt x="277" y="214"/>
                </a:cubicBezTo>
                <a:cubicBezTo>
                  <a:pt x="277" y="217"/>
                  <a:pt x="279" y="220"/>
                  <a:pt x="283" y="220"/>
                </a:cubicBezTo>
                <a:cubicBezTo>
                  <a:pt x="312" y="220"/>
                  <a:pt x="312" y="220"/>
                  <a:pt x="312" y="220"/>
                </a:cubicBezTo>
                <a:cubicBezTo>
                  <a:pt x="315" y="220"/>
                  <a:pt x="318" y="217"/>
                  <a:pt x="318" y="214"/>
                </a:cubicBezTo>
                <a:cubicBezTo>
                  <a:pt x="318" y="184"/>
                  <a:pt x="318" y="184"/>
                  <a:pt x="318" y="184"/>
                </a:cubicBezTo>
                <a:cubicBezTo>
                  <a:pt x="318" y="181"/>
                  <a:pt x="315" y="179"/>
                  <a:pt x="312" y="179"/>
                </a:cubicBezTo>
                <a:lnTo>
                  <a:pt x="283" y="179"/>
                </a:lnTo>
                <a:close/>
                <a:moveTo>
                  <a:pt x="339" y="179"/>
                </a:moveTo>
                <a:cubicBezTo>
                  <a:pt x="336" y="179"/>
                  <a:pt x="333" y="181"/>
                  <a:pt x="333" y="184"/>
                </a:cubicBezTo>
                <a:cubicBezTo>
                  <a:pt x="333" y="214"/>
                  <a:pt x="333" y="214"/>
                  <a:pt x="333" y="214"/>
                </a:cubicBezTo>
                <a:cubicBezTo>
                  <a:pt x="333" y="217"/>
                  <a:pt x="336" y="220"/>
                  <a:pt x="339" y="220"/>
                </a:cubicBezTo>
                <a:cubicBezTo>
                  <a:pt x="369" y="220"/>
                  <a:pt x="369" y="220"/>
                  <a:pt x="369" y="220"/>
                </a:cubicBezTo>
                <a:cubicBezTo>
                  <a:pt x="372" y="220"/>
                  <a:pt x="375" y="217"/>
                  <a:pt x="375" y="214"/>
                </a:cubicBezTo>
                <a:cubicBezTo>
                  <a:pt x="375" y="184"/>
                  <a:pt x="375" y="184"/>
                  <a:pt x="375" y="184"/>
                </a:cubicBezTo>
                <a:cubicBezTo>
                  <a:pt x="375" y="181"/>
                  <a:pt x="372" y="179"/>
                  <a:pt x="369" y="179"/>
                </a:cubicBezTo>
                <a:lnTo>
                  <a:pt x="339" y="179"/>
                </a:lnTo>
                <a:close/>
                <a:moveTo>
                  <a:pt x="472" y="151"/>
                </a:moveTo>
                <a:cubicBezTo>
                  <a:pt x="477" y="151"/>
                  <a:pt x="480" y="148"/>
                  <a:pt x="480" y="143"/>
                </a:cubicBezTo>
                <a:cubicBezTo>
                  <a:pt x="480" y="95"/>
                  <a:pt x="480" y="95"/>
                  <a:pt x="480" y="95"/>
                </a:cubicBezTo>
                <a:cubicBezTo>
                  <a:pt x="480" y="84"/>
                  <a:pt x="472" y="79"/>
                  <a:pt x="471" y="79"/>
                </a:cubicBezTo>
                <a:cubicBezTo>
                  <a:pt x="329" y="2"/>
                  <a:pt x="329" y="2"/>
                  <a:pt x="329" y="2"/>
                </a:cubicBezTo>
                <a:cubicBezTo>
                  <a:pt x="328" y="2"/>
                  <a:pt x="327" y="1"/>
                  <a:pt x="326" y="1"/>
                </a:cubicBezTo>
                <a:cubicBezTo>
                  <a:pt x="324" y="1"/>
                  <a:pt x="319" y="1"/>
                  <a:pt x="315" y="5"/>
                </a:cubicBezTo>
                <a:cubicBezTo>
                  <a:pt x="313" y="7"/>
                  <a:pt x="311" y="10"/>
                  <a:pt x="311" y="14"/>
                </a:cubicBezTo>
                <a:cubicBezTo>
                  <a:pt x="311" y="73"/>
                  <a:pt x="311" y="73"/>
                  <a:pt x="311" y="73"/>
                </a:cubicBezTo>
                <a:cubicBezTo>
                  <a:pt x="173" y="2"/>
                  <a:pt x="173" y="2"/>
                  <a:pt x="173" y="2"/>
                </a:cubicBezTo>
                <a:cubicBezTo>
                  <a:pt x="172" y="2"/>
                  <a:pt x="171" y="1"/>
                  <a:pt x="171" y="1"/>
                </a:cubicBezTo>
                <a:cubicBezTo>
                  <a:pt x="170" y="1"/>
                  <a:pt x="164" y="0"/>
                  <a:pt x="160" y="4"/>
                </a:cubicBezTo>
                <a:cubicBezTo>
                  <a:pt x="157" y="6"/>
                  <a:pt x="155" y="10"/>
                  <a:pt x="155" y="14"/>
                </a:cubicBezTo>
                <a:cubicBezTo>
                  <a:pt x="155" y="73"/>
                  <a:pt x="155" y="73"/>
                  <a:pt x="155" y="73"/>
                </a:cubicBezTo>
                <a:cubicBezTo>
                  <a:pt x="18" y="2"/>
                  <a:pt x="18" y="2"/>
                  <a:pt x="18" y="2"/>
                </a:cubicBezTo>
                <a:cubicBezTo>
                  <a:pt x="17" y="2"/>
                  <a:pt x="17" y="2"/>
                  <a:pt x="16" y="1"/>
                </a:cubicBezTo>
                <a:cubicBezTo>
                  <a:pt x="15" y="1"/>
                  <a:pt x="9" y="0"/>
                  <a:pt x="5" y="4"/>
                </a:cubicBezTo>
                <a:cubicBezTo>
                  <a:pt x="2" y="6"/>
                  <a:pt x="0" y="9"/>
                  <a:pt x="0" y="14"/>
                </a:cubicBezTo>
                <a:cubicBezTo>
                  <a:pt x="0" y="273"/>
                  <a:pt x="0" y="273"/>
                  <a:pt x="0" y="273"/>
                </a:cubicBezTo>
                <a:cubicBezTo>
                  <a:pt x="0" y="280"/>
                  <a:pt x="6" y="286"/>
                  <a:pt x="13" y="286"/>
                </a:cubicBezTo>
                <a:cubicBezTo>
                  <a:pt x="467" y="286"/>
                  <a:pt x="467" y="286"/>
                  <a:pt x="467" y="286"/>
                </a:cubicBezTo>
                <a:cubicBezTo>
                  <a:pt x="474" y="286"/>
                  <a:pt x="480" y="280"/>
                  <a:pt x="480" y="273"/>
                </a:cubicBezTo>
                <a:cubicBezTo>
                  <a:pt x="480" y="176"/>
                  <a:pt x="480" y="176"/>
                  <a:pt x="480" y="176"/>
                </a:cubicBezTo>
                <a:cubicBezTo>
                  <a:pt x="480" y="171"/>
                  <a:pt x="477" y="168"/>
                  <a:pt x="472" y="168"/>
                </a:cubicBezTo>
                <a:cubicBezTo>
                  <a:pt x="468" y="168"/>
                  <a:pt x="464" y="171"/>
                  <a:pt x="464" y="176"/>
                </a:cubicBezTo>
                <a:cubicBezTo>
                  <a:pt x="464" y="270"/>
                  <a:pt x="464" y="270"/>
                  <a:pt x="464" y="270"/>
                </a:cubicBezTo>
                <a:cubicBezTo>
                  <a:pt x="16" y="270"/>
                  <a:pt x="16" y="270"/>
                  <a:pt x="16" y="270"/>
                </a:cubicBezTo>
                <a:cubicBezTo>
                  <a:pt x="16" y="19"/>
                  <a:pt x="16" y="19"/>
                  <a:pt x="16" y="19"/>
                </a:cubicBezTo>
                <a:cubicBezTo>
                  <a:pt x="160" y="94"/>
                  <a:pt x="160" y="94"/>
                  <a:pt x="160" y="94"/>
                </a:cubicBezTo>
                <a:cubicBezTo>
                  <a:pt x="162" y="95"/>
                  <a:pt x="165" y="95"/>
                  <a:pt x="167" y="93"/>
                </a:cubicBezTo>
                <a:cubicBezTo>
                  <a:pt x="170" y="92"/>
                  <a:pt x="171" y="89"/>
                  <a:pt x="171" y="87"/>
                </a:cubicBezTo>
                <a:cubicBezTo>
                  <a:pt x="171" y="19"/>
                  <a:pt x="171" y="19"/>
                  <a:pt x="171" y="19"/>
                </a:cubicBezTo>
                <a:cubicBezTo>
                  <a:pt x="316" y="94"/>
                  <a:pt x="316" y="94"/>
                  <a:pt x="316" y="94"/>
                </a:cubicBezTo>
                <a:cubicBezTo>
                  <a:pt x="318" y="95"/>
                  <a:pt x="321" y="95"/>
                  <a:pt x="324" y="93"/>
                </a:cubicBezTo>
                <a:cubicBezTo>
                  <a:pt x="326" y="92"/>
                  <a:pt x="327" y="89"/>
                  <a:pt x="327" y="87"/>
                </a:cubicBezTo>
                <a:cubicBezTo>
                  <a:pt x="327" y="20"/>
                  <a:pt x="327" y="20"/>
                  <a:pt x="327" y="20"/>
                </a:cubicBezTo>
                <a:cubicBezTo>
                  <a:pt x="463" y="93"/>
                  <a:pt x="463" y="93"/>
                  <a:pt x="463" y="93"/>
                </a:cubicBezTo>
                <a:cubicBezTo>
                  <a:pt x="463" y="93"/>
                  <a:pt x="464" y="94"/>
                  <a:pt x="464" y="95"/>
                </a:cubicBezTo>
                <a:cubicBezTo>
                  <a:pt x="464" y="143"/>
                  <a:pt x="464" y="143"/>
                  <a:pt x="464" y="143"/>
                </a:cubicBezTo>
                <a:cubicBezTo>
                  <a:pt x="464" y="148"/>
                  <a:pt x="468" y="151"/>
                  <a:pt x="472" y="151"/>
                </a:cubicBezTo>
                <a:close/>
                <a:moveTo>
                  <a:pt x="396" y="179"/>
                </a:moveTo>
                <a:cubicBezTo>
                  <a:pt x="393" y="179"/>
                  <a:pt x="390" y="181"/>
                  <a:pt x="390" y="184"/>
                </a:cubicBezTo>
                <a:cubicBezTo>
                  <a:pt x="390" y="214"/>
                  <a:pt x="390" y="214"/>
                  <a:pt x="390" y="214"/>
                </a:cubicBezTo>
                <a:cubicBezTo>
                  <a:pt x="390" y="217"/>
                  <a:pt x="393" y="220"/>
                  <a:pt x="396" y="220"/>
                </a:cubicBezTo>
                <a:cubicBezTo>
                  <a:pt x="425" y="220"/>
                  <a:pt x="425" y="220"/>
                  <a:pt x="425" y="220"/>
                </a:cubicBezTo>
                <a:cubicBezTo>
                  <a:pt x="429" y="220"/>
                  <a:pt x="431" y="217"/>
                  <a:pt x="431" y="214"/>
                </a:cubicBezTo>
                <a:cubicBezTo>
                  <a:pt x="431" y="184"/>
                  <a:pt x="431" y="184"/>
                  <a:pt x="431" y="184"/>
                </a:cubicBezTo>
                <a:cubicBezTo>
                  <a:pt x="431" y="181"/>
                  <a:pt x="429" y="179"/>
                  <a:pt x="425" y="179"/>
                </a:cubicBezTo>
                <a:lnTo>
                  <a:pt x="396" y="179"/>
                </a:lnTo>
                <a:close/>
                <a:moveTo>
                  <a:pt x="56" y="179"/>
                </a:moveTo>
                <a:cubicBezTo>
                  <a:pt x="52" y="179"/>
                  <a:pt x="50" y="181"/>
                  <a:pt x="50" y="184"/>
                </a:cubicBezTo>
                <a:cubicBezTo>
                  <a:pt x="50" y="214"/>
                  <a:pt x="50" y="214"/>
                  <a:pt x="50" y="214"/>
                </a:cubicBezTo>
                <a:cubicBezTo>
                  <a:pt x="50" y="217"/>
                  <a:pt x="52" y="220"/>
                  <a:pt x="56" y="220"/>
                </a:cubicBezTo>
                <a:cubicBezTo>
                  <a:pt x="85" y="220"/>
                  <a:pt x="85" y="220"/>
                  <a:pt x="85" y="220"/>
                </a:cubicBezTo>
                <a:cubicBezTo>
                  <a:pt x="88" y="220"/>
                  <a:pt x="91" y="217"/>
                  <a:pt x="91" y="214"/>
                </a:cubicBezTo>
                <a:cubicBezTo>
                  <a:pt x="91" y="184"/>
                  <a:pt x="91" y="184"/>
                  <a:pt x="91" y="184"/>
                </a:cubicBezTo>
                <a:cubicBezTo>
                  <a:pt x="91" y="181"/>
                  <a:pt x="88" y="179"/>
                  <a:pt x="85" y="179"/>
                </a:cubicBezTo>
                <a:lnTo>
                  <a:pt x="56" y="179"/>
                </a:lnTo>
                <a:close/>
                <a:moveTo>
                  <a:pt x="226" y="179"/>
                </a:moveTo>
                <a:cubicBezTo>
                  <a:pt x="222" y="179"/>
                  <a:pt x="220" y="181"/>
                  <a:pt x="220" y="184"/>
                </a:cubicBezTo>
                <a:cubicBezTo>
                  <a:pt x="220" y="214"/>
                  <a:pt x="220" y="214"/>
                  <a:pt x="220" y="214"/>
                </a:cubicBezTo>
                <a:cubicBezTo>
                  <a:pt x="220" y="217"/>
                  <a:pt x="222" y="220"/>
                  <a:pt x="226" y="220"/>
                </a:cubicBezTo>
                <a:cubicBezTo>
                  <a:pt x="255" y="220"/>
                  <a:pt x="255" y="220"/>
                  <a:pt x="255" y="220"/>
                </a:cubicBezTo>
                <a:cubicBezTo>
                  <a:pt x="258" y="220"/>
                  <a:pt x="261" y="217"/>
                  <a:pt x="261" y="214"/>
                </a:cubicBezTo>
                <a:cubicBezTo>
                  <a:pt x="261" y="184"/>
                  <a:pt x="261" y="184"/>
                  <a:pt x="261" y="184"/>
                </a:cubicBezTo>
                <a:cubicBezTo>
                  <a:pt x="261" y="181"/>
                  <a:pt x="258" y="179"/>
                  <a:pt x="255" y="179"/>
                </a:cubicBezTo>
                <a:lnTo>
                  <a:pt x="226" y="179"/>
                </a:lnTo>
                <a:close/>
                <a:moveTo>
                  <a:pt x="112" y="179"/>
                </a:moveTo>
                <a:cubicBezTo>
                  <a:pt x="109" y="179"/>
                  <a:pt x="106" y="181"/>
                  <a:pt x="106" y="184"/>
                </a:cubicBezTo>
                <a:cubicBezTo>
                  <a:pt x="106" y="214"/>
                  <a:pt x="106" y="214"/>
                  <a:pt x="106" y="214"/>
                </a:cubicBezTo>
                <a:cubicBezTo>
                  <a:pt x="106" y="217"/>
                  <a:pt x="109" y="220"/>
                  <a:pt x="112" y="220"/>
                </a:cubicBezTo>
                <a:cubicBezTo>
                  <a:pt x="142" y="220"/>
                  <a:pt x="142" y="220"/>
                  <a:pt x="142" y="220"/>
                </a:cubicBezTo>
                <a:cubicBezTo>
                  <a:pt x="145" y="220"/>
                  <a:pt x="148" y="217"/>
                  <a:pt x="148" y="214"/>
                </a:cubicBezTo>
                <a:cubicBezTo>
                  <a:pt x="148" y="184"/>
                  <a:pt x="148" y="184"/>
                  <a:pt x="148" y="184"/>
                </a:cubicBezTo>
                <a:cubicBezTo>
                  <a:pt x="148" y="181"/>
                  <a:pt x="145" y="179"/>
                  <a:pt x="142" y="179"/>
                </a:cubicBezTo>
                <a:lnTo>
                  <a:pt x="112" y="179"/>
                </a:lnTo>
                <a:close/>
                <a:moveTo>
                  <a:pt x="169" y="179"/>
                </a:moveTo>
                <a:cubicBezTo>
                  <a:pt x="166" y="179"/>
                  <a:pt x="163" y="181"/>
                  <a:pt x="163" y="184"/>
                </a:cubicBezTo>
                <a:cubicBezTo>
                  <a:pt x="163" y="214"/>
                  <a:pt x="163" y="214"/>
                  <a:pt x="163" y="214"/>
                </a:cubicBezTo>
                <a:cubicBezTo>
                  <a:pt x="163" y="217"/>
                  <a:pt x="166" y="220"/>
                  <a:pt x="169" y="220"/>
                </a:cubicBezTo>
                <a:cubicBezTo>
                  <a:pt x="198" y="220"/>
                  <a:pt x="198" y="220"/>
                  <a:pt x="198" y="220"/>
                </a:cubicBezTo>
                <a:cubicBezTo>
                  <a:pt x="202" y="220"/>
                  <a:pt x="204" y="217"/>
                  <a:pt x="204" y="214"/>
                </a:cubicBezTo>
                <a:cubicBezTo>
                  <a:pt x="204" y="184"/>
                  <a:pt x="204" y="184"/>
                  <a:pt x="204" y="184"/>
                </a:cubicBezTo>
                <a:cubicBezTo>
                  <a:pt x="204" y="181"/>
                  <a:pt x="202" y="179"/>
                  <a:pt x="198" y="179"/>
                </a:cubicBezTo>
                <a:lnTo>
                  <a:pt x="169" y="179"/>
                </a:lnTo>
                <a:close/>
              </a:path>
            </a:pathLst>
          </a:custGeom>
          <a:solidFill>
            <a:srgbClr val="B1B3B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Freeform 3">
            <a:extLst>
              <a:ext uri="{FF2B5EF4-FFF2-40B4-BE49-F238E27FC236}">
                <a16:creationId xmlns:a16="http://schemas.microsoft.com/office/drawing/2014/main" id="{C3E47EE5-F971-4CC6-844E-5B8DC733385D}"/>
              </a:ext>
            </a:extLst>
          </p:cNvPr>
          <p:cNvSpPr>
            <a:spLocks noChangeAspect="1"/>
          </p:cNvSpPr>
          <p:nvPr/>
        </p:nvSpPr>
        <p:spPr bwMode="auto">
          <a:xfrm>
            <a:off x="2550072" y="2344037"/>
            <a:ext cx="284960" cy="438992"/>
          </a:xfrm>
          <a:custGeom>
            <a:avLst/>
            <a:gdLst>
              <a:gd name="T0" fmla="*/ 2147483647 w 266"/>
              <a:gd name="T1" fmla="*/ 2147483647 h 410"/>
              <a:gd name="T2" fmla="*/ 2147483647 w 266"/>
              <a:gd name="T3" fmla="*/ 2147483647 h 410"/>
              <a:gd name="T4" fmla="*/ 2147483647 w 266"/>
              <a:gd name="T5" fmla="*/ 2147483647 h 410"/>
              <a:gd name="T6" fmla="*/ 2147483647 w 266"/>
              <a:gd name="T7" fmla="*/ 2147483647 h 410"/>
              <a:gd name="T8" fmla="*/ 2147483647 w 266"/>
              <a:gd name="T9" fmla="*/ 2147483647 h 410"/>
              <a:gd name="T10" fmla="*/ 2147483647 w 266"/>
              <a:gd name="T11" fmla="*/ 2147483647 h 410"/>
              <a:gd name="T12" fmla="*/ 2147483647 w 266"/>
              <a:gd name="T13" fmla="*/ 2147483647 h 410"/>
              <a:gd name="T14" fmla="*/ 2147483647 w 266"/>
              <a:gd name="T15" fmla="*/ 2147483647 h 410"/>
              <a:gd name="T16" fmla="*/ 2147483647 w 266"/>
              <a:gd name="T17" fmla="*/ 2147483647 h 410"/>
              <a:gd name="T18" fmla="*/ 2147483647 w 266"/>
              <a:gd name="T19" fmla="*/ 2147483647 h 410"/>
              <a:gd name="T20" fmla="*/ 2147483647 w 266"/>
              <a:gd name="T21" fmla="*/ 0 h 410"/>
              <a:gd name="T22" fmla="*/ 2147483647 w 266"/>
              <a:gd name="T23" fmla="*/ 2147483647 h 410"/>
              <a:gd name="T24" fmla="*/ 2147483647 w 266"/>
              <a:gd name="T25" fmla="*/ 2147483647 h 410"/>
              <a:gd name="T26" fmla="*/ 2147483647 w 266"/>
              <a:gd name="T27" fmla="*/ 2147483647 h 410"/>
              <a:gd name="T28" fmla="*/ 2147483647 w 266"/>
              <a:gd name="T29" fmla="*/ 2147483647 h 410"/>
              <a:gd name="T30" fmla="*/ 2147483647 w 266"/>
              <a:gd name="T31" fmla="*/ 2147483647 h 410"/>
              <a:gd name="T32" fmla="*/ 2147483647 w 266"/>
              <a:gd name="T33" fmla="*/ 2147483647 h 410"/>
              <a:gd name="T34" fmla="*/ 2147483647 w 266"/>
              <a:gd name="T35" fmla="*/ 2147483647 h 410"/>
              <a:gd name="T36" fmla="*/ 2147483647 w 266"/>
              <a:gd name="T37" fmla="*/ 2147483647 h 410"/>
              <a:gd name="T38" fmla="*/ 2147483647 w 266"/>
              <a:gd name="T39" fmla="*/ 2147483647 h 410"/>
              <a:gd name="T40" fmla="*/ 2147483647 w 266"/>
              <a:gd name="T41" fmla="*/ 2147483647 h 410"/>
              <a:gd name="T42" fmla="*/ 2147483647 w 266"/>
              <a:gd name="T43" fmla="*/ 2147483647 h 410"/>
              <a:gd name="T44" fmla="*/ 0 w 266"/>
              <a:gd name="T45" fmla="*/ 2147483647 h 410"/>
              <a:gd name="T46" fmla="*/ 2147483647 w 266"/>
              <a:gd name="T47" fmla="*/ 2147483647 h 410"/>
              <a:gd name="T48" fmla="*/ 2147483647 w 266"/>
              <a:gd name="T49" fmla="*/ 2147483647 h 410"/>
              <a:gd name="T50" fmla="*/ 2147483647 w 266"/>
              <a:gd name="T51" fmla="*/ 2147483647 h 410"/>
              <a:gd name="T52" fmla="*/ 2147483647 w 266"/>
              <a:gd name="T53" fmla="*/ 2147483647 h 410"/>
              <a:gd name="T54" fmla="*/ 2147483647 w 266"/>
              <a:gd name="T55" fmla="*/ 2147483647 h 410"/>
              <a:gd name="T56" fmla="*/ 2147483647 w 266"/>
              <a:gd name="T57" fmla="*/ 2147483647 h 410"/>
              <a:gd name="T58" fmla="*/ 2147483647 w 266"/>
              <a:gd name="T59" fmla="*/ 2147483647 h 410"/>
              <a:gd name="T60" fmla="*/ 2147483647 w 266"/>
              <a:gd name="T61" fmla="*/ 2147483647 h 410"/>
              <a:gd name="T62" fmla="*/ 2147483647 w 266"/>
              <a:gd name="T63" fmla="*/ 2147483647 h 410"/>
              <a:gd name="T64" fmla="*/ 2147483647 w 266"/>
              <a:gd name="T65" fmla="*/ 2147483647 h 410"/>
              <a:gd name="T66" fmla="*/ 2147483647 w 266"/>
              <a:gd name="T67" fmla="*/ 2147483647 h 410"/>
              <a:gd name="T68" fmla="*/ 2147483647 w 266"/>
              <a:gd name="T69" fmla="*/ 2147483647 h 410"/>
              <a:gd name="T70" fmla="*/ 2147483647 w 266"/>
              <a:gd name="T71" fmla="*/ 2147483647 h 410"/>
              <a:gd name="T72" fmla="*/ 2147483647 w 266"/>
              <a:gd name="T73" fmla="*/ 2147483647 h 410"/>
              <a:gd name="T74" fmla="*/ 2147483647 w 266"/>
              <a:gd name="T75" fmla="*/ 2147483647 h 410"/>
              <a:gd name="T76" fmla="*/ 2147483647 w 266"/>
              <a:gd name="T77" fmla="*/ 2147483647 h 410"/>
              <a:gd name="T78" fmla="*/ 2147483647 w 266"/>
              <a:gd name="T79" fmla="*/ 2147483647 h 410"/>
              <a:gd name="T80" fmla="*/ 2147483647 w 266"/>
              <a:gd name="T81" fmla="*/ 2147483647 h 410"/>
              <a:gd name="T82" fmla="*/ 2147483647 w 266"/>
              <a:gd name="T83" fmla="*/ 2147483647 h 410"/>
              <a:gd name="T84" fmla="*/ 2147483647 w 266"/>
              <a:gd name="T85" fmla="*/ 2147483647 h 410"/>
              <a:gd name="T86" fmla="*/ 2147483647 w 266"/>
              <a:gd name="T87" fmla="*/ 2147483647 h 410"/>
              <a:gd name="T88" fmla="*/ 2147483647 w 266"/>
              <a:gd name="T89" fmla="*/ 2147483647 h 410"/>
              <a:gd name="T90" fmla="*/ 2147483647 w 266"/>
              <a:gd name="T91" fmla="*/ 2147483647 h 410"/>
              <a:gd name="T92" fmla="*/ 2147483647 w 266"/>
              <a:gd name="T93" fmla="*/ 2147483647 h 410"/>
              <a:gd name="T94" fmla="*/ 2147483647 w 266"/>
              <a:gd name="T95" fmla="*/ 2147483647 h 410"/>
              <a:gd name="T96" fmla="*/ 2147483647 w 266"/>
              <a:gd name="T97" fmla="*/ 2147483647 h 410"/>
              <a:gd name="T98" fmla="*/ 2147483647 w 266"/>
              <a:gd name="T99" fmla="*/ 2147483647 h 410"/>
              <a:gd name="T100" fmla="*/ 2147483647 w 266"/>
              <a:gd name="T101" fmla="*/ 2147483647 h 410"/>
              <a:gd name="T102" fmla="*/ 2147483647 w 266"/>
              <a:gd name="T103" fmla="*/ 2147483647 h 410"/>
              <a:gd name="T104" fmla="*/ 2147483647 w 266"/>
              <a:gd name="T105" fmla="*/ 2147483647 h 410"/>
              <a:gd name="T106" fmla="*/ 2147483647 w 266"/>
              <a:gd name="T107" fmla="*/ 2147483647 h 410"/>
              <a:gd name="T108" fmla="*/ 2147483647 w 266"/>
              <a:gd name="T109" fmla="*/ 2147483647 h 410"/>
              <a:gd name="T110" fmla="*/ 2147483647 w 266"/>
              <a:gd name="T111" fmla="*/ 2147483647 h 410"/>
              <a:gd name="T112" fmla="*/ 2147483647 w 266"/>
              <a:gd name="T113" fmla="*/ 2147483647 h 410"/>
              <a:gd name="T114" fmla="*/ 2147483647 w 266"/>
              <a:gd name="T115" fmla="*/ 2147483647 h 410"/>
              <a:gd name="T116" fmla="*/ 2147483647 w 266"/>
              <a:gd name="T117" fmla="*/ 2147483647 h 410"/>
              <a:gd name="T118" fmla="*/ 2147483647 w 266"/>
              <a:gd name="T119" fmla="*/ 2147483647 h 410"/>
              <a:gd name="T120" fmla="*/ 2147483647 w 266"/>
              <a:gd name="T121" fmla="*/ 2147483647 h 410"/>
              <a:gd name="T122" fmla="*/ 2147483647 w 266"/>
              <a:gd name="T123" fmla="*/ 2147483647 h 4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66" h="410">
                <a:moveTo>
                  <a:pt x="253" y="57"/>
                </a:moveTo>
                <a:cubicBezTo>
                  <a:pt x="251" y="57"/>
                  <a:pt x="251" y="57"/>
                  <a:pt x="251" y="57"/>
                </a:cubicBezTo>
                <a:cubicBezTo>
                  <a:pt x="251" y="51"/>
                  <a:pt x="251" y="51"/>
                  <a:pt x="251" y="51"/>
                </a:cubicBezTo>
                <a:cubicBezTo>
                  <a:pt x="253" y="49"/>
                  <a:pt x="255" y="46"/>
                  <a:pt x="255" y="43"/>
                </a:cubicBezTo>
                <a:cubicBezTo>
                  <a:pt x="255" y="28"/>
                  <a:pt x="255" y="28"/>
                  <a:pt x="255" y="28"/>
                </a:cubicBezTo>
                <a:cubicBezTo>
                  <a:pt x="255" y="22"/>
                  <a:pt x="250" y="17"/>
                  <a:pt x="243" y="17"/>
                </a:cubicBezTo>
                <a:cubicBezTo>
                  <a:pt x="237" y="17"/>
                  <a:pt x="232" y="22"/>
                  <a:pt x="232" y="28"/>
                </a:cubicBezTo>
                <a:cubicBezTo>
                  <a:pt x="232" y="43"/>
                  <a:pt x="232" y="43"/>
                  <a:pt x="232" y="43"/>
                </a:cubicBezTo>
                <a:cubicBezTo>
                  <a:pt x="232" y="46"/>
                  <a:pt x="233" y="49"/>
                  <a:pt x="235" y="51"/>
                </a:cubicBezTo>
                <a:cubicBezTo>
                  <a:pt x="235" y="57"/>
                  <a:pt x="235" y="57"/>
                  <a:pt x="235" y="57"/>
                </a:cubicBezTo>
                <a:cubicBezTo>
                  <a:pt x="215" y="57"/>
                  <a:pt x="215" y="57"/>
                  <a:pt x="215" y="57"/>
                </a:cubicBezTo>
                <a:cubicBezTo>
                  <a:pt x="215" y="51"/>
                  <a:pt x="215" y="51"/>
                  <a:pt x="215" y="51"/>
                </a:cubicBezTo>
                <a:cubicBezTo>
                  <a:pt x="217" y="49"/>
                  <a:pt x="218" y="46"/>
                  <a:pt x="218" y="43"/>
                </a:cubicBezTo>
                <a:cubicBezTo>
                  <a:pt x="218" y="28"/>
                  <a:pt x="218" y="28"/>
                  <a:pt x="218" y="28"/>
                </a:cubicBezTo>
                <a:cubicBezTo>
                  <a:pt x="218" y="22"/>
                  <a:pt x="213" y="17"/>
                  <a:pt x="207" y="17"/>
                </a:cubicBezTo>
                <a:cubicBezTo>
                  <a:pt x="200" y="17"/>
                  <a:pt x="195" y="22"/>
                  <a:pt x="195" y="28"/>
                </a:cubicBezTo>
                <a:cubicBezTo>
                  <a:pt x="195" y="43"/>
                  <a:pt x="195" y="43"/>
                  <a:pt x="195" y="43"/>
                </a:cubicBezTo>
                <a:cubicBezTo>
                  <a:pt x="195" y="46"/>
                  <a:pt x="197" y="49"/>
                  <a:pt x="199" y="51"/>
                </a:cubicBezTo>
                <a:cubicBezTo>
                  <a:pt x="199" y="57"/>
                  <a:pt x="199" y="57"/>
                  <a:pt x="199" y="57"/>
                </a:cubicBezTo>
                <a:cubicBezTo>
                  <a:pt x="167" y="57"/>
                  <a:pt x="167" y="57"/>
                  <a:pt x="167" y="57"/>
                </a:cubicBezTo>
                <a:cubicBezTo>
                  <a:pt x="167" y="25"/>
                  <a:pt x="167" y="25"/>
                  <a:pt x="167" y="25"/>
                </a:cubicBezTo>
                <a:cubicBezTo>
                  <a:pt x="167" y="11"/>
                  <a:pt x="155" y="0"/>
                  <a:pt x="142" y="0"/>
                </a:cubicBezTo>
                <a:cubicBezTo>
                  <a:pt x="125" y="0"/>
                  <a:pt x="125" y="0"/>
                  <a:pt x="125" y="0"/>
                </a:cubicBezTo>
                <a:cubicBezTo>
                  <a:pt x="111" y="0"/>
                  <a:pt x="100" y="11"/>
                  <a:pt x="100" y="25"/>
                </a:cubicBezTo>
                <a:cubicBezTo>
                  <a:pt x="100" y="57"/>
                  <a:pt x="100" y="57"/>
                  <a:pt x="100" y="57"/>
                </a:cubicBezTo>
                <a:cubicBezTo>
                  <a:pt x="69" y="57"/>
                  <a:pt x="69" y="57"/>
                  <a:pt x="69" y="57"/>
                </a:cubicBezTo>
                <a:cubicBezTo>
                  <a:pt x="69" y="51"/>
                  <a:pt x="69" y="51"/>
                  <a:pt x="69" y="51"/>
                </a:cubicBezTo>
                <a:cubicBezTo>
                  <a:pt x="71" y="49"/>
                  <a:pt x="72" y="46"/>
                  <a:pt x="72" y="43"/>
                </a:cubicBezTo>
                <a:cubicBezTo>
                  <a:pt x="72" y="28"/>
                  <a:pt x="72" y="28"/>
                  <a:pt x="72" y="28"/>
                </a:cubicBezTo>
                <a:cubicBezTo>
                  <a:pt x="72" y="22"/>
                  <a:pt x="67" y="17"/>
                  <a:pt x="61" y="17"/>
                </a:cubicBezTo>
                <a:cubicBezTo>
                  <a:pt x="55" y="17"/>
                  <a:pt x="50" y="22"/>
                  <a:pt x="50" y="28"/>
                </a:cubicBezTo>
                <a:cubicBezTo>
                  <a:pt x="50" y="43"/>
                  <a:pt x="50" y="43"/>
                  <a:pt x="50" y="43"/>
                </a:cubicBezTo>
                <a:cubicBezTo>
                  <a:pt x="50" y="46"/>
                  <a:pt x="51" y="49"/>
                  <a:pt x="53" y="51"/>
                </a:cubicBezTo>
                <a:cubicBezTo>
                  <a:pt x="53" y="57"/>
                  <a:pt x="53" y="57"/>
                  <a:pt x="53" y="57"/>
                </a:cubicBezTo>
                <a:cubicBezTo>
                  <a:pt x="32" y="57"/>
                  <a:pt x="32" y="57"/>
                  <a:pt x="32" y="57"/>
                </a:cubicBezTo>
                <a:cubicBezTo>
                  <a:pt x="32" y="51"/>
                  <a:pt x="32" y="51"/>
                  <a:pt x="32" y="51"/>
                </a:cubicBezTo>
                <a:cubicBezTo>
                  <a:pt x="34" y="49"/>
                  <a:pt x="36" y="46"/>
                  <a:pt x="36" y="43"/>
                </a:cubicBezTo>
                <a:cubicBezTo>
                  <a:pt x="36" y="28"/>
                  <a:pt x="36" y="28"/>
                  <a:pt x="36" y="28"/>
                </a:cubicBezTo>
                <a:cubicBezTo>
                  <a:pt x="36" y="22"/>
                  <a:pt x="31" y="17"/>
                  <a:pt x="24" y="17"/>
                </a:cubicBezTo>
                <a:cubicBezTo>
                  <a:pt x="18" y="17"/>
                  <a:pt x="13" y="22"/>
                  <a:pt x="13" y="28"/>
                </a:cubicBezTo>
                <a:cubicBezTo>
                  <a:pt x="13" y="43"/>
                  <a:pt x="13" y="43"/>
                  <a:pt x="13" y="43"/>
                </a:cubicBezTo>
                <a:cubicBezTo>
                  <a:pt x="13" y="46"/>
                  <a:pt x="14" y="49"/>
                  <a:pt x="16" y="51"/>
                </a:cubicBezTo>
                <a:cubicBezTo>
                  <a:pt x="16" y="57"/>
                  <a:pt x="16" y="57"/>
                  <a:pt x="16" y="57"/>
                </a:cubicBezTo>
                <a:cubicBezTo>
                  <a:pt x="14" y="57"/>
                  <a:pt x="14" y="57"/>
                  <a:pt x="14" y="57"/>
                </a:cubicBezTo>
                <a:cubicBezTo>
                  <a:pt x="6" y="57"/>
                  <a:pt x="0" y="63"/>
                  <a:pt x="0" y="71"/>
                </a:cubicBezTo>
                <a:cubicBezTo>
                  <a:pt x="0" y="99"/>
                  <a:pt x="0" y="99"/>
                  <a:pt x="0" y="99"/>
                </a:cubicBezTo>
                <a:cubicBezTo>
                  <a:pt x="0" y="107"/>
                  <a:pt x="6" y="113"/>
                  <a:pt x="14" y="113"/>
                </a:cubicBezTo>
                <a:cubicBezTo>
                  <a:pt x="100" y="113"/>
                  <a:pt x="100" y="113"/>
                  <a:pt x="100" y="113"/>
                </a:cubicBezTo>
                <a:cubicBezTo>
                  <a:pt x="100" y="163"/>
                  <a:pt x="100" y="163"/>
                  <a:pt x="100" y="163"/>
                </a:cubicBezTo>
                <a:cubicBezTo>
                  <a:pt x="62" y="163"/>
                  <a:pt x="62" y="163"/>
                  <a:pt x="62" y="163"/>
                </a:cubicBezTo>
                <a:cubicBezTo>
                  <a:pt x="62" y="156"/>
                  <a:pt x="62" y="156"/>
                  <a:pt x="62" y="156"/>
                </a:cubicBezTo>
                <a:cubicBezTo>
                  <a:pt x="64" y="154"/>
                  <a:pt x="65" y="151"/>
                  <a:pt x="65" y="148"/>
                </a:cubicBezTo>
                <a:cubicBezTo>
                  <a:pt x="65" y="133"/>
                  <a:pt x="65" y="133"/>
                  <a:pt x="65" y="133"/>
                </a:cubicBezTo>
                <a:cubicBezTo>
                  <a:pt x="65" y="127"/>
                  <a:pt x="60" y="122"/>
                  <a:pt x="54" y="122"/>
                </a:cubicBezTo>
                <a:cubicBezTo>
                  <a:pt x="47" y="122"/>
                  <a:pt x="42" y="127"/>
                  <a:pt x="42" y="133"/>
                </a:cubicBezTo>
                <a:cubicBezTo>
                  <a:pt x="42" y="148"/>
                  <a:pt x="42" y="148"/>
                  <a:pt x="42" y="148"/>
                </a:cubicBezTo>
                <a:cubicBezTo>
                  <a:pt x="42" y="151"/>
                  <a:pt x="44" y="154"/>
                  <a:pt x="46" y="156"/>
                </a:cubicBezTo>
                <a:cubicBezTo>
                  <a:pt x="46" y="163"/>
                  <a:pt x="46" y="163"/>
                  <a:pt x="46" y="163"/>
                </a:cubicBezTo>
                <a:cubicBezTo>
                  <a:pt x="42" y="163"/>
                  <a:pt x="42" y="163"/>
                  <a:pt x="42" y="163"/>
                </a:cubicBezTo>
                <a:cubicBezTo>
                  <a:pt x="35" y="163"/>
                  <a:pt x="29" y="169"/>
                  <a:pt x="29" y="176"/>
                </a:cubicBezTo>
                <a:cubicBezTo>
                  <a:pt x="29" y="204"/>
                  <a:pt x="29" y="204"/>
                  <a:pt x="29" y="204"/>
                </a:cubicBezTo>
                <a:cubicBezTo>
                  <a:pt x="29" y="212"/>
                  <a:pt x="35" y="218"/>
                  <a:pt x="42" y="218"/>
                </a:cubicBezTo>
                <a:cubicBezTo>
                  <a:pt x="100" y="218"/>
                  <a:pt x="100" y="218"/>
                  <a:pt x="100" y="218"/>
                </a:cubicBezTo>
                <a:cubicBezTo>
                  <a:pt x="100" y="385"/>
                  <a:pt x="100" y="385"/>
                  <a:pt x="100" y="385"/>
                </a:cubicBezTo>
                <a:cubicBezTo>
                  <a:pt x="100" y="398"/>
                  <a:pt x="111" y="410"/>
                  <a:pt x="125" y="410"/>
                </a:cubicBezTo>
                <a:cubicBezTo>
                  <a:pt x="142" y="410"/>
                  <a:pt x="142" y="410"/>
                  <a:pt x="142" y="410"/>
                </a:cubicBezTo>
                <a:cubicBezTo>
                  <a:pt x="155" y="410"/>
                  <a:pt x="167" y="398"/>
                  <a:pt x="167" y="385"/>
                </a:cubicBezTo>
                <a:cubicBezTo>
                  <a:pt x="167" y="367"/>
                  <a:pt x="167" y="367"/>
                  <a:pt x="167" y="367"/>
                </a:cubicBezTo>
                <a:cubicBezTo>
                  <a:pt x="167" y="363"/>
                  <a:pt x="163" y="359"/>
                  <a:pt x="159" y="359"/>
                </a:cubicBezTo>
                <a:cubicBezTo>
                  <a:pt x="154" y="359"/>
                  <a:pt x="151" y="363"/>
                  <a:pt x="151" y="367"/>
                </a:cubicBezTo>
                <a:cubicBezTo>
                  <a:pt x="151" y="385"/>
                  <a:pt x="151" y="385"/>
                  <a:pt x="151" y="385"/>
                </a:cubicBezTo>
                <a:cubicBezTo>
                  <a:pt x="151" y="390"/>
                  <a:pt x="147" y="394"/>
                  <a:pt x="142" y="394"/>
                </a:cubicBezTo>
                <a:cubicBezTo>
                  <a:pt x="125" y="394"/>
                  <a:pt x="125" y="394"/>
                  <a:pt x="125" y="394"/>
                </a:cubicBezTo>
                <a:cubicBezTo>
                  <a:pt x="120" y="394"/>
                  <a:pt x="116" y="390"/>
                  <a:pt x="116" y="385"/>
                </a:cubicBezTo>
                <a:cubicBezTo>
                  <a:pt x="116" y="210"/>
                  <a:pt x="116" y="210"/>
                  <a:pt x="116" y="210"/>
                </a:cubicBezTo>
                <a:cubicBezTo>
                  <a:pt x="116" y="206"/>
                  <a:pt x="112" y="202"/>
                  <a:pt x="108" y="202"/>
                </a:cubicBezTo>
                <a:cubicBezTo>
                  <a:pt x="45" y="202"/>
                  <a:pt x="45" y="202"/>
                  <a:pt x="45" y="202"/>
                </a:cubicBezTo>
                <a:cubicBezTo>
                  <a:pt x="45" y="179"/>
                  <a:pt x="45" y="179"/>
                  <a:pt x="45" y="179"/>
                </a:cubicBezTo>
                <a:cubicBezTo>
                  <a:pt x="108" y="179"/>
                  <a:pt x="108" y="179"/>
                  <a:pt x="108" y="179"/>
                </a:cubicBezTo>
                <a:cubicBezTo>
                  <a:pt x="112" y="179"/>
                  <a:pt x="116" y="175"/>
                  <a:pt x="116" y="171"/>
                </a:cubicBezTo>
                <a:cubicBezTo>
                  <a:pt x="116" y="105"/>
                  <a:pt x="116" y="105"/>
                  <a:pt x="116" y="105"/>
                </a:cubicBezTo>
                <a:cubicBezTo>
                  <a:pt x="116" y="100"/>
                  <a:pt x="112" y="97"/>
                  <a:pt x="108" y="97"/>
                </a:cubicBezTo>
                <a:cubicBezTo>
                  <a:pt x="16" y="97"/>
                  <a:pt x="16" y="97"/>
                  <a:pt x="16" y="97"/>
                </a:cubicBezTo>
                <a:cubicBezTo>
                  <a:pt x="16" y="73"/>
                  <a:pt x="16" y="73"/>
                  <a:pt x="16" y="73"/>
                </a:cubicBezTo>
                <a:cubicBezTo>
                  <a:pt x="108" y="73"/>
                  <a:pt x="108" y="73"/>
                  <a:pt x="108" y="73"/>
                </a:cubicBezTo>
                <a:cubicBezTo>
                  <a:pt x="112" y="73"/>
                  <a:pt x="116" y="70"/>
                  <a:pt x="116" y="65"/>
                </a:cubicBezTo>
                <a:cubicBezTo>
                  <a:pt x="116" y="25"/>
                  <a:pt x="116" y="25"/>
                  <a:pt x="116" y="25"/>
                </a:cubicBezTo>
                <a:cubicBezTo>
                  <a:pt x="116" y="20"/>
                  <a:pt x="120" y="16"/>
                  <a:pt x="125" y="16"/>
                </a:cubicBezTo>
                <a:cubicBezTo>
                  <a:pt x="142" y="16"/>
                  <a:pt x="142" y="16"/>
                  <a:pt x="142" y="16"/>
                </a:cubicBezTo>
                <a:cubicBezTo>
                  <a:pt x="147" y="16"/>
                  <a:pt x="151" y="20"/>
                  <a:pt x="151" y="25"/>
                </a:cubicBezTo>
                <a:cubicBezTo>
                  <a:pt x="151" y="65"/>
                  <a:pt x="151" y="65"/>
                  <a:pt x="151" y="65"/>
                </a:cubicBezTo>
                <a:cubicBezTo>
                  <a:pt x="151" y="70"/>
                  <a:pt x="154" y="73"/>
                  <a:pt x="159" y="73"/>
                </a:cubicBezTo>
                <a:cubicBezTo>
                  <a:pt x="250" y="73"/>
                  <a:pt x="250" y="73"/>
                  <a:pt x="250" y="73"/>
                </a:cubicBezTo>
                <a:cubicBezTo>
                  <a:pt x="250" y="97"/>
                  <a:pt x="250" y="97"/>
                  <a:pt x="250" y="97"/>
                </a:cubicBezTo>
                <a:cubicBezTo>
                  <a:pt x="159" y="97"/>
                  <a:pt x="159" y="97"/>
                  <a:pt x="159" y="97"/>
                </a:cubicBezTo>
                <a:cubicBezTo>
                  <a:pt x="154" y="97"/>
                  <a:pt x="151" y="100"/>
                  <a:pt x="151" y="105"/>
                </a:cubicBezTo>
                <a:cubicBezTo>
                  <a:pt x="151" y="171"/>
                  <a:pt x="151" y="171"/>
                  <a:pt x="151" y="171"/>
                </a:cubicBezTo>
                <a:cubicBezTo>
                  <a:pt x="151" y="175"/>
                  <a:pt x="154" y="179"/>
                  <a:pt x="159" y="179"/>
                </a:cubicBezTo>
                <a:cubicBezTo>
                  <a:pt x="222" y="179"/>
                  <a:pt x="222" y="179"/>
                  <a:pt x="222" y="179"/>
                </a:cubicBezTo>
                <a:cubicBezTo>
                  <a:pt x="222" y="202"/>
                  <a:pt x="222" y="202"/>
                  <a:pt x="222" y="202"/>
                </a:cubicBezTo>
                <a:cubicBezTo>
                  <a:pt x="159" y="202"/>
                  <a:pt x="159" y="202"/>
                  <a:pt x="159" y="202"/>
                </a:cubicBezTo>
                <a:cubicBezTo>
                  <a:pt x="154" y="202"/>
                  <a:pt x="151" y="206"/>
                  <a:pt x="151" y="210"/>
                </a:cubicBezTo>
                <a:cubicBezTo>
                  <a:pt x="151" y="335"/>
                  <a:pt x="151" y="335"/>
                  <a:pt x="151" y="335"/>
                </a:cubicBezTo>
                <a:cubicBezTo>
                  <a:pt x="151" y="340"/>
                  <a:pt x="154" y="343"/>
                  <a:pt x="159" y="343"/>
                </a:cubicBezTo>
                <a:cubicBezTo>
                  <a:pt x="163" y="343"/>
                  <a:pt x="167" y="340"/>
                  <a:pt x="167" y="335"/>
                </a:cubicBezTo>
                <a:cubicBezTo>
                  <a:pt x="167" y="218"/>
                  <a:pt x="167" y="218"/>
                  <a:pt x="167" y="218"/>
                </a:cubicBezTo>
                <a:cubicBezTo>
                  <a:pt x="224" y="218"/>
                  <a:pt x="224" y="218"/>
                  <a:pt x="224" y="218"/>
                </a:cubicBezTo>
                <a:cubicBezTo>
                  <a:pt x="232" y="218"/>
                  <a:pt x="238" y="212"/>
                  <a:pt x="238" y="204"/>
                </a:cubicBezTo>
                <a:cubicBezTo>
                  <a:pt x="238" y="176"/>
                  <a:pt x="238" y="176"/>
                  <a:pt x="238" y="176"/>
                </a:cubicBezTo>
                <a:cubicBezTo>
                  <a:pt x="238" y="169"/>
                  <a:pt x="232" y="163"/>
                  <a:pt x="224" y="163"/>
                </a:cubicBezTo>
                <a:cubicBezTo>
                  <a:pt x="221" y="163"/>
                  <a:pt x="221" y="163"/>
                  <a:pt x="221" y="163"/>
                </a:cubicBezTo>
                <a:cubicBezTo>
                  <a:pt x="221" y="156"/>
                  <a:pt x="221" y="156"/>
                  <a:pt x="221" y="156"/>
                </a:cubicBezTo>
                <a:cubicBezTo>
                  <a:pt x="223" y="154"/>
                  <a:pt x="224" y="151"/>
                  <a:pt x="224" y="148"/>
                </a:cubicBezTo>
                <a:cubicBezTo>
                  <a:pt x="224" y="133"/>
                  <a:pt x="224" y="133"/>
                  <a:pt x="224" y="133"/>
                </a:cubicBezTo>
                <a:cubicBezTo>
                  <a:pt x="224" y="127"/>
                  <a:pt x="219" y="122"/>
                  <a:pt x="213" y="122"/>
                </a:cubicBezTo>
                <a:cubicBezTo>
                  <a:pt x="207" y="122"/>
                  <a:pt x="202" y="127"/>
                  <a:pt x="202" y="133"/>
                </a:cubicBezTo>
                <a:cubicBezTo>
                  <a:pt x="202" y="148"/>
                  <a:pt x="202" y="148"/>
                  <a:pt x="202" y="148"/>
                </a:cubicBezTo>
                <a:cubicBezTo>
                  <a:pt x="202" y="151"/>
                  <a:pt x="203" y="154"/>
                  <a:pt x="205" y="156"/>
                </a:cubicBezTo>
                <a:cubicBezTo>
                  <a:pt x="205" y="163"/>
                  <a:pt x="205" y="163"/>
                  <a:pt x="205" y="163"/>
                </a:cubicBezTo>
                <a:cubicBezTo>
                  <a:pt x="167" y="163"/>
                  <a:pt x="167" y="163"/>
                  <a:pt x="167" y="163"/>
                </a:cubicBezTo>
                <a:cubicBezTo>
                  <a:pt x="167" y="113"/>
                  <a:pt x="167" y="113"/>
                  <a:pt x="167" y="113"/>
                </a:cubicBezTo>
                <a:cubicBezTo>
                  <a:pt x="253" y="113"/>
                  <a:pt x="253" y="113"/>
                  <a:pt x="253" y="113"/>
                </a:cubicBezTo>
                <a:cubicBezTo>
                  <a:pt x="260" y="113"/>
                  <a:pt x="266" y="107"/>
                  <a:pt x="266" y="99"/>
                </a:cubicBezTo>
                <a:cubicBezTo>
                  <a:pt x="266" y="71"/>
                  <a:pt x="266" y="71"/>
                  <a:pt x="266" y="71"/>
                </a:cubicBezTo>
                <a:cubicBezTo>
                  <a:pt x="266" y="63"/>
                  <a:pt x="260" y="57"/>
                  <a:pt x="253" y="57"/>
                </a:cubicBezTo>
                <a:close/>
              </a:path>
            </a:pathLst>
          </a:custGeom>
          <a:solidFill>
            <a:srgbClr val="B1B3B4"/>
          </a:solidFill>
          <a:ln>
            <a:noFill/>
          </a:ln>
        </p:spPr>
        <p:txBody>
          <a:bodyPr/>
          <a:lstStyle/>
          <a:p>
            <a:endParaRPr lang="sv-SE" dirty="0"/>
          </a:p>
        </p:txBody>
      </p:sp>
      <p:sp>
        <p:nvSpPr>
          <p:cNvPr id="35" name="Freeform 3">
            <a:extLst>
              <a:ext uri="{FF2B5EF4-FFF2-40B4-BE49-F238E27FC236}">
                <a16:creationId xmlns:a16="http://schemas.microsoft.com/office/drawing/2014/main" id="{0342102C-452A-4327-8B58-3E1F39E1A3C5}"/>
              </a:ext>
            </a:extLst>
          </p:cNvPr>
          <p:cNvSpPr>
            <a:spLocks noChangeAspect="1" noEditPoints="1"/>
          </p:cNvSpPr>
          <p:nvPr/>
        </p:nvSpPr>
        <p:spPr bwMode="auto">
          <a:xfrm>
            <a:off x="2449465" y="3520936"/>
            <a:ext cx="533400" cy="290332"/>
          </a:xfrm>
          <a:custGeom>
            <a:avLst/>
            <a:gdLst>
              <a:gd name="T0" fmla="*/ 2147483647 w 502"/>
              <a:gd name="T1" fmla="*/ 2147483647 h 273"/>
              <a:gd name="T2" fmla="*/ 2147483647 w 502"/>
              <a:gd name="T3" fmla="*/ 2147483647 h 273"/>
              <a:gd name="T4" fmla="*/ 2147483647 w 502"/>
              <a:gd name="T5" fmla="*/ 2147483647 h 273"/>
              <a:gd name="T6" fmla="*/ 2147483647 w 502"/>
              <a:gd name="T7" fmla="*/ 2147483647 h 273"/>
              <a:gd name="T8" fmla="*/ 2147483647 w 502"/>
              <a:gd name="T9" fmla="*/ 2147483647 h 273"/>
              <a:gd name="T10" fmla="*/ 2147483647 w 502"/>
              <a:gd name="T11" fmla="*/ 2147483647 h 273"/>
              <a:gd name="T12" fmla="*/ 2147483647 w 502"/>
              <a:gd name="T13" fmla="*/ 2147483647 h 273"/>
              <a:gd name="T14" fmla="*/ 2147483647 w 502"/>
              <a:gd name="T15" fmla="*/ 2147483647 h 273"/>
              <a:gd name="T16" fmla="*/ 2147483647 w 502"/>
              <a:gd name="T17" fmla="*/ 2147483647 h 273"/>
              <a:gd name="T18" fmla="*/ 2147483647 w 502"/>
              <a:gd name="T19" fmla="*/ 2147483647 h 273"/>
              <a:gd name="T20" fmla="*/ 2147483647 w 502"/>
              <a:gd name="T21" fmla="*/ 2147483647 h 273"/>
              <a:gd name="T22" fmla="*/ 2147483647 w 502"/>
              <a:gd name="T23" fmla="*/ 0 h 273"/>
              <a:gd name="T24" fmla="*/ 2147483647 w 502"/>
              <a:gd name="T25" fmla="*/ 2147483647 h 273"/>
              <a:gd name="T26" fmla="*/ 2147483647 w 502"/>
              <a:gd name="T27" fmla="*/ 2147483647 h 273"/>
              <a:gd name="T28" fmla="*/ 0 w 502"/>
              <a:gd name="T29" fmla="*/ 2147483647 h 273"/>
              <a:gd name="T30" fmla="*/ 2147483647 w 502"/>
              <a:gd name="T31" fmla="*/ 2147483647 h 273"/>
              <a:gd name="T32" fmla="*/ 2147483647 w 502"/>
              <a:gd name="T33" fmla="*/ 2147483647 h 273"/>
              <a:gd name="T34" fmla="*/ 2147483647 w 502"/>
              <a:gd name="T35" fmla="*/ 2147483647 h 273"/>
              <a:gd name="T36" fmla="*/ 2147483647 w 502"/>
              <a:gd name="T37" fmla="*/ 2147483647 h 273"/>
              <a:gd name="T38" fmla="*/ 2147483647 w 502"/>
              <a:gd name="T39" fmla="*/ 2147483647 h 273"/>
              <a:gd name="T40" fmla="*/ 2147483647 w 502"/>
              <a:gd name="T41" fmla="*/ 2147483647 h 273"/>
              <a:gd name="T42" fmla="*/ 2147483647 w 502"/>
              <a:gd name="T43" fmla="*/ 2147483647 h 273"/>
              <a:gd name="T44" fmla="*/ 2147483647 w 502"/>
              <a:gd name="T45" fmla="*/ 2147483647 h 273"/>
              <a:gd name="T46" fmla="*/ 2147483647 w 502"/>
              <a:gd name="T47" fmla="*/ 2147483647 h 273"/>
              <a:gd name="T48" fmla="*/ 2147483647 w 502"/>
              <a:gd name="T49" fmla="*/ 2147483647 h 273"/>
              <a:gd name="T50" fmla="*/ 2147483647 w 502"/>
              <a:gd name="T51" fmla="*/ 2147483647 h 273"/>
              <a:gd name="T52" fmla="*/ 2147483647 w 502"/>
              <a:gd name="T53" fmla="*/ 2147483647 h 273"/>
              <a:gd name="T54" fmla="*/ 2147483647 w 502"/>
              <a:gd name="T55" fmla="*/ 2147483647 h 273"/>
              <a:gd name="T56" fmla="*/ 2147483647 w 502"/>
              <a:gd name="T57" fmla="*/ 2147483647 h 273"/>
              <a:gd name="T58" fmla="*/ 2147483647 w 502"/>
              <a:gd name="T59" fmla="*/ 2147483647 h 273"/>
              <a:gd name="T60" fmla="*/ 2147483647 w 502"/>
              <a:gd name="T61" fmla="*/ 2147483647 h 273"/>
              <a:gd name="T62" fmla="*/ 2147483647 w 502"/>
              <a:gd name="T63" fmla="*/ 2147483647 h 273"/>
              <a:gd name="T64" fmla="*/ 2147483647 w 502"/>
              <a:gd name="T65" fmla="*/ 2147483647 h 273"/>
              <a:gd name="T66" fmla="*/ 2147483647 w 502"/>
              <a:gd name="T67" fmla="*/ 2147483647 h 273"/>
              <a:gd name="T68" fmla="*/ 2147483647 w 502"/>
              <a:gd name="T69" fmla="*/ 2147483647 h 273"/>
              <a:gd name="T70" fmla="*/ 2147483647 w 502"/>
              <a:gd name="T71" fmla="*/ 2147483647 h 273"/>
              <a:gd name="T72" fmla="*/ 2147483647 w 502"/>
              <a:gd name="T73" fmla="*/ 2147483647 h 273"/>
              <a:gd name="T74" fmla="*/ 2147483647 w 502"/>
              <a:gd name="T75" fmla="*/ 2147483647 h 273"/>
              <a:gd name="T76" fmla="*/ 2147483647 w 502"/>
              <a:gd name="T77" fmla="*/ 2147483647 h 273"/>
              <a:gd name="T78" fmla="*/ 2147483647 w 502"/>
              <a:gd name="T79" fmla="*/ 2147483647 h 273"/>
              <a:gd name="T80" fmla="*/ 2147483647 w 502"/>
              <a:gd name="T81" fmla="*/ 2147483647 h 273"/>
              <a:gd name="T82" fmla="*/ 2147483647 w 502"/>
              <a:gd name="T83" fmla="*/ 2147483647 h 273"/>
              <a:gd name="T84" fmla="*/ 2147483647 w 502"/>
              <a:gd name="T85" fmla="*/ 2147483647 h 2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2" h="273">
                <a:moveTo>
                  <a:pt x="500" y="150"/>
                </a:moveTo>
                <a:cubicBezTo>
                  <a:pt x="498" y="148"/>
                  <a:pt x="496" y="147"/>
                  <a:pt x="494" y="147"/>
                </a:cubicBezTo>
                <a:cubicBezTo>
                  <a:pt x="480" y="147"/>
                  <a:pt x="480" y="147"/>
                  <a:pt x="480" y="147"/>
                </a:cubicBezTo>
                <a:cubicBezTo>
                  <a:pt x="480" y="91"/>
                  <a:pt x="480" y="91"/>
                  <a:pt x="480" y="91"/>
                </a:cubicBezTo>
                <a:cubicBezTo>
                  <a:pt x="480" y="87"/>
                  <a:pt x="477" y="83"/>
                  <a:pt x="472" y="83"/>
                </a:cubicBezTo>
                <a:cubicBezTo>
                  <a:pt x="468" y="83"/>
                  <a:pt x="464" y="87"/>
                  <a:pt x="464" y="91"/>
                </a:cubicBezTo>
                <a:cubicBezTo>
                  <a:pt x="464" y="147"/>
                  <a:pt x="464" y="147"/>
                  <a:pt x="464" y="147"/>
                </a:cubicBezTo>
                <a:cubicBezTo>
                  <a:pt x="352" y="147"/>
                  <a:pt x="352" y="147"/>
                  <a:pt x="352" y="147"/>
                </a:cubicBezTo>
                <a:cubicBezTo>
                  <a:pt x="352" y="88"/>
                  <a:pt x="352" y="88"/>
                  <a:pt x="352" y="88"/>
                </a:cubicBezTo>
                <a:cubicBezTo>
                  <a:pt x="418" y="88"/>
                  <a:pt x="418" y="88"/>
                  <a:pt x="418" y="88"/>
                </a:cubicBezTo>
                <a:cubicBezTo>
                  <a:pt x="420" y="88"/>
                  <a:pt x="422" y="87"/>
                  <a:pt x="423" y="86"/>
                </a:cubicBezTo>
                <a:cubicBezTo>
                  <a:pt x="425" y="84"/>
                  <a:pt x="426" y="82"/>
                  <a:pt x="426" y="80"/>
                </a:cubicBezTo>
                <a:cubicBezTo>
                  <a:pt x="426" y="39"/>
                  <a:pt x="426" y="39"/>
                  <a:pt x="426" y="39"/>
                </a:cubicBezTo>
                <a:cubicBezTo>
                  <a:pt x="464" y="39"/>
                  <a:pt x="464" y="39"/>
                  <a:pt x="464" y="39"/>
                </a:cubicBezTo>
                <a:cubicBezTo>
                  <a:pt x="464" y="60"/>
                  <a:pt x="464" y="60"/>
                  <a:pt x="464" y="60"/>
                </a:cubicBezTo>
                <a:cubicBezTo>
                  <a:pt x="464" y="64"/>
                  <a:pt x="468" y="68"/>
                  <a:pt x="472" y="68"/>
                </a:cubicBezTo>
                <a:cubicBezTo>
                  <a:pt x="477" y="68"/>
                  <a:pt x="480" y="64"/>
                  <a:pt x="480" y="60"/>
                </a:cubicBezTo>
                <a:cubicBezTo>
                  <a:pt x="480" y="39"/>
                  <a:pt x="480" y="39"/>
                  <a:pt x="480" y="39"/>
                </a:cubicBezTo>
                <a:cubicBezTo>
                  <a:pt x="480" y="39"/>
                  <a:pt x="480" y="39"/>
                  <a:pt x="480" y="39"/>
                </a:cubicBezTo>
                <a:cubicBezTo>
                  <a:pt x="480" y="37"/>
                  <a:pt x="480" y="37"/>
                  <a:pt x="480" y="37"/>
                </a:cubicBezTo>
                <a:cubicBezTo>
                  <a:pt x="480" y="37"/>
                  <a:pt x="480" y="37"/>
                  <a:pt x="480" y="37"/>
                </a:cubicBezTo>
                <a:cubicBezTo>
                  <a:pt x="480" y="36"/>
                  <a:pt x="480" y="36"/>
                  <a:pt x="480" y="36"/>
                </a:cubicBezTo>
                <a:cubicBezTo>
                  <a:pt x="480" y="35"/>
                  <a:pt x="480" y="33"/>
                  <a:pt x="479" y="32"/>
                </a:cubicBezTo>
                <a:cubicBezTo>
                  <a:pt x="477" y="27"/>
                  <a:pt x="472" y="23"/>
                  <a:pt x="466" y="23"/>
                </a:cubicBezTo>
                <a:cubicBezTo>
                  <a:pt x="424" y="23"/>
                  <a:pt x="424" y="23"/>
                  <a:pt x="424" y="23"/>
                </a:cubicBezTo>
                <a:cubicBezTo>
                  <a:pt x="416" y="23"/>
                  <a:pt x="410" y="29"/>
                  <a:pt x="410" y="37"/>
                </a:cubicBezTo>
                <a:cubicBezTo>
                  <a:pt x="410" y="72"/>
                  <a:pt x="410" y="72"/>
                  <a:pt x="410" y="72"/>
                </a:cubicBezTo>
                <a:cubicBezTo>
                  <a:pt x="352" y="72"/>
                  <a:pt x="352" y="72"/>
                  <a:pt x="352" y="72"/>
                </a:cubicBezTo>
                <a:cubicBezTo>
                  <a:pt x="343" y="72"/>
                  <a:pt x="336" y="79"/>
                  <a:pt x="336" y="88"/>
                </a:cubicBezTo>
                <a:cubicBezTo>
                  <a:pt x="336" y="147"/>
                  <a:pt x="336" y="147"/>
                  <a:pt x="336" y="147"/>
                </a:cubicBezTo>
                <a:cubicBezTo>
                  <a:pt x="296" y="147"/>
                  <a:pt x="296" y="147"/>
                  <a:pt x="296" y="147"/>
                </a:cubicBezTo>
                <a:cubicBezTo>
                  <a:pt x="296" y="65"/>
                  <a:pt x="296" y="65"/>
                  <a:pt x="296" y="65"/>
                </a:cubicBezTo>
                <a:cubicBezTo>
                  <a:pt x="296" y="56"/>
                  <a:pt x="289" y="49"/>
                  <a:pt x="280" y="49"/>
                </a:cubicBezTo>
                <a:cubicBezTo>
                  <a:pt x="247" y="49"/>
                  <a:pt x="247" y="49"/>
                  <a:pt x="247" y="49"/>
                </a:cubicBezTo>
                <a:cubicBezTo>
                  <a:pt x="247" y="16"/>
                  <a:pt x="247" y="16"/>
                  <a:pt x="247" y="16"/>
                </a:cubicBezTo>
                <a:cubicBezTo>
                  <a:pt x="247" y="7"/>
                  <a:pt x="240" y="0"/>
                  <a:pt x="231" y="0"/>
                </a:cubicBezTo>
                <a:cubicBezTo>
                  <a:pt x="100" y="0"/>
                  <a:pt x="100" y="0"/>
                  <a:pt x="100" y="0"/>
                </a:cubicBezTo>
                <a:cubicBezTo>
                  <a:pt x="91" y="0"/>
                  <a:pt x="84" y="7"/>
                  <a:pt x="84" y="16"/>
                </a:cubicBezTo>
                <a:cubicBezTo>
                  <a:pt x="84" y="49"/>
                  <a:pt x="84" y="49"/>
                  <a:pt x="84" y="49"/>
                </a:cubicBezTo>
                <a:cubicBezTo>
                  <a:pt x="51" y="49"/>
                  <a:pt x="51" y="49"/>
                  <a:pt x="51" y="49"/>
                </a:cubicBezTo>
                <a:cubicBezTo>
                  <a:pt x="42" y="49"/>
                  <a:pt x="35" y="56"/>
                  <a:pt x="35" y="65"/>
                </a:cubicBezTo>
                <a:cubicBezTo>
                  <a:pt x="35" y="147"/>
                  <a:pt x="35" y="147"/>
                  <a:pt x="35" y="147"/>
                </a:cubicBezTo>
                <a:cubicBezTo>
                  <a:pt x="8" y="147"/>
                  <a:pt x="8" y="147"/>
                  <a:pt x="8" y="147"/>
                </a:cubicBezTo>
                <a:cubicBezTo>
                  <a:pt x="6" y="147"/>
                  <a:pt x="4" y="148"/>
                  <a:pt x="3" y="150"/>
                </a:cubicBezTo>
                <a:cubicBezTo>
                  <a:pt x="1" y="151"/>
                  <a:pt x="0" y="153"/>
                  <a:pt x="0" y="156"/>
                </a:cubicBezTo>
                <a:cubicBezTo>
                  <a:pt x="0" y="190"/>
                  <a:pt x="13" y="220"/>
                  <a:pt x="30" y="240"/>
                </a:cubicBezTo>
                <a:cubicBezTo>
                  <a:pt x="47" y="261"/>
                  <a:pt x="67" y="273"/>
                  <a:pt x="84" y="273"/>
                </a:cubicBezTo>
                <a:cubicBezTo>
                  <a:pt x="424" y="273"/>
                  <a:pt x="424" y="273"/>
                  <a:pt x="424" y="273"/>
                </a:cubicBezTo>
                <a:cubicBezTo>
                  <a:pt x="432" y="273"/>
                  <a:pt x="440" y="270"/>
                  <a:pt x="448" y="264"/>
                </a:cubicBezTo>
                <a:cubicBezTo>
                  <a:pt x="456" y="258"/>
                  <a:pt x="465" y="250"/>
                  <a:pt x="473" y="239"/>
                </a:cubicBezTo>
                <a:cubicBezTo>
                  <a:pt x="489" y="219"/>
                  <a:pt x="502" y="190"/>
                  <a:pt x="502" y="156"/>
                </a:cubicBezTo>
                <a:cubicBezTo>
                  <a:pt x="502" y="153"/>
                  <a:pt x="501" y="151"/>
                  <a:pt x="500" y="150"/>
                </a:cubicBezTo>
                <a:close/>
                <a:moveTo>
                  <a:pt x="247" y="65"/>
                </a:moveTo>
                <a:cubicBezTo>
                  <a:pt x="280" y="65"/>
                  <a:pt x="280" y="65"/>
                  <a:pt x="280" y="65"/>
                </a:cubicBezTo>
                <a:cubicBezTo>
                  <a:pt x="280" y="98"/>
                  <a:pt x="280" y="98"/>
                  <a:pt x="280" y="98"/>
                </a:cubicBezTo>
                <a:cubicBezTo>
                  <a:pt x="247" y="98"/>
                  <a:pt x="247" y="98"/>
                  <a:pt x="247" y="98"/>
                </a:cubicBezTo>
                <a:cubicBezTo>
                  <a:pt x="247" y="82"/>
                  <a:pt x="247" y="82"/>
                  <a:pt x="247" y="82"/>
                </a:cubicBezTo>
                <a:lnTo>
                  <a:pt x="247" y="65"/>
                </a:lnTo>
                <a:close/>
                <a:moveTo>
                  <a:pt x="247" y="114"/>
                </a:moveTo>
                <a:cubicBezTo>
                  <a:pt x="280" y="114"/>
                  <a:pt x="280" y="114"/>
                  <a:pt x="280" y="114"/>
                </a:cubicBezTo>
                <a:cubicBezTo>
                  <a:pt x="280" y="147"/>
                  <a:pt x="280" y="147"/>
                  <a:pt x="280" y="147"/>
                </a:cubicBezTo>
                <a:cubicBezTo>
                  <a:pt x="247" y="147"/>
                  <a:pt x="247" y="147"/>
                  <a:pt x="247" y="147"/>
                </a:cubicBezTo>
                <a:cubicBezTo>
                  <a:pt x="247" y="131"/>
                  <a:pt x="247" y="131"/>
                  <a:pt x="247" y="131"/>
                </a:cubicBezTo>
                <a:lnTo>
                  <a:pt x="247" y="114"/>
                </a:lnTo>
                <a:close/>
                <a:moveTo>
                  <a:pt x="198" y="16"/>
                </a:moveTo>
                <a:cubicBezTo>
                  <a:pt x="231" y="16"/>
                  <a:pt x="231" y="16"/>
                  <a:pt x="231" y="16"/>
                </a:cubicBezTo>
                <a:cubicBezTo>
                  <a:pt x="231" y="49"/>
                  <a:pt x="231" y="49"/>
                  <a:pt x="231" y="49"/>
                </a:cubicBezTo>
                <a:cubicBezTo>
                  <a:pt x="198" y="49"/>
                  <a:pt x="198" y="49"/>
                  <a:pt x="198" y="49"/>
                </a:cubicBezTo>
                <a:lnTo>
                  <a:pt x="198" y="16"/>
                </a:lnTo>
                <a:close/>
                <a:moveTo>
                  <a:pt x="198" y="65"/>
                </a:moveTo>
                <a:cubicBezTo>
                  <a:pt x="231" y="65"/>
                  <a:pt x="231" y="65"/>
                  <a:pt x="231" y="65"/>
                </a:cubicBezTo>
                <a:cubicBezTo>
                  <a:pt x="231" y="98"/>
                  <a:pt x="231" y="98"/>
                  <a:pt x="231" y="98"/>
                </a:cubicBezTo>
                <a:cubicBezTo>
                  <a:pt x="198" y="98"/>
                  <a:pt x="198" y="98"/>
                  <a:pt x="198" y="98"/>
                </a:cubicBezTo>
                <a:lnTo>
                  <a:pt x="198" y="65"/>
                </a:lnTo>
                <a:close/>
                <a:moveTo>
                  <a:pt x="198" y="114"/>
                </a:moveTo>
                <a:cubicBezTo>
                  <a:pt x="231" y="114"/>
                  <a:pt x="231" y="114"/>
                  <a:pt x="231" y="114"/>
                </a:cubicBezTo>
                <a:cubicBezTo>
                  <a:pt x="231" y="147"/>
                  <a:pt x="231" y="147"/>
                  <a:pt x="231" y="147"/>
                </a:cubicBezTo>
                <a:cubicBezTo>
                  <a:pt x="198" y="147"/>
                  <a:pt x="198" y="147"/>
                  <a:pt x="198" y="147"/>
                </a:cubicBezTo>
                <a:lnTo>
                  <a:pt x="198" y="114"/>
                </a:lnTo>
                <a:close/>
                <a:moveTo>
                  <a:pt x="149" y="16"/>
                </a:moveTo>
                <a:cubicBezTo>
                  <a:pt x="182" y="16"/>
                  <a:pt x="182" y="16"/>
                  <a:pt x="182" y="16"/>
                </a:cubicBezTo>
                <a:cubicBezTo>
                  <a:pt x="182" y="49"/>
                  <a:pt x="182" y="49"/>
                  <a:pt x="182" y="49"/>
                </a:cubicBezTo>
                <a:cubicBezTo>
                  <a:pt x="149" y="49"/>
                  <a:pt x="149" y="49"/>
                  <a:pt x="149" y="49"/>
                </a:cubicBezTo>
                <a:lnTo>
                  <a:pt x="149" y="16"/>
                </a:lnTo>
                <a:close/>
                <a:moveTo>
                  <a:pt x="149" y="65"/>
                </a:moveTo>
                <a:cubicBezTo>
                  <a:pt x="182" y="65"/>
                  <a:pt x="182" y="65"/>
                  <a:pt x="182" y="65"/>
                </a:cubicBezTo>
                <a:cubicBezTo>
                  <a:pt x="182" y="98"/>
                  <a:pt x="182" y="98"/>
                  <a:pt x="182" y="98"/>
                </a:cubicBezTo>
                <a:cubicBezTo>
                  <a:pt x="149" y="98"/>
                  <a:pt x="149" y="98"/>
                  <a:pt x="149" y="98"/>
                </a:cubicBezTo>
                <a:lnTo>
                  <a:pt x="149" y="65"/>
                </a:lnTo>
                <a:close/>
                <a:moveTo>
                  <a:pt x="149" y="114"/>
                </a:moveTo>
                <a:cubicBezTo>
                  <a:pt x="182" y="114"/>
                  <a:pt x="182" y="114"/>
                  <a:pt x="182" y="114"/>
                </a:cubicBezTo>
                <a:cubicBezTo>
                  <a:pt x="182" y="147"/>
                  <a:pt x="182" y="147"/>
                  <a:pt x="182" y="147"/>
                </a:cubicBezTo>
                <a:cubicBezTo>
                  <a:pt x="149" y="147"/>
                  <a:pt x="149" y="147"/>
                  <a:pt x="149" y="147"/>
                </a:cubicBezTo>
                <a:lnTo>
                  <a:pt x="149" y="114"/>
                </a:lnTo>
                <a:close/>
                <a:moveTo>
                  <a:pt x="133" y="16"/>
                </a:moveTo>
                <a:cubicBezTo>
                  <a:pt x="133" y="49"/>
                  <a:pt x="133" y="49"/>
                  <a:pt x="133" y="49"/>
                </a:cubicBezTo>
                <a:cubicBezTo>
                  <a:pt x="100" y="49"/>
                  <a:pt x="100" y="49"/>
                  <a:pt x="100" y="49"/>
                </a:cubicBezTo>
                <a:cubicBezTo>
                  <a:pt x="100" y="16"/>
                  <a:pt x="100" y="16"/>
                  <a:pt x="100" y="16"/>
                </a:cubicBezTo>
                <a:lnTo>
                  <a:pt x="133" y="16"/>
                </a:lnTo>
                <a:close/>
                <a:moveTo>
                  <a:pt x="133" y="65"/>
                </a:moveTo>
                <a:cubicBezTo>
                  <a:pt x="133" y="98"/>
                  <a:pt x="133" y="98"/>
                  <a:pt x="133" y="98"/>
                </a:cubicBezTo>
                <a:cubicBezTo>
                  <a:pt x="100" y="98"/>
                  <a:pt x="100" y="98"/>
                  <a:pt x="100" y="98"/>
                </a:cubicBezTo>
                <a:cubicBezTo>
                  <a:pt x="100" y="79"/>
                  <a:pt x="100" y="79"/>
                  <a:pt x="100" y="79"/>
                </a:cubicBezTo>
                <a:cubicBezTo>
                  <a:pt x="100" y="65"/>
                  <a:pt x="100" y="65"/>
                  <a:pt x="100" y="65"/>
                </a:cubicBezTo>
                <a:lnTo>
                  <a:pt x="133" y="65"/>
                </a:lnTo>
                <a:close/>
                <a:moveTo>
                  <a:pt x="133" y="114"/>
                </a:moveTo>
                <a:cubicBezTo>
                  <a:pt x="133" y="147"/>
                  <a:pt x="133" y="147"/>
                  <a:pt x="133" y="147"/>
                </a:cubicBezTo>
                <a:cubicBezTo>
                  <a:pt x="100" y="147"/>
                  <a:pt x="100" y="147"/>
                  <a:pt x="100" y="147"/>
                </a:cubicBezTo>
                <a:cubicBezTo>
                  <a:pt x="100" y="114"/>
                  <a:pt x="100" y="114"/>
                  <a:pt x="100" y="114"/>
                </a:cubicBezTo>
                <a:lnTo>
                  <a:pt x="133" y="114"/>
                </a:lnTo>
                <a:close/>
                <a:moveTo>
                  <a:pt x="84" y="65"/>
                </a:moveTo>
                <a:cubicBezTo>
                  <a:pt x="84" y="98"/>
                  <a:pt x="84" y="98"/>
                  <a:pt x="84" y="98"/>
                </a:cubicBezTo>
                <a:cubicBezTo>
                  <a:pt x="51" y="98"/>
                  <a:pt x="51" y="98"/>
                  <a:pt x="51" y="98"/>
                </a:cubicBezTo>
                <a:cubicBezTo>
                  <a:pt x="51" y="65"/>
                  <a:pt x="51" y="65"/>
                  <a:pt x="51" y="65"/>
                </a:cubicBezTo>
                <a:lnTo>
                  <a:pt x="84" y="65"/>
                </a:lnTo>
                <a:close/>
                <a:moveTo>
                  <a:pt x="84" y="114"/>
                </a:moveTo>
                <a:cubicBezTo>
                  <a:pt x="84" y="147"/>
                  <a:pt x="84" y="147"/>
                  <a:pt x="84" y="147"/>
                </a:cubicBezTo>
                <a:cubicBezTo>
                  <a:pt x="51" y="147"/>
                  <a:pt x="51" y="147"/>
                  <a:pt x="51" y="147"/>
                </a:cubicBezTo>
                <a:cubicBezTo>
                  <a:pt x="51" y="114"/>
                  <a:pt x="51" y="114"/>
                  <a:pt x="51" y="114"/>
                </a:cubicBezTo>
                <a:lnTo>
                  <a:pt x="84" y="114"/>
                </a:lnTo>
                <a:close/>
                <a:moveTo>
                  <a:pt x="439" y="251"/>
                </a:moveTo>
                <a:cubicBezTo>
                  <a:pt x="432" y="255"/>
                  <a:pt x="426" y="258"/>
                  <a:pt x="424" y="257"/>
                </a:cubicBezTo>
                <a:cubicBezTo>
                  <a:pt x="84" y="257"/>
                  <a:pt x="84" y="257"/>
                  <a:pt x="84" y="257"/>
                </a:cubicBezTo>
                <a:cubicBezTo>
                  <a:pt x="75" y="258"/>
                  <a:pt x="57" y="248"/>
                  <a:pt x="43" y="230"/>
                </a:cubicBezTo>
                <a:cubicBezTo>
                  <a:pt x="29" y="214"/>
                  <a:pt x="18" y="191"/>
                  <a:pt x="16" y="164"/>
                </a:cubicBezTo>
                <a:cubicBezTo>
                  <a:pt x="198" y="164"/>
                  <a:pt x="198" y="164"/>
                  <a:pt x="198" y="164"/>
                </a:cubicBezTo>
                <a:cubicBezTo>
                  <a:pt x="198" y="164"/>
                  <a:pt x="198" y="164"/>
                  <a:pt x="198" y="164"/>
                </a:cubicBezTo>
                <a:cubicBezTo>
                  <a:pt x="206" y="164"/>
                  <a:pt x="206" y="164"/>
                  <a:pt x="206" y="164"/>
                </a:cubicBezTo>
                <a:cubicBezTo>
                  <a:pt x="486" y="164"/>
                  <a:pt x="486" y="164"/>
                  <a:pt x="486" y="164"/>
                </a:cubicBezTo>
                <a:cubicBezTo>
                  <a:pt x="483" y="204"/>
                  <a:pt x="458" y="237"/>
                  <a:pt x="439" y="251"/>
                </a:cubicBezTo>
                <a:close/>
              </a:path>
            </a:pathLst>
          </a:custGeom>
          <a:solidFill>
            <a:schemeClr val="bg1">
              <a:lumMod val="50000"/>
            </a:schemeClr>
          </a:solidFill>
          <a:ln>
            <a:noFill/>
          </a:ln>
          <a:extLst/>
        </p:spPr>
        <p:txBody>
          <a:bodyPr/>
          <a:lstStyle/>
          <a:p>
            <a:endParaRPr lang="sv-SE"/>
          </a:p>
        </p:txBody>
      </p:sp>
      <p:sp>
        <p:nvSpPr>
          <p:cNvPr id="36" name="Freeform 3">
            <a:extLst>
              <a:ext uri="{FF2B5EF4-FFF2-40B4-BE49-F238E27FC236}">
                <a16:creationId xmlns:a16="http://schemas.microsoft.com/office/drawing/2014/main" id="{1C717C4A-660A-40D3-9858-F49F86126EB9}"/>
              </a:ext>
            </a:extLst>
          </p:cNvPr>
          <p:cNvSpPr>
            <a:spLocks noChangeAspect="1" noEditPoints="1"/>
          </p:cNvSpPr>
          <p:nvPr/>
        </p:nvSpPr>
        <p:spPr bwMode="auto">
          <a:xfrm>
            <a:off x="1619118" y="3495127"/>
            <a:ext cx="540781" cy="328613"/>
          </a:xfrm>
          <a:custGeom>
            <a:avLst/>
            <a:gdLst>
              <a:gd name="T0" fmla="*/ 2147483647 w 464"/>
              <a:gd name="T1" fmla="*/ 2147483647 h 282"/>
              <a:gd name="T2" fmla="*/ 2147483647 w 464"/>
              <a:gd name="T3" fmla="*/ 0 h 282"/>
              <a:gd name="T4" fmla="*/ 2147483647 w 464"/>
              <a:gd name="T5" fmla="*/ 2147483647 h 282"/>
              <a:gd name="T6" fmla="*/ 2147483647 w 464"/>
              <a:gd name="T7" fmla="*/ 2147483647 h 282"/>
              <a:gd name="T8" fmla="*/ 2147483647 w 464"/>
              <a:gd name="T9" fmla="*/ 2147483647 h 282"/>
              <a:gd name="T10" fmla="*/ 0 w 464"/>
              <a:gd name="T11" fmla="*/ 2147483647 h 282"/>
              <a:gd name="T12" fmla="*/ 2147483647 w 464"/>
              <a:gd name="T13" fmla="*/ 2147483647 h 282"/>
              <a:gd name="T14" fmla="*/ 2147483647 w 464"/>
              <a:gd name="T15" fmla="*/ 2147483647 h 282"/>
              <a:gd name="T16" fmla="*/ 2147483647 w 464"/>
              <a:gd name="T17" fmla="*/ 2147483647 h 282"/>
              <a:gd name="T18" fmla="*/ 2147483647 w 464"/>
              <a:gd name="T19" fmla="*/ 2147483647 h 282"/>
              <a:gd name="T20" fmla="*/ 2147483647 w 464"/>
              <a:gd name="T21" fmla="*/ 2147483647 h 282"/>
              <a:gd name="T22" fmla="*/ 2147483647 w 464"/>
              <a:gd name="T23" fmla="*/ 2147483647 h 282"/>
              <a:gd name="T24" fmla="*/ 2147483647 w 464"/>
              <a:gd name="T25" fmla="*/ 2147483647 h 282"/>
              <a:gd name="T26" fmla="*/ 2147483647 w 464"/>
              <a:gd name="T27" fmla="*/ 2147483647 h 282"/>
              <a:gd name="T28" fmla="*/ 2147483647 w 464"/>
              <a:gd name="T29" fmla="*/ 2147483647 h 282"/>
              <a:gd name="T30" fmla="*/ 2147483647 w 464"/>
              <a:gd name="T31" fmla="*/ 2147483647 h 282"/>
              <a:gd name="T32" fmla="*/ 2147483647 w 464"/>
              <a:gd name="T33" fmla="*/ 2147483647 h 282"/>
              <a:gd name="T34" fmla="*/ 2147483647 w 464"/>
              <a:gd name="T35" fmla="*/ 2147483647 h 282"/>
              <a:gd name="T36" fmla="*/ 2147483647 w 464"/>
              <a:gd name="T37" fmla="*/ 2147483647 h 282"/>
              <a:gd name="T38" fmla="*/ 2147483647 w 464"/>
              <a:gd name="T39" fmla="*/ 2147483647 h 282"/>
              <a:gd name="T40" fmla="*/ 2147483647 w 464"/>
              <a:gd name="T41" fmla="*/ 2147483647 h 282"/>
              <a:gd name="T42" fmla="*/ 2147483647 w 464"/>
              <a:gd name="T43" fmla="*/ 2147483647 h 282"/>
              <a:gd name="T44" fmla="*/ 2147483647 w 464"/>
              <a:gd name="T45" fmla="*/ 2147483647 h 282"/>
              <a:gd name="T46" fmla="*/ 2147483647 w 464"/>
              <a:gd name="T47" fmla="*/ 2147483647 h 282"/>
              <a:gd name="T48" fmla="*/ 2147483647 w 464"/>
              <a:gd name="T49" fmla="*/ 2147483647 h 282"/>
              <a:gd name="T50" fmla="*/ 2147483647 w 464"/>
              <a:gd name="T51" fmla="*/ 2147483647 h 282"/>
              <a:gd name="T52" fmla="*/ 2147483647 w 464"/>
              <a:gd name="T53" fmla="*/ 2147483647 h 282"/>
              <a:gd name="T54" fmla="*/ 2147483647 w 464"/>
              <a:gd name="T55" fmla="*/ 2147483647 h 282"/>
              <a:gd name="T56" fmla="*/ 2147483647 w 464"/>
              <a:gd name="T57" fmla="*/ 2147483647 h 282"/>
              <a:gd name="T58" fmla="*/ 2147483647 w 464"/>
              <a:gd name="T59" fmla="*/ 2147483647 h 282"/>
              <a:gd name="T60" fmla="*/ 2147483647 w 464"/>
              <a:gd name="T61" fmla="*/ 2147483647 h 282"/>
              <a:gd name="T62" fmla="*/ 2147483647 w 464"/>
              <a:gd name="T63" fmla="*/ 2147483647 h 282"/>
              <a:gd name="T64" fmla="*/ 2147483647 w 464"/>
              <a:gd name="T65" fmla="*/ 2147483647 h 282"/>
              <a:gd name="T66" fmla="*/ 2147483647 w 464"/>
              <a:gd name="T67" fmla="*/ 2147483647 h 282"/>
              <a:gd name="T68" fmla="*/ 2147483647 w 464"/>
              <a:gd name="T69" fmla="*/ 2147483647 h 282"/>
              <a:gd name="T70" fmla="*/ 2147483647 w 464"/>
              <a:gd name="T71" fmla="*/ 2147483647 h 282"/>
              <a:gd name="T72" fmla="*/ 2147483647 w 464"/>
              <a:gd name="T73" fmla="*/ 2147483647 h 282"/>
              <a:gd name="T74" fmla="*/ 2147483647 w 464"/>
              <a:gd name="T75" fmla="*/ 2147483647 h 282"/>
              <a:gd name="T76" fmla="*/ 2147483647 w 464"/>
              <a:gd name="T77" fmla="*/ 2147483647 h 282"/>
              <a:gd name="T78" fmla="*/ 2147483647 w 464"/>
              <a:gd name="T79" fmla="*/ 2147483647 h 2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282">
                <a:moveTo>
                  <a:pt x="456" y="52"/>
                </a:moveTo>
                <a:cubicBezTo>
                  <a:pt x="461" y="52"/>
                  <a:pt x="464" y="49"/>
                  <a:pt x="464" y="44"/>
                </a:cubicBezTo>
                <a:cubicBezTo>
                  <a:pt x="464" y="17"/>
                  <a:pt x="464" y="17"/>
                  <a:pt x="464" y="17"/>
                </a:cubicBezTo>
                <a:cubicBezTo>
                  <a:pt x="464" y="8"/>
                  <a:pt x="456" y="0"/>
                  <a:pt x="447" y="0"/>
                </a:cubicBezTo>
                <a:cubicBezTo>
                  <a:pt x="196" y="0"/>
                  <a:pt x="196" y="0"/>
                  <a:pt x="196" y="0"/>
                </a:cubicBezTo>
                <a:cubicBezTo>
                  <a:pt x="187" y="0"/>
                  <a:pt x="179" y="8"/>
                  <a:pt x="179" y="17"/>
                </a:cubicBezTo>
                <a:cubicBezTo>
                  <a:pt x="179" y="71"/>
                  <a:pt x="179" y="71"/>
                  <a:pt x="179" y="71"/>
                </a:cubicBezTo>
                <a:cubicBezTo>
                  <a:pt x="156" y="71"/>
                  <a:pt x="156" y="71"/>
                  <a:pt x="156" y="71"/>
                </a:cubicBezTo>
                <a:cubicBezTo>
                  <a:pt x="156" y="63"/>
                  <a:pt x="156" y="63"/>
                  <a:pt x="156" y="63"/>
                </a:cubicBezTo>
                <a:cubicBezTo>
                  <a:pt x="156" y="53"/>
                  <a:pt x="148" y="45"/>
                  <a:pt x="138" y="45"/>
                </a:cubicBezTo>
                <a:cubicBezTo>
                  <a:pt x="59" y="45"/>
                  <a:pt x="59" y="45"/>
                  <a:pt x="59" y="45"/>
                </a:cubicBezTo>
                <a:cubicBezTo>
                  <a:pt x="24" y="45"/>
                  <a:pt x="0" y="101"/>
                  <a:pt x="0" y="153"/>
                </a:cubicBezTo>
                <a:cubicBezTo>
                  <a:pt x="0" y="240"/>
                  <a:pt x="0" y="240"/>
                  <a:pt x="0" y="240"/>
                </a:cubicBezTo>
                <a:cubicBezTo>
                  <a:pt x="0" y="242"/>
                  <a:pt x="1" y="244"/>
                  <a:pt x="2" y="246"/>
                </a:cubicBezTo>
                <a:cubicBezTo>
                  <a:pt x="4" y="247"/>
                  <a:pt x="6" y="248"/>
                  <a:pt x="8" y="248"/>
                </a:cubicBezTo>
                <a:cubicBezTo>
                  <a:pt x="40" y="248"/>
                  <a:pt x="40" y="248"/>
                  <a:pt x="40" y="248"/>
                </a:cubicBezTo>
                <a:cubicBezTo>
                  <a:pt x="44" y="267"/>
                  <a:pt x="61" y="282"/>
                  <a:pt x="81" y="282"/>
                </a:cubicBezTo>
                <a:cubicBezTo>
                  <a:pt x="101" y="282"/>
                  <a:pt x="118" y="267"/>
                  <a:pt x="122" y="248"/>
                </a:cubicBezTo>
                <a:cubicBezTo>
                  <a:pt x="148" y="248"/>
                  <a:pt x="148" y="248"/>
                  <a:pt x="148" y="248"/>
                </a:cubicBezTo>
                <a:cubicBezTo>
                  <a:pt x="152" y="248"/>
                  <a:pt x="155" y="245"/>
                  <a:pt x="156" y="241"/>
                </a:cubicBezTo>
                <a:cubicBezTo>
                  <a:pt x="319" y="241"/>
                  <a:pt x="319" y="241"/>
                  <a:pt x="319" y="241"/>
                </a:cubicBezTo>
                <a:cubicBezTo>
                  <a:pt x="319" y="263"/>
                  <a:pt x="338" y="282"/>
                  <a:pt x="360" y="282"/>
                </a:cubicBezTo>
                <a:cubicBezTo>
                  <a:pt x="383" y="282"/>
                  <a:pt x="402" y="263"/>
                  <a:pt x="402" y="241"/>
                </a:cubicBezTo>
                <a:cubicBezTo>
                  <a:pt x="447" y="241"/>
                  <a:pt x="447" y="241"/>
                  <a:pt x="447" y="241"/>
                </a:cubicBezTo>
                <a:cubicBezTo>
                  <a:pt x="456" y="241"/>
                  <a:pt x="464" y="233"/>
                  <a:pt x="464" y="223"/>
                </a:cubicBezTo>
                <a:cubicBezTo>
                  <a:pt x="464" y="76"/>
                  <a:pt x="464" y="76"/>
                  <a:pt x="464" y="76"/>
                </a:cubicBezTo>
                <a:cubicBezTo>
                  <a:pt x="464" y="71"/>
                  <a:pt x="461" y="68"/>
                  <a:pt x="456" y="68"/>
                </a:cubicBezTo>
                <a:cubicBezTo>
                  <a:pt x="452" y="68"/>
                  <a:pt x="448" y="71"/>
                  <a:pt x="448" y="76"/>
                </a:cubicBezTo>
                <a:cubicBezTo>
                  <a:pt x="448" y="168"/>
                  <a:pt x="448" y="168"/>
                  <a:pt x="448" y="168"/>
                </a:cubicBezTo>
                <a:cubicBezTo>
                  <a:pt x="195" y="168"/>
                  <a:pt x="195" y="168"/>
                  <a:pt x="195" y="168"/>
                </a:cubicBezTo>
                <a:cubicBezTo>
                  <a:pt x="195" y="17"/>
                  <a:pt x="195" y="17"/>
                  <a:pt x="195" y="17"/>
                </a:cubicBezTo>
                <a:cubicBezTo>
                  <a:pt x="195" y="17"/>
                  <a:pt x="195" y="16"/>
                  <a:pt x="196" y="16"/>
                </a:cubicBezTo>
                <a:cubicBezTo>
                  <a:pt x="447" y="16"/>
                  <a:pt x="447" y="16"/>
                  <a:pt x="447" y="16"/>
                </a:cubicBezTo>
                <a:cubicBezTo>
                  <a:pt x="448" y="16"/>
                  <a:pt x="448" y="17"/>
                  <a:pt x="448" y="17"/>
                </a:cubicBezTo>
                <a:cubicBezTo>
                  <a:pt x="448" y="44"/>
                  <a:pt x="448" y="44"/>
                  <a:pt x="448" y="44"/>
                </a:cubicBezTo>
                <a:cubicBezTo>
                  <a:pt x="448" y="49"/>
                  <a:pt x="452" y="52"/>
                  <a:pt x="456" y="52"/>
                </a:cubicBezTo>
                <a:close/>
                <a:moveTo>
                  <a:pt x="27" y="95"/>
                </a:moveTo>
                <a:cubicBezTo>
                  <a:pt x="27" y="95"/>
                  <a:pt x="28" y="95"/>
                  <a:pt x="28" y="95"/>
                </a:cubicBezTo>
                <a:cubicBezTo>
                  <a:pt x="86" y="95"/>
                  <a:pt x="86" y="95"/>
                  <a:pt x="86" y="95"/>
                </a:cubicBezTo>
                <a:cubicBezTo>
                  <a:pt x="86" y="145"/>
                  <a:pt x="86" y="145"/>
                  <a:pt x="86" y="145"/>
                </a:cubicBezTo>
                <a:cubicBezTo>
                  <a:pt x="16" y="145"/>
                  <a:pt x="16" y="145"/>
                  <a:pt x="16" y="145"/>
                </a:cubicBezTo>
                <a:cubicBezTo>
                  <a:pt x="17" y="127"/>
                  <a:pt x="21" y="109"/>
                  <a:pt x="27" y="95"/>
                </a:cubicBezTo>
                <a:close/>
                <a:moveTo>
                  <a:pt x="81" y="266"/>
                </a:moveTo>
                <a:cubicBezTo>
                  <a:pt x="67" y="266"/>
                  <a:pt x="55" y="254"/>
                  <a:pt x="55" y="240"/>
                </a:cubicBezTo>
                <a:cubicBezTo>
                  <a:pt x="55" y="226"/>
                  <a:pt x="67" y="214"/>
                  <a:pt x="81" y="214"/>
                </a:cubicBezTo>
                <a:cubicBezTo>
                  <a:pt x="95" y="214"/>
                  <a:pt x="107" y="226"/>
                  <a:pt x="107" y="240"/>
                </a:cubicBezTo>
                <a:cubicBezTo>
                  <a:pt x="107" y="254"/>
                  <a:pt x="95" y="266"/>
                  <a:pt x="81" y="266"/>
                </a:cubicBezTo>
                <a:close/>
                <a:moveTo>
                  <a:pt x="140" y="232"/>
                </a:moveTo>
                <a:cubicBezTo>
                  <a:pt x="122" y="232"/>
                  <a:pt x="122" y="232"/>
                  <a:pt x="122" y="232"/>
                </a:cubicBezTo>
                <a:cubicBezTo>
                  <a:pt x="118" y="213"/>
                  <a:pt x="101" y="198"/>
                  <a:pt x="81" y="198"/>
                </a:cubicBezTo>
                <a:cubicBezTo>
                  <a:pt x="61" y="198"/>
                  <a:pt x="44" y="213"/>
                  <a:pt x="40" y="232"/>
                </a:cubicBezTo>
                <a:cubicBezTo>
                  <a:pt x="16" y="232"/>
                  <a:pt x="16" y="232"/>
                  <a:pt x="16" y="232"/>
                </a:cubicBezTo>
                <a:cubicBezTo>
                  <a:pt x="16" y="161"/>
                  <a:pt x="16" y="161"/>
                  <a:pt x="16" y="161"/>
                </a:cubicBezTo>
                <a:cubicBezTo>
                  <a:pt x="94" y="161"/>
                  <a:pt x="94" y="161"/>
                  <a:pt x="94" y="161"/>
                </a:cubicBezTo>
                <a:cubicBezTo>
                  <a:pt x="99" y="161"/>
                  <a:pt x="102" y="157"/>
                  <a:pt x="102" y="153"/>
                </a:cubicBezTo>
                <a:cubicBezTo>
                  <a:pt x="102" y="87"/>
                  <a:pt x="102" y="87"/>
                  <a:pt x="102" y="87"/>
                </a:cubicBezTo>
                <a:cubicBezTo>
                  <a:pt x="102" y="83"/>
                  <a:pt x="99" y="79"/>
                  <a:pt x="94" y="79"/>
                </a:cubicBezTo>
                <a:cubicBezTo>
                  <a:pt x="35" y="79"/>
                  <a:pt x="35" y="79"/>
                  <a:pt x="35" y="79"/>
                </a:cubicBezTo>
                <a:cubicBezTo>
                  <a:pt x="42" y="68"/>
                  <a:pt x="50" y="61"/>
                  <a:pt x="59" y="61"/>
                </a:cubicBezTo>
                <a:cubicBezTo>
                  <a:pt x="138" y="61"/>
                  <a:pt x="138" y="61"/>
                  <a:pt x="138" y="61"/>
                </a:cubicBezTo>
                <a:cubicBezTo>
                  <a:pt x="139" y="61"/>
                  <a:pt x="140" y="62"/>
                  <a:pt x="140" y="63"/>
                </a:cubicBezTo>
                <a:lnTo>
                  <a:pt x="140" y="232"/>
                </a:lnTo>
                <a:close/>
                <a:moveTo>
                  <a:pt x="179" y="225"/>
                </a:moveTo>
                <a:cubicBezTo>
                  <a:pt x="156" y="225"/>
                  <a:pt x="156" y="225"/>
                  <a:pt x="156" y="225"/>
                </a:cubicBezTo>
                <a:cubicBezTo>
                  <a:pt x="156" y="87"/>
                  <a:pt x="156" y="87"/>
                  <a:pt x="156" y="87"/>
                </a:cubicBezTo>
                <a:cubicBezTo>
                  <a:pt x="179" y="87"/>
                  <a:pt x="179" y="87"/>
                  <a:pt x="179" y="87"/>
                </a:cubicBezTo>
                <a:lnTo>
                  <a:pt x="179" y="225"/>
                </a:lnTo>
                <a:close/>
                <a:moveTo>
                  <a:pt x="360" y="266"/>
                </a:moveTo>
                <a:cubicBezTo>
                  <a:pt x="346" y="266"/>
                  <a:pt x="335" y="254"/>
                  <a:pt x="335" y="240"/>
                </a:cubicBezTo>
                <a:cubicBezTo>
                  <a:pt x="335" y="226"/>
                  <a:pt x="346" y="214"/>
                  <a:pt x="360" y="214"/>
                </a:cubicBezTo>
                <a:cubicBezTo>
                  <a:pt x="375" y="214"/>
                  <a:pt x="386" y="226"/>
                  <a:pt x="386" y="240"/>
                </a:cubicBezTo>
                <a:cubicBezTo>
                  <a:pt x="386" y="254"/>
                  <a:pt x="375" y="266"/>
                  <a:pt x="360" y="266"/>
                </a:cubicBezTo>
                <a:close/>
                <a:moveTo>
                  <a:pt x="448" y="184"/>
                </a:moveTo>
                <a:cubicBezTo>
                  <a:pt x="448" y="223"/>
                  <a:pt x="448" y="223"/>
                  <a:pt x="448" y="223"/>
                </a:cubicBezTo>
                <a:cubicBezTo>
                  <a:pt x="448" y="224"/>
                  <a:pt x="448" y="225"/>
                  <a:pt x="447" y="225"/>
                </a:cubicBezTo>
                <a:cubicBezTo>
                  <a:pt x="399" y="225"/>
                  <a:pt x="399" y="225"/>
                  <a:pt x="399" y="225"/>
                </a:cubicBezTo>
                <a:cubicBezTo>
                  <a:pt x="393" y="209"/>
                  <a:pt x="378" y="198"/>
                  <a:pt x="360" y="198"/>
                </a:cubicBezTo>
                <a:cubicBezTo>
                  <a:pt x="343" y="198"/>
                  <a:pt x="327" y="209"/>
                  <a:pt x="321" y="225"/>
                </a:cubicBezTo>
                <a:cubicBezTo>
                  <a:pt x="195" y="225"/>
                  <a:pt x="195" y="225"/>
                  <a:pt x="195" y="225"/>
                </a:cubicBezTo>
                <a:cubicBezTo>
                  <a:pt x="195" y="184"/>
                  <a:pt x="195" y="184"/>
                  <a:pt x="195" y="184"/>
                </a:cubicBezTo>
                <a:lnTo>
                  <a:pt x="448" y="184"/>
                </a:lnTo>
                <a:close/>
              </a:path>
            </a:pathLst>
          </a:custGeom>
          <a:solidFill>
            <a:schemeClr val="bg1">
              <a:lumMod val="50000"/>
            </a:schemeClr>
          </a:solidFill>
          <a:ln>
            <a:noFill/>
          </a:ln>
          <a:extLst/>
        </p:spPr>
        <p:txBody>
          <a:bodyPr/>
          <a:lstStyle/>
          <a:p>
            <a:endParaRPr lang="sv-SE"/>
          </a:p>
        </p:txBody>
      </p:sp>
    </p:spTree>
    <p:extLst>
      <p:ext uri="{BB962C8B-B14F-4D97-AF65-F5344CB8AC3E}">
        <p14:creationId xmlns:p14="http://schemas.microsoft.com/office/powerpoint/2010/main" val="12131722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j2FDEGk5EK8gjHbX6W8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J0kURWRJUyifZOEO.nv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j2FDEGk5EK8gjHbX6W89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V.pptE_pkitSPQAVSmg9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Quotable">
  <a:themeElements>
    <a:clrScheme name="Quotable">
      <a:dk1>
        <a:sysClr val="windowText" lastClr="000000"/>
      </a:dk1>
      <a:lt1>
        <a:sysClr val="window" lastClr="FFFFFF"/>
      </a:lt1>
      <a:dk2>
        <a:srgbClr val="212121"/>
      </a:dk2>
      <a:lt2>
        <a:srgbClr val="636363"/>
      </a:lt2>
      <a:accent1>
        <a:srgbClr val="00C6BB"/>
      </a:accent1>
      <a:accent2>
        <a:srgbClr val="6FEBA0"/>
      </a:accent2>
      <a:accent3>
        <a:srgbClr val="B6DF5E"/>
      </a:accent3>
      <a:accent4>
        <a:srgbClr val="EFB251"/>
      </a:accent4>
      <a:accent5>
        <a:srgbClr val="EF755F"/>
      </a:accent5>
      <a:accent6>
        <a:srgbClr val="ED515C"/>
      </a:accent6>
      <a:hlink>
        <a:srgbClr val="8F8F8F"/>
      </a:hlink>
      <a:folHlink>
        <a:srgbClr val="A5A5A5"/>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Quotable" id="{39EC5628-30ED-4578-ACD8-9820EDB8E15A}" vid="{6F3559E9-1A4C-49D8-94D4-F41003531C4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503[[fn=Quotable]]</Template>
  <TotalTime>145</TotalTime>
  <Words>1360</Words>
  <Application>Microsoft Office PowerPoint</Application>
  <PresentationFormat>Widescreen</PresentationFormat>
  <Paragraphs>256</Paragraphs>
  <Slides>14</Slides>
  <Notes>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6" baseType="lpstr">
      <vt:lpstr>MS PGothic</vt:lpstr>
      <vt:lpstr>MS PGothic</vt:lpstr>
      <vt:lpstr>Arial</vt:lpstr>
      <vt:lpstr>Calibri</vt:lpstr>
      <vt:lpstr>Century Gothic</vt:lpstr>
      <vt:lpstr>Ericsson Capital</vt:lpstr>
      <vt:lpstr>Ericsson Capital TT</vt:lpstr>
      <vt:lpstr>Segoe UI</vt:lpstr>
      <vt:lpstr>Wingdings</vt:lpstr>
      <vt:lpstr>Wingdings 2</vt:lpstr>
      <vt:lpstr>Quotable</vt:lpstr>
      <vt:lpstr>think-cell Slide</vt:lpstr>
      <vt:lpstr>Faster 5G-IoT and their interworking</vt:lpstr>
      <vt:lpstr>The Objective of This Study </vt:lpstr>
      <vt:lpstr>PowerPoint Presentation</vt:lpstr>
      <vt:lpstr>5G Enables New IoT Use Cases</vt:lpstr>
      <vt:lpstr>5G core network slicing introduction</vt:lpstr>
      <vt:lpstr>5G packet core functional overview</vt:lpstr>
      <vt:lpstr>5G and IoT</vt:lpstr>
      <vt:lpstr>IoT types in 5G</vt:lpstr>
      <vt:lpstr>Cellular IoT technology evolution</vt:lpstr>
      <vt:lpstr>Cellular is THE foundation  </vt:lpstr>
      <vt:lpstr>Cellular IoT Use case evolution with supporting technology</vt:lpstr>
      <vt:lpstr>Creating 5G future right now</vt:lpstr>
      <vt:lpstr>IoT execution challenges</vt:lpstr>
      <vt:lpstr>IP solution for making 5G NFV faster</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make 5G NFV faster by an IP solution</dc:title>
  <dc:creator>Ehsan Ghasemi</dc:creator>
  <cp:lastModifiedBy>Ehsan Ghasemi</cp:lastModifiedBy>
  <cp:revision>35</cp:revision>
  <dcterms:created xsi:type="dcterms:W3CDTF">2018-02-26T06:37:52Z</dcterms:created>
  <dcterms:modified xsi:type="dcterms:W3CDTF">2018-04-08T08:52:12Z</dcterms:modified>
</cp:coreProperties>
</file>